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4.xml" ContentType="application/vnd.openxmlformats-officedocument.presentationml.tags+xml"/>
  <Override PartName="/ppt/notesSlides/notesSlide1.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theme/themeOverride1.xml" ContentType="application/vnd.openxmlformats-officedocument.themeOverrid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4.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4.xml" ContentType="application/vnd.openxmlformats-officedocument.themeOverride+xml"/>
  <Override PartName="/ppt/drawings/drawing1.xml" ContentType="application/vnd.openxmlformats-officedocument.drawingml.chartshapes+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drawings/drawing2.xml" ContentType="application/vnd.openxmlformats-officedocument.drawingml.chartshape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xml" ContentType="application/vnd.openxmlformats-officedocument.themeOverride+xml"/>
  <Override PartName="/ppt/drawings/drawing3.xml" ContentType="application/vnd.openxmlformats-officedocument.drawingml.chartshapes+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7.xml" ContentType="application/vnd.openxmlformats-officedocument.themeOverride+xml"/>
  <Override PartName="/ppt/drawings/drawing4.xml" ContentType="application/vnd.openxmlformats-officedocument.drawingml.chartshapes+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8.xml" ContentType="application/vnd.openxmlformats-officedocument.themeOverride+xml"/>
  <Override PartName="/ppt/drawings/drawing5.xml" ContentType="application/vnd.openxmlformats-officedocument.drawingml.chartshapes+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6.xml" ContentType="application/vnd.openxmlformats-officedocument.drawingml.chartshape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notesSlides/notesSlide7.xml" ContentType="application/vnd.openxmlformats-officedocument.presentationml.notesSlide+xml"/>
  <Override PartName="/ppt/charts/chart15.xml" ContentType="application/vnd.openxmlformats-officedocument.drawingml.chart+xml"/>
  <Override PartName="/ppt/theme/themeOverride9.xml" ContentType="application/vnd.openxmlformats-officedocument.themeOverrid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0.xml" ContentType="application/vnd.openxmlformats-officedocument.themeOverride+xml"/>
  <Override PartName="/ppt/charts/chart17.xml" ContentType="application/vnd.openxmlformats-officedocument.drawingml.chart+xml"/>
  <Override PartName="/ppt/theme/themeOverride11.xml" ContentType="application/vnd.openxmlformats-officedocument.themeOverrid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notesSlides/notesSlide8.xml" ContentType="application/vnd.openxmlformats-officedocument.presentationml.notesSlid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7.xml" ContentType="application/vnd.openxmlformats-officedocument.drawingml.chartshapes+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2.xml" ContentType="application/vnd.openxmlformats-officedocument.themeOverride+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8.xml" ContentType="application/vnd.openxmlformats-officedocument.drawingml.chartshape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9.xml" ContentType="application/vnd.openxmlformats-officedocument.presentationml.notesSlide+xml"/>
  <Override PartName="/ppt/charts/chart21.xml" ContentType="application/vnd.openxmlformats-officedocument.drawingml.chart+xml"/>
  <Override PartName="/ppt/theme/themeOverride13.xml" ContentType="application/vnd.openxmlformats-officedocument.themeOverride+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4.xml" ContentType="application/vnd.openxmlformats-officedocument.themeOverride+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5.xml" ContentType="application/vnd.openxmlformats-officedocument.themeOverride+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notesSlides/notesSlide10.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9.xml" ContentType="application/vnd.openxmlformats-officedocument.drawingml.chartshapes+xml"/>
  <Override PartName="/ppt/charts/chart26.xml" ContentType="application/vnd.openxmlformats-officedocument.drawingml.chart+xml"/>
  <Override PartName="/ppt/charts/style20.xml" ContentType="application/vnd.ms-office.chartstyle+xml"/>
  <Override PartName="/ppt/charts/colors20.xml" ContentType="application/vnd.ms-office.chartcolorstyl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11.xml" ContentType="application/vnd.openxmlformats-officedocument.presentationml.notesSlide+xml"/>
  <Override PartName="/ppt/charts/chart27.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8.xml" ContentType="application/vnd.openxmlformats-officedocument.drawingml.chart+xml"/>
  <Override PartName="/ppt/charts/style22.xml" ContentType="application/vnd.ms-office.chartstyle+xml"/>
  <Override PartName="/ppt/charts/colors22.xml" ContentType="application/vnd.ms-office.chartcolorstyle+xml"/>
  <Override PartName="/ppt/drawings/drawing10.xml" ContentType="application/vnd.openxmlformats-officedocument.drawingml.chartshapes+xml"/>
  <Override PartName="/ppt/charts/chart29.xml" ContentType="application/vnd.openxmlformats-officedocument.drawingml.chart+xml"/>
  <Override PartName="/ppt/theme/themeOverride16.xml" ContentType="application/vnd.openxmlformats-officedocument.themeOverr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12.xml" ContentType="application/vnd.openxmlformats-officedocument.presentationml.notesSlide+xml"/>
  <Override PartName="/ppt/charts/chart30.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31.xml" ContentType="application/vnd.openxmlformats-officedocument.drawingml.chart+xml"/>
  <Override PartName="/ppt/charts/style24.xml" ContentType="application/vnd.ms-office.chartstyle+xml"/>
  <Override PartName="/ppt/charts/colors24.xml" ContentType="application/vnd.ms-office.chartcolorstyle+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notesSlides/notesSlide13.xml" ContentType="application/vnd.openxmlformats-officedocument.presentationml.notesSlide+xml"/>
  <Override PartName="/ppt/charts/chart32.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3.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4.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5.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11.xml" ContentType="application/vnd.openxmlformats-officedocument.drawingml.chartshape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notesSlides/notesSlide14.xml" ContentType="application/vnd.openxmlformats-officedocument.presentationml.notesSlide+xml"/>
  <Override PartName="/ppt/charts/chart36.xml" ContentType="application/vnd.openxmlformats-officedocument.drawingml.chart+xml"/>
  <Override PartName="/ppt/charts/style29.xml" ContentType="application/vnd.ms-office.chartstyle+xml"/>
  <Override PartName="/ppt/charts/colors29.xml" ContentType="application/vnd.ms-office.chartcolorstyle+xml"/>
  <Override PartName="/ppt/drawings/drawing12.xml" ContentType="application/vnd.openxmlformats-officedocument.drawingml.chartshapes+xml"/>
  <Override PartName="/ppt/charts/chart37.xml" ContentType="application/vnd.openxmlformats-officedocument.drawingml.chart+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notesSlides/notesSlide15.xml" ContentType="application/vnd.openxmlformats-officedocument.presentationml.notesSlide+xml"/>
  <Override PartName="/ppt/charts/chart38.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17.xml" ContentType="application/vnd.openxmlformats-officedocument.themeOverride+xml"/>
  <Override PartName="/ppt/drawings/drawing13.xml" ContentType="application/vnd.openxmlformats-officedocument.drawingml.chartshapes+xml"/>
  <Override PartName="/ppt/charts/chart39.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18.xml" ContentType="application/vnd.openxmlformats-officedocument.themeOverride+xml"/>
  <Override PartName="/ppt/drawings/drawing14.xml" ContentType="application/vnd.openxmlformats-officedocument.drawingml.chartshape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notesSlides/notesSlide16.xml" ContentType="application/vnd.openxmlformats-officedocument.presentationml.notesSlide+xml"/>
  <Override PartName="/ppt/charts/chart40.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41.xml" ContentType="application/vnd.openxmlformats-officedocument.drawingml.chart+xml"/>
  <Override PartName="/ppt/charts/style33.xml" ContentType="application/vnd.ms-office.chartstyle+xml"/>
  <Override PartName="/ppt/charts/colors33.xml" ContentType="application/vnd.ms-office.chartcolorstyle+xml"/>
  <Override PartName="/ppt/tags/tag358.xml" ContentType="application/vnd.openxmlformats-officedocument.presentationml.tags+xml"/>
  <Override PartName="/ppt/tags/tag359.xml" ContentType="application/vnd.openxmlformats-officedocument.presentationml.tags+xml"/>
  <Override PartName="/ppt/notesSlides/notesSlide17.xml" ContentType="application/vnd.openxmlformats-officedocument.presentationml.notesSlide+xml"/>
  <Override PartName="/ppt/tags/tag360.xml" ContentType="application/vnd.openxmlformats-officedocument.presentationml.tags+xml"/>
  <Override PartName="/ppt/tags/tag361.xml" ContentType="application/vnd.openxmlformats-officedocument.presentationml.tags+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p:sldMasterIdLst>
    <p:sldMasterId id="2147484291" r:id="rId34"/>
  </p:sldMasterIdLst>
  <p:notesMasterIdLst>
    <p:notesMasterId r:id="rId56"/>
  </p:notesMasterIdLst>
  <p:handoutMasterIdLst>
    <p:handoutMasterId r:id="rId57"/>
  </p:handoutMasterIdLst>
  <p:sldIdLst>
    <p:sldId id="2147479172" r:id="rId35"/>
    <p:sldId id="256" r:id="rId36"/>
    <p:sldId id="257" r:id="rId37"/>
    <p:sldId id="273" r:id="rId38"/>
    <p:sldId id="2147483638" r:id="rId39"/>
    <p:sldId id="2147483641" r:id="rId40"/>
    <p:sldId id="264" r:id="rId41"/>
    <p:sldId id="2147483644" r:id="rId42"/>
    <p:sldId id="276" r:id="rId43"/>
    <p:sldId id="263" r:id="rId44"/>
    <p:sldId id="260" r:id="rId45"/>
    <p:sldId id="268" r:id="rId46"/>
    <p:sldId id="278" r:id="rId47"/>
    <p:sldId id="274" r:id="rId48"/>
    <p:sldId id="269" r:id="rId49"/>
    <p:sldId id="2147483645" r:id="rId50"/>
    <p:sldId id="261" r:id="rId51"/>
    <p:sldId id="2147483631" r:id="rId52"/>
    <p:sldId id="275" r:id="rId53"/>
    <p:sldId id="2147483646" r:id="rId54"/>
    <p:sldId id="305" r:id="rId55"/>
  </p:sldIdLst>
  <p:sldSz cx="13404850" cy="7543800"/>
  <p:notesSz cx="6819900" cy="9918700"/>
  <p:custDataLst>
    <p:tags r:id="rId58"/>
  </p:custDataLst>
  <p:defaultTex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p:defaultTextStyle>
  <p:extLst>
    <p:ext uri="{521415D9-36F7-43E2-AB2F-B90AF26B5E84}">
      <p14:sectionLst xmlns:p14="http://schemas.microsoft.com/office/powerpoint/2010/main">
        <p14:section name="+ Title Section" id="{A1BF8920-3264-4D53-AFD0-5FBEDE90E9A3}">
          <p14:sldIdLst>
            <p14:sldId id="2147479172"/>
          </p14:sldIdLst>
        </p14:section>
        <p14:section name="Overview" id="{C5AE9155-E81A-4E3A-9DB0-62A671C61956}">
          <p14:sldIdLst>
            <p14:sldId id="256"/>
            <p14:sldId id="257"/>
            <p14:sldId id="273"/>
            <p14:sldId id="2147483638"/>
            <p14:sldId id="2147483641"/>
          </p14:sldIdLst>
        </p14:section>
        <p14:section name="Preferences" id="{3CA4C9B4-967B-40D0-9A68-CBE8EFCBC8BF}">
          <p14:sldIdLst>
            <p14:sldId id="264"/>
            <p14:sldId id="2147483644"/>
            <p14:sldId id="276"/>
            <p14:sldId id="263"/>
            <p14:sldId id="260"/>
            <p14:sldId id="268"/>
            <p14:sldId id="278"/>
            <p14:sldId id="274"/>
            <p14:sldId id="269"/>
            <p14:sldId id="2147483645"/>
            <p14:sldId id="261"/>
            <p14:sldId id="2147483631"/>
            <p14:sldId id="275"/>
          </p14:sldIdLst>
        </p14:section>
        <p14:section name="Disclaimer" id="{7D6E29D3-BEE2-49D1-A40C-468FBEF28378}">
          <p14:sldIdLst>
            <p14:sldId id="2147483646"/>
            <p14:sldId id="305"/>
          </p14:sldIdLst>
        </p14:section>
      </p14:sectionLst>
    </p:ext>
    <p:ext uri="{EFAFB233-063F-42B5-8137-9DF3F51BA10A}">
      <p15:sldGuideLst xmlns:p15="http://schemas.microsoft.com/office/powerpoint/2012/main">
        <p15:guide id="1" pos="4222" userDrawn="1">
          <p15:clr>
            <a:srgbClr val="A4A3A4"/>
          </p15:clr>
        </p15:guide>
        <p15:guide id="2" orient="horz" pos="1608" userDrawn="1">
          <p15:clr>
            <a:srgbClr val="A4A3A4"/>
          </p15:clr>
        </p15:guide>
        <p15:guide id="3" pos="979" userDrawn="1">
          <p15:clr>
            <a:srgbClr val="A4A3A4"/>
          </p15:clr>
        </p15:guide>
        <p15:guide id="4" pos="7306" userDrawn="1">
          <p15:clr>
            <a:srgbClr val="A4A3A4"/>
          </p15:clr>
        </p15:guide>
      </p15:sldGuideLst>
    </p:ext>
    <p:ext uri="{2D200454-40CA-4A62-9FC3-DE9A4176ACB9}">
      <p15:notesGuideLst xmlns:p15="http://schemas.microsoft.com/office/powerpoint/2012/main">
        <p15:guide id="1" orient="horz" pos="3123">
          <p15:clr>
            <a:srgbClr val="A4A3A4"/>
          </p15:clr>
        </p15:guide>
        <p15:guide id="2" pos="2148">
          <p15:clr>
            <a:srgbClr val="A4A3A4"/>
          </p15:clr>
        </p15:guide>
      </p15:notesGuideLst>
    </p:ext>
    <p:ext uri="{50385BFA-195E-4E9F-9E8A-86900EEC6D5D}">
      <p14:sectionPr xmlns:p15="http://schemas.microsoft.com/office/powerpoint/2012/main" xmlns:p14="http://schemas.microsoft.com/office/powerpoint/2007/7/12/main" xmlns="">
        <p14:section name="Default Section" slideIdLst="263 258" id="{5C98BB79-27BD-4380-8FA2-F2C40EBD185D}"/>
        <p14:section name="Untitled Section" slideIdLst="259 260" id="{8481DB14-7621-4777-BF9D-F7FFE0D6D9F9}"/>
        <p14:section name="Untitled Section" slideIdLst="261 262" id="{0424402B-84E0-4D5B-9C91-9D6D21E09A56}"/>
      </p14:sectionPr>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8E1220-48CE-5409-F967-D17C43077B29}" name="Simons, Harry" initials="HS" userId="S::harry.simons@ubs.com::10f479cf-9e0d-4746-9eeb-8e5229e61228" providerId="AD"/>
  <p188:author id="{F270B9C4-AE70-92A6-730B-FCA77D4897A1}" name="Lovell, Nadia" initials="LN" userId="S::nadia.lovell@ubs.com::1cd0ca4f-1825-4d80-ae57-45e4a588042a"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loop="1"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00000"/>
    <a:srgbClr val="E60000"/>
    <a:srgbClr val="B98E2C"/>
    <a:srgbClr val="B0B0B0"/>
    <a:srgbClr val="BD000C"/>
    <a:srgbClr val="F2F2F2"/>
    <a:srgbClr val="5A5D5C"/>
    <a:srgbClr val="8E8D83"/>
    <a:srgbClr val="6FB6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304" autoAdjust="0"/>
    <p:restoredTop sz="91703" autoAdjust="0"/>
  </p:normalViewPr>
  <p:slideViewPr>
    <p:cSldViewPr snapToGrid="0">
      <p:cViewPr varScale="1">
        <p:scale>
          <a:sx n="106" d="100"/>
          <a:sy n="106" d="100"/>
        </p:scale>
        <p:origin x="368" y="176"/>
      </p:cViewPr>
      <p:guideLst>
        <p:guide pos="4222"/>
        <p:guide orient="horz" pos="1608"/>
        <p:guide pos="979"/>
        <p:guide pos="7306"/>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3"/>
        <p:guide pos="214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5.xml"/><Relationship Id="rId21" Type="http://schemas.openxmlformats.org/officeDocument/2006/relationships/customXml" Target="../customXml/item21.xml"/><Relationship Id="rId34" Type="http://schemas.openxmlformats.org/officeDocument/2006/relationships/slideMaster" Target="slideMasters/slideMaster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tags" Target="tags/tag1.xml"/><Relationship Id="rId5" Type="http://schemas.openxmlformats.org/officeDocument/2006/relationships/customXml" Target="../customXml/item5.xml"/><Relationship Id="rId61" Type="http://schemas.openxmlformats.org/officeDocument/2006/relationships/theme" Target="theme/theme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presProps" Target="presProps.xml"/><Relationship Id="rId20" Type="http://schemas.openxmlformats.org/officeDocument/2006/relationships/customXml" Target="../customXml/item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handoutMaster" Target="handoutMasters/handoutMaster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s>
</file>

<file path=ppt/charts/_rels/chart1.xml.rels><?xml version="1.0" encoding="UTF-8" standalone="yes"?>
<Relationships xmlns="http://schemas.openxmlformats.org/package/2006/relationships"><Relationship Id="rId3" Type="http://schemas.openxmlformats.org/officeDocument/2006/relationships/oleObject" Target="file:////UBSPROD.MSAD.UBS.NET\userdata\t686928\home\Documents\EQ\EQ_deck\20260304_US_Equity_Market_Reaction_to_Geopolitical_Events.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2.xml"/><Relationship Id="rId4" Type="http://schemas.openxmlformats.org/officeDocument/2006/relationships/oleObject" Target="file:////Ubsprod.msad.ubs.net\groupshares\SGP\WMR_ASIA\06%20Equities\William%20Choo\Quarterly%20and%20YEAH%20Charts\YEAH%202026%20Slide%20Deck%20Charts.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9.xml"/><Relationship Id="rId1" Type="http://schemas.microsoft.com/office/2011/relationships/chartStyle" Target="style9.xml"/><Relationship Id="rId5" Type="http://schemas.openxmlformats.org/officeDocument/2006/relationships/chartUserShapes" Target="../drawings/drawing3.xml"/><Relationship Id="rId4" Type="http://schemas.openxmlformats.org/officeDocument/2006/relationships/oleObject" Target="file:////Ubsprod.msad.ubs.net\groupshares\SGP\WMR_ASIA\06%20Equities\William%20Choo\Quarterly%20and%20YEAH%20Charts\4Q25%20Slide%20Deck%20Charts.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0.xml"/><Relationship Id="rId1" Type="http://schemas.microsoft.com/office/2011/relationships/chartStyle" Target="style10.xml"/><Relationship Id="rId5" Type="http://schemas.openxmlformats.org/officeDocument/2006/relationships/chartUserShapes" Target="../drawings/drawing4.xml"/><Relationship Id="rId4" Type="http://schemas.openxmlformats.org/officeDocument/2006/relationships/oleObject" Target="file:///C:\Users\t743994\AppData\Local\Microsoft\Windows\INetCache\Content.Outlook\V981LYSU\20260119%20GRR%20US%20tariffs.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1.xml"/><Relationship Id="rId1" Type="http://schemas.microsoft.com/office/2011/relationships/chartStyle" Target="style11.xml"/><Relationship Id="rId5" Type="http://schemas.openxmlformats.org/officeDocument/2006/relationships/chartUserShapes" Target="../drawings/drawing5.xml"/><Relationship Id="rId4" Type="http://schemas.openxmlformats.org/officeDocument/2006/relationships/oleObject" Target="file:////UBSPROD.MSAD.UBS.NET\GroupShares\GLOBAL\DZ_PBIC\GAA%20CROSS-ASSET\Equity\Fabian\Z_Temporary\Fiscal_IB.xlsx" TargetMode="External"/></Relationships>
</file>

<file path=ppt/charts/_rels/chart14.xml.rels><?xml version="1.0" encoding="UTF-8" standalone="yes"?>
<Relationships xmlns="http://schemas.openxmlformats.org/package/2006/relationships"><Relationship Id="rId3" Type="http://schemas.openxmlformats.org/officeDocument/2006/relationships/oleObject" Target="file:///C:\Users\se13108\AppData\Local\Microsoft\Windows\INetCache\Content.Outlook\PS4R5SOT\20260119%20GRR%20US%20tariffs.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6.xml"/></Relationships>
</file>

<file path=ppt/charts/_rels/chart15.xml.rels><?xml version="1.0" encoding="UTF-8" standalone="yes"?>
<Relationships xmlns="http://schemas.openxmlformats.org/package/2006/relationships"><Relationship Id="rId2" Type="http://schemas.openxmlformats.org/officeDocument/2006/relationships/oleObject" Target="file:////nycroot\data\equities\research\wealthmgmt\strategy\WMR%20Americas\GIR\Common%20Shared%20Folders\Equity%20Strategy\Data\Earnings\Earnings%20&amp;%20Valuation%20Models\Annual%20S&amp;P%20500%20EPS%20chart.xlsx" TargetMode="External"/><Relationship Id="rId1" Type="http://schemas.openxmlformats.org/officeDocument/2006/relationships/themeOverride" Target="../theme/themeOverride9.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nycroot\data\equities\research\wealthmgmt\strategy\WMR%20Americas\GIR\Common%20Shared%20Folders\Equity%20Strategy\Data\Earnings\Earnings%20&amp;%20Valuation%20Models\Surging%20seven%20UBS%20CIO%20Earnings%20Worksheet.xlsx" TargetMode="External"/></Relationships>
</file>

<file path=ppt/charts/_rels/chart17.xml.rels><?xml version="1.0" encoding="UTF-8" standalone="yes"?>
<Relationships xmlns="http://schemas.openxmlformats.org/package/2006/relationships"><Relationship Id="rId2" Type="http://schemas.openxmlformats.org/officeDocument/2006/relationships/oleObject" Target="file:////UBSPROD.MSAD.UBS.NET\GroupShares\GLOBAL\DZ_PBIC\GAA%20CROSS-ASSET\Equity\Fabian\Models\Earnings_Valuation\Earnings_Valuations_Countries.xlsx" TargetMode="External"/><Relationship Id="rId1" Type="http://schemas.openxmlformats.org/officeDocument/2006/relationships/themeOverride" Target="../theme/themeOverride11.xml"/></Relationships>
</file>

<file path=ppt/charts/_rels/chart18.xml.rels><?xml version="1.0" encoding="UTF-8" standalone="yes"?>
<Relationships xmlns="http://schemas.openxmlformats.org/package/2006/relationships"><Relationship Id="rId3" Type="http://schemas.openxmlformats.org/officeDocument/2006/relationships/oleObject" Target="file:////UBSPROD.MSAD.UBS.NET\userdata\t686928\home\Documents\EQ\P&amp;R\weekly\%2355\1.22.26%20charts.xlsx" TargetMode="Externa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7.xm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nycroot\data\equities\research\wealthmgmt\strategy\WMR%20Americas\GIR\Common%20Shared%20Folders\Equity%20Strategy\Data\Earnings\Earnings%20&amp;%20Valuation%20Models\Surging%20seven%20UBS%20CIO%20Earnings%20Worksheet.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UBSPROD.MSAD.UBS.NET\userdata\t686928\home\Documents\EQ\EQ_deck\20260304_US_Equity_Market_Reaction_to_Geopolitical_Events.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UBSPROD.MSAD.UBS.NET\GroupShares\GLOBAL\DZ_PBIC\CIO-EQUITY\Na_Diana\-%20CIO%20PRESENTATIONS\Banking%20in%20Disruptive%20times%20charts.xlsx" TargetMode="Externa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8.xml"/></Relationships>
</file>

<file path=ppt/charts/_rels/chart21.xml.rels><?xml version="1.0" encoding="UTF-8" standalone="yes"?>
<Relationships xmlns="http://schemas.openxmlformats.org/package/2006/relationships"><Relationship Id="rId2" Type="http://schemas.openxmlformats.org/officeDocument/2006/relationships/oleObject" Target="file:////nycroot\data\equities\research\wealthmgmt\strategy\WMR%20Americas\GIR\Common%20Shared%20Folders\Equity%20Strategy\Data\Sector%20and%20Industry\Healthcare%20relative%20valuation.xlsx" TargetMode="External"/><Relationship Id="rId1" Type="http://schemas.openxmlformats.org/officeDocument/2006/relationships/themeOverride" Target="../theme/themeOverride13.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file:////nycroot\data\equities\research\wealthmgmt\strategy\WMR%20Americas\GIR\Common%20Shared%20Folders\Equity%20Strategy\Data\2025%20data\Copy%20of%20Initiation%20Data%20-%20Formatted%20from%20Jeff.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file:////nycroot\data\equities\research\wealthmgmt\strategy\WMR%20Americas\GIR\Common%20Shared%20Folders\Equity%20Strategy\Data\Sector%20and%20Industry\FCF%20annual%20estimates%20cons%20disc.xlsx" TargetMode="External"/></Relationships>
</file>

<file path=ppt/charts/_rels/chart24.xml.rels><?xml version="1.0" encoding="UTF-8" standalone="yes"?>
<Relationships xmlns="http://schemas.openxmlformats.org/package/2006/relationships"><Relationship Id="rId1" Type="http://schemas.openxmlformats.org/officeDocument/2006/relationships/oleObject" Target="file:////UBSPROD.MSAD.UBS.NET\GroupShares\GLOBAL\DZ_PBIC\CIO-EQUITY\Gilman_Matt\03%20PUBLICATIONS\2025%2011%20-%20EMU%20upgrade\German_investment_Felix%20H.xlsx" TargetMode="External"/></Relationships>
</file>

<file path=ppt/charts/_rels/chart25.xml.rels><?xml version="1.0" encoding="UTF-8" standalone="yes"?>
<Relationships xmlns="http://schemas.openxmlformats.org/package/2006/relationships"><Relationship Id="rId3" Type="http://schemas.openxmlformats.org/officeDocument/2006/relationships/oleObject" Target="file:////UBSPROD.MSAD.UBS.NET\GroupShares\GLOBAL\DZ_PBIC\CIO-EQUITY\Gilman_Matt\03%20PUBLICATIONS\2025%2011%20-%20EMU%20upgrade\UBS%20Econ%20database%20-%2014%20Nov%202025.xlsm" TargetMode="Externa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9.xml"/></Relationships>
</file>

<file path=ppt/charts/_rels/chart26.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20.xml"/><Relationship Id="rId1" Type="http://schemas.microsoft.com/office/2011/relationships/chartStyle" Target="style20.xml"/></Relationships>
</file>

<file path=ppt/charts/_rels/chart27.xml.rels><?xml version="1.0" encoding="UTF-8" standalone="yes"?>
<Relationships xmlns="http://schemas.openxmlformats.org/package/2006/relationships"><Relationship Id="rId3" Type="http://schemas.openxmlformats.org/officeDocument/2006/relationships/oleObject" Target="https://ubscloudnam-my.sharepoint.com/personal/shawn_awan_ubs_com/Documents/CIO%20EPS%20estimates%20template%20chart%20(1.13.26).xlsx" TargetMode="External"/><Relationship Id="rId2" Type="http://schemas.microsoft.com/office/2011/relationships/chartColorStyle" Target="colors21.xml"/><Relationship Id="rId1" Type="http://schemas.microsoft.com/office/2011/relationships/chartStyle" Target="style21.xml"/></Relationships>
</file>

<file path=ppt/charts/_rels/chart28.xml.rels><?xml version="1.0" encoding="UTF-8" standalone="yes"?>
<Relationships xmlns="http://schemas.openxmlformats.org/package/2006/relationships"><Relationship Id="rId3" Type="http://schemas.openxmlformats.org/officeDocument/2006/relationships/oleObject" Target="file:////UBSPROD.MSAD.UBS.NET\GroupShares\GLOBAL\DZ_PBIC\CIO-EQUITY\Gilman_Matt\01%20INVESTMENT%20PROCESS\Earnings\Earnings%20Actuals%20-%20Quarterly%20-%20UBS%20colours.xlsx" TargetMode="Externa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chartUserShapes" Target="../drawings/drawing10.xml"/></Relationships>
</file>

<file path=ppt/charts/_rels/chart29.xml.rels><?xml version="1.0" encoding="UTF-8" standalone="yes"?>
<Relationships xmlns="http://schemas.openxmlformats.org/package/2006/relationships"><Relationship Id="rId2" Type="http://schemas.openxmlformats.org/officeDocument/2006/relationships/oleObject" Target="file:////UBSPROD.MSAD.UBS.NET\GroupShares\GLOBAL\DZ_PBIC\GAA%20CROSS-ASSET\Equity\Fabian\Models\Earnings_Valuation\Earnings_Valuations_Countries.xlsx" TargetMode="External"/><Relationship Id="rId1" Type="http://schemas.openxmlformats.org/officeDocument/2006/relationships/themeOverride" Target="../theme/themeOverride16.xml"/></Relationships>
</file>

<file path=ppt/charts/_rels/chart3.xml.rels><?xml version="1.0" encoding="UTF-8" standalone="yes"?>
<Relationships xmlns="http://schemas.openxmlformats.org/package/2006/relationships"><Relationship Id="rId3" Type="http://schemas.openxmlformats.org/officeDocument/2006/relationships/oleObject" Target="https://ubscloudche.sharepoint.com/teams/cioequities/Shared%20Documents/Equity%20Compass%20Publication/2026%2001%20(January%202026)/02.%20Global%20Outlook%20-%20Charts.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UBSPROD.MSAD.UBS.NET\GroupShares\GLOBAL\DZ_PBIC\CIO-EQUITY\Gilman_Matt\03%20PUBLICATIONS\2025%2011%20-%20EMU%20upgrade\Eur%20IT%20earnings%20growth.xlsx" TargetMode="External"/><Relationship Id="rId2" Type="http://schemas.microsoft.com/office/2011/relationships/chartColorStyle" Target="colors23.xml"/><Relationship Id="rId1" Type="http://schemas.microsoft.com/office/2011/relationships/chartStyle" Target="style23.xml"/></Relationships>
</file>

<file path=ppt/charts/_rels/chart31.xml.rels><?xml version="1.0" encoding="UTF-8" standalone="yes"?>
<Relationships xmlns="http://schemas.openxmlformats.org/package/2006/relationships"><Relationship Id="rId3" Type="http://schemas.openxmlformats.org/officeDocument/2006/relationships/oleObject" Target="file:////UBSPROD.MSAD.UBS.NET\userdata\t686928\home\Documents\EQ\P&amp;R\P&amp;R_charts.xlsx" TargetMode="External"/><Relationship Id="rId2" Type="http://schemas.microsoft.com/office/2011/relationships/chartColorStyle" Target="colors24.xml"/><Relationship Id="rId1" Type="http://schemas.microsoft.com/office/2011/relationships/chartStyle" Target="style24.xml"/></Relationships>
</file>

<file path=ppt/charts/_rels/chart32.xml.rels><?xml version="1.0" encoding="UTF-8" standalone="yes"?>
<Relationships xmlns="http://schemas.openxmlformats.org/package/2006/relationships"><Relationship Id="rId3" Type="http://schemas.openxmlformats.org/officeDocument/2006/relationships/oleObject" Target="file:///C:\Users\t743994\AppData\Local\Microsoft\Windows\INetCache\Content.Outlook\V981LYSU\Fabian_2600122.xlsx" TargetMode="External"/><Relationship Id="rId2" Type="http://schemas.microsoft.com/office/2011/relationships/chartColorStyle" Target="colors25.xml"/><Relationship Id="rId1" Type="http://schemas.microsoft.com/office/2011/relationships/chartStyle" Target="style25.xml"/></Relationships>
</file>

<file path=ppt/charts/_rels/chart33.xml.rels><?xml version="1.0" encoding="UTF-8" standalone="yes"?>
<Relationships xmlns="http://schemas.openxmlformats.org/package/2006/relationships"><Relationship Id="rId3" Type="http://schemas.openxmlformats.org/officeDocument/2006/relationships/oleObject" Target="file:///C:\Users\t743994\AppData\Local\Microsoft\Windows\INetCache\Content.Outlook\NXEEU7GG\Fabian_2600121.xlsx" TargetMode="External"/><Relationship Id="rId2" Type="http://schemas.microsoft.com/office/2011/relationships/chartColorStyle" Target="colors26.xml"/><Relationship Id="rId1" Type="http://schemas.microsoft.com/office/2011/relationships/chartStyle" Target="style26.xml"/></Relationships>
</file>

<file path=ppt/charts/_rels/chart34.xml.rels><?xml version="1.0" encoding="UTF-8" standalone="yes"?>
<Relationships xmlns="http://schemas.openxmlformats.org/package/2006/relationships"><Relationship Id="rId3" Type="http://schemas.openxmlformats.org/officeDocument/2006/relationships/oleObject" Target="file:///C:\Users\t743994\AppData\Local\Microsoft\Windows\INetCache\Content.Outlook\JHVKIMSK\Fabian_2600121.xlsx" TargetMode="External"/><Relationship Id="rId2" Type="http://schemas.microsoft.com/office/2011/relationships/chartColorStyle" Target="colors27.xml"/><Relationship Id="rId1" Type="http://schemas.microsoft.com/office/2011/relationships/chartStyle" Target="style27.xml"/></Relationships>
</file>

<file path=ppt/charts/_rels/chart35.xml.rels><?xml version="1.0" encoding="UTF-8" standalone="yes"?>
<Relationships xmlns="http://schemas.openxmlformats.org/package/2006/relationships"><Relationship Id="rId3" Type="http://schemas.openxmlformats.org/officeDocument/2006/relationships/oleObject" Target="file:///C:\Users\t743994\AppData\Local\Microsoft\Windows\INetCache\Content.Outlook\VTNDFHET\Fabian_2600122.xlsx" TargetMode="Externa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11.xml"/></Relationships>
</file>

<file path=ppt/charts/_rels/chart36.xml.rels><?xml version="1.0" encoding="UTF-8" standalone="yes"?>
<Relationships xmlns="http://schemas.openxmlformats.org/package/2006/relationships"><Relationship Id="rId3" Type="http://schemas.openxmlformats.org/officeDocument/2006/relationships/oleObject" Target="file:////Ubsprod.msad.ubs.net\groupshares\GLOBAL\CIO%20GLOBAL%20EQUITIES\ANALYSTS\Laura\1%20-%20Equity%20Market%20Assessment\01%20-%20Analysis%20&amp;%20Analogues\Fed%20Cuts\Fed%20Cut%20Analogue_All%20Regions_vFinal.xlsx" TargetMode="Externa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chartUserShapes" Target="../drawings/drawing12.xml"/></Relationships>
</file>

<file path=ppt/charts/_rels/chart37.xml.rels><?xml version="1.0" encoding="UTF-8" standalone="yes"?>
<Relationships xmlns="http://schemas.openxmlformats.org/package/2006/relationships"><Relationship Id="rId1" Type="http://schemas.openxmlformats.org/officeDocument/2006/relationships/oleObject" Target="file:////Ubsprod.msad.ubs.net\groupshares\GLOBAL\CIO%20GLOBAL%20EQUITIES\ANALYSTS\Laura\1%20-%20Equity%20Market%20Assessment\05%20-%20Sensitivities%20&amp;%20Backtesting\Backtesting_Templates\Backtesting%20Template_1m%20and%203m_vFinal.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30.xml"/><Relationship Id="rId1" Type="http://schemas.microsoft.com/office/2011/relationships/chartStyle" Target="style30.xml"/><Relationship Id="rId5" Type="http://schemas.openxmlformats.org/officeDocument/2006/relationships/chartUserShapes" Target="../drawings/drawing13.xml"/><Relationship Id="rId4" Type="http://schemas.openxmlformats.org/officeDocument/2006/relationships/oleObject" Target="file:////Ubsprod.msad.ubs.net\groupshares\SGP\WMR_ASIA\06%20Equities\William%20Choo\Quarterly%20and%20YEAH%20Charts\YEAH%202026%20Slide%20Deck%20Charts.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31.xml"/><Relationship Id="rId1" Type="http://schemas.microsoft.com/office/2011/relationships/chartStyle" Target="style31.xml"/><Relationship Id="rId5" Type="http://schemas.openxmlformats.org/officeDocument/2006/relationships/chartUserShapes" Target="../drawings/drawing14.xml"/><Relationship Id="rId4" Type="http://schemas.openxmlformats.org/officeDocument/2006/relationships/oleObject" Target="file:////Ubsprod.msad.ubs.net\groupshares\SGP\WMR_ASIA\06%20Equities\William%20Choo\Quarterly%20and%20YEAH%20Charts\YEAH%202026%20Slide%20Deck%20Chart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UBSPROD.MSAD.UBS.NET\GroupShares\GLOBAL\DZ_PBIC\GAA%20CROSS-ASSET\Equity\Fabian\Tools\Bloomberg_Model_Final.xlsx" TargetMode="External"/></Relationships>
</file>

<file path=ppt/charts/_rels/chart40.xml.rels><?xml version="1.0" encoding="UTF-8" standalone="yes"?>
<Relationships xmlns="http://schemas.openxmlformats.org/package/2006/relationships"><Relationship Id="rId3" Type="http://schemas.openxmlformats.org/officeDocument/2006/relationships/oleObject" Target="file:////UBSPROD.MSAD.UBS.NET\userdata\t686928\home\Documents\EQ\EQ_deck\202602\20260304_US_Equity_Market_Reaction_to_Geopolitical_Events.xlsx" TargetMode="External"/><Relationship Id="rId2" Type="http://schemas.microsoft.com/office/2011/relationships/chartColorStyle" Target="colors32.xml"/><Relationship Id="rId1" Type="http://schemas.microsoft.com/office/2011/relationships/chartStyle" Target="style32.xml"/></Relationships>
</file>

<file path=ppt/charts/_rels/chart41.xml.rels><?xml version="1.0" encoding="UTF-8" standalone="yes"?>
<Relationships xmlns="http://schemas.openxmlformats.org/package/2006/relationships"><Relationship Id="rId3" Type="http://schemas.openxmlformats.org/officeDocument/2006/relationships/oleObject" Target="file:////UBSPROD.MSAD.UBS.NET\userdata\t686928\home\Documents\EQ\EQ_deck\202602\20260304_US_Equity_Market_Reaction_to_Geopolitical_Events.xlsx" TargetMode="External"/><Relationship Id="rId2" Type="http://schemas.microsoft.com/office/2011/relationships/chartColorStyle" Target="colors33.xml"/><Relationship Id="rId1" Type="http://schemas.microsoft.com/office/2011/relationships/chartStyle" Target="style33.xml"/></Relationships>
</file>

<file path=ppt/charts/_rels/chart5.xml.rels><?xml version="1.0" encoding="UTF-8" standalone="yes"?>
<Relationships xmlns="http://schemas.openxmlformats.org/package/2006/relationships"><Relationship Id="rId2" Type="http://schemas.openxmlformats.org/officeDocument/2006/relationships/oleObject" Target="file:////UBSPROD.MSAD.UBS.NET\GroupShares\GLOBAL\DZ_PBIC\GAA%20CROSS-ASSET\Equity\Fabian\Tools\Bloomberg_Model_Final.xlsx" TargetMode="External"/><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ubscloudche.sharepoint.com/teams/cioequities/Shared%20Documents/Forecasts/Forecasts_NewFramework_ForTeam.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ubscloudche.sharepoint.com/teams/cioequities/Shared%20Documents/Presentation%20Slides/03_Global%20Equity%20Strategy%20deck/UHB%20Deck_Recurring%20charts.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1.xml"/><Relationship Id="rId4" Type="http://schemas.openxmlformats.org/officeDocument/2006/relationships/oleObject" Target="file:////Ubsprod.msad.ubs.net\groupshares\SGP\WMR_ASIA\06%20Equities\William%20Choo\Quarterly%20and%20YEAH%20Charts\YEAH%202026%20Slide%20Deck%20Charts.xlsx" TargetMode="External"/></Relationships>
</file>

<file path=ppt/charts/_rels/chart9.xml.rels><?xml version="1.0" encoding="UTF-8" standalone="yes"?>
<Relationships xmlns="http://schemas.openxmlformats.org/package/2006/relationships"><Relationship Id="rId3" Type="http://schemas.openxmlformats.org/officeDocument/2006/relationships/oleObject" Target="file:////UBSPROD.MSAD.UBS.NET\userdata\t686928\home\Documents\EQ\EQ_deck\202601.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6.9174232598357109E-3"/>
          <c:y val="8.2225130768222063E-2"/>
          <c:w val="0.97405966277561606"/>
          <c:h val="0.81492248353813757"/>
        </c:manualLayout>
      </c:layout>
      <c:barChart>
        <c:barDir val="col"/>
        <c:grouping val="clustered"/>
        <c:varyColors val="0"/>
        <c:ser>
          <c:idx val="0"/>
          <c:order val="0"/>
          <c:tx>
            <c:strRef>
              <c:f>regions!$B$14</c:f>
              <c:strCache>
                <c:ptCount val="1"/>
                <c:pt idx="0">
                  <c:v>1M prior</c:v>
                </c:pt>
              </c:strCache>
            </c:strRef>
          </c:tx>
          <c:spPr>
            <a:solidFill>
              <a:srgbClr val="8E8D83"/>
            </a:solidFill>
            <a:ln w="12700" cap="flat" cmpd="sng" algn="ctr">
              <a:solidFill>
                <a:srgbClr val="FFFFFF"/>
              </a:solidFill>
              <a:prstDash val="solid"/>
              <a:round/>
              <a:headEnd type="none" w="med" len="med"/>
              <a:tailEnd type="none" w="med" len="med"/>
            </a:ln>
            <a:effectLst/>
          </c:spPr>
          <c:invertIfNegative val="0"/>
          <c:cat>
            <c:strRef>
              <c:f>regions!$A$15:$A$19</c:f>
              <c:strCache>
                <c:ptCount val="5"/>
                <c:pt idx="0">
                  <c:v>Oil</c:v>
                </c:pt>
                <c:pt idx="1">
                  <c:v>US</c:v>
                </c:pt>
                <c:pt idx="2">
                  <c:v>Europe</c:v>
                </c:pt>
                <c:pt idx="3">
                  <c:v>Emerging markets</c:v>
                </c:pt>
                <c:pt idx="4">
                  <c:v>Asia ex-Japan</c:v>
                </c:pt>
              </c:strCache>
            </c:strRef>
          </c:cat>
          <c:val>
            <c:numRef>
              <c:f>regions!$B$15:$B$19</c:f>
              <c:numCache>
                <c:formatCode>0.0%</c:formatCode>
                <c:ptCount val="5"/>
                <c:pt idx="0">
                  <c:v>3.1188888888888891E-2</c:v>
                </c:pt>
                <c:pt idx="1">
                  <c:v>-5.2999999999999983E-3</c:v>
                </c:pt>
                <c:pt idx="2">
                  <c:v>-4.2766666666666682E-3</c:v>
                </c:pt>
                <c:pt idx="3">
                  <c:v>7.6022222222222229E-3</c:v>
                </c:pt>
                <c:pt idx="4">
                  <c:v>4.9800000000000018E-3</c:v>
                </c:pt>
              </c:numCache>
            </c:numRef>
          </c:val>
          <c:extLst>
            <c:ext xmlns:c16="http://schemas.microsoft.com/office/drawing/2014/chart" uri="{C3380CC4-5D6E-409C-BE32-E72D297353CC}">
              <c16:uniqueId val="{00000000-55A4-4178-A8FE-DED5D2FA7B16}"/>
            </c:ext>
          </c:extLst>
        </c:ser>
        <c:ser>
          <c:idx val="1"/>
          <c:order val="1"/>
          <c:tx>
            <c:strRef>
              <c:f>regions!$C$14</c:f>
              <c:strCache>
                <c:ptCount val="1"/>
                <c:pt idx="0">
                  <c:v>1W</c:v>
                </c:pt>
              </c:strCache>
            </c:strRef>
          </c:tx>
          <c:spPr>
            <a:solidFill>
              <a:srgbClr val="5A5D5C"/>
            </a:solidFill>
            <a:ln w="12700" cap="flat" cmpd="sng" algn="ctr">
              <a:solidFill>
                <a:srgbClr val="FFFFFF"/>
              </a:solidFill>
              <a:prstDash val="solid"/>
              <a:round/>
              <a:headEnd type="none" w="med" len="med"/>
              <a:tailEnd type="none" w="med" len="med"/>
            </a:ln>
            <a:effectLst/>
          </c:spPr>
          <c:invertIfNegative val="0"/>
          <c:cat>
            <c:strRef>
              <c:f>regions!$A$15:$A$19</c:f>
              <c:strCache>
                <c:ptCount val="5"/>
                <c:pt idx="0">
                  <c:v>Oil</c:v>
                </c:pt>
                <c:pt idx="1">
                  <c:v>US</c:v>
                </c:pt>
                <c:pt idx="2">
                  <c:v>Europe</c:v>
                </c:pt>
                <c:pt idx="3">
                  <c:v>Emerging markets</c:v>
                </c:pt>
                <c:pt idx="4">
                  <c:v>Asia ex-Japan</c:v>
                </c:pt>
              </c:strCache>
            </c:strRef>
          </c:cat>
          <c:val>
            <c:numRef>
              <c:f>regions!$C$15:$C$19</c:f>
              <c:numCache>
                <c:formatCode>0.0%</c:formatCode>
                <c:ptCount val="5"/>
                <c:pt idx="0">
                  <c:v>6.9655555555555554E-2</c:v>
                </c:pt>
                <c:pt idx="1">
                  <c:v>-9.2888888888888899E-3</c:v>
                </c:pt>
                <c:pt idx="2">
                  <c:v>-2.2489444444444437E-2</c:v>
                </c:pt>
                <c:pt idx="3">
                  <c:v>-2.5633333333333334E-2</c:v>
                </c:pt>
                <c:pt idx="4">
                  <c:v>-3.1655666666666665E-2</c:v>
                </c:pt>
              </c:numCache>
            </c:numRef>
          </c:val>
          <c:extLst>
            <c:ext xmlns:c16="http://schemas.microsoft.com/office/drawing/2014/chart" uri="{C3380CC4-5D6E-409C-BE32-E72D297353CC}">
              <c16:uniqueId val="{00000001-55A4-4178-A8FE-DED5D2FA7B16}"/>
            </c:ext>
          </c:extLst>
        </c:ser>
        <c:ser>
          <c:idx val="2"/>
          <c:order val="2"/>
          <c:tx>
            <c:strRef>
              <c:f>regions!$D$14</c:f>
              <c:strCache>
                <c:ptCount val="1"/>
                <c:pt idx="0">
                  <c:v>1M</c:v>
                </c:pt>
              </c:strCache>
            </c:strRef>
          </c:tx>
          <c:spPr>
            <a:solidFill>
              <a:srgbClr val="BD000C"/>
            </a:solidFill>
            <a:ln w="12700" cap="flat" cmpd="sng" algn="ctr">
              <a:solidFill>
                <a:srgbClr val="FFFFFF"/>
              </a:solidFill>
              <a:prstDash val="solid"/>
              <a:round/>
              <a:headEnd type="none" w="med" len="med"/>
              <a:tailEnd type="none" w="med" len="med"/>
            </a:ln>
            <a:effectLst/>
          </c:spPr>
          <c:invertIfNegative val="0"/>
          <c:cat>
            <c:strRef>
              <c:f>regions!$A$15:$A$19</c:f>
              <c:strCache>
                <c:ptCount val="5"/>
                <c:pt idx="0">
                  <c:v>Oil</c:v>
                </c:pt>
                <c:pt idx="1">
                  <c:v>US</c:v>
                </c:pt>
                <c:pt idx="2">
                  <c:v>Europe</c:v>
                </c:pt>
                <c:pt idx="3">
                  <c:v>Emerging markets</c:v>
                </c:pt>
                <c:pt idx="4">
                  <c:v>Asia ex-Japan</c:v>
                </c:pt>
              </c:strCache>
            </c:strRef>
          </c:cat>
          <c:val>
            <c:numRef>
              <c:f>regions!$D$15:$D$19</c:f>
              <c:numCache>
                <c:formatCode>0.0%</c:formatCode>
                <c:ptCount val="5"/>
                <c:pt idx="0">
                  <c:v>1.4777777777777775E-2</c:v>
                </c:pt>
                <c:pt idx="1">
                  <c:v>9.2111111111111109E-3</c:v>
                </c:pt>
                <c:pt idx="2">
                  <c:v>-6.6977777777777782E-3</c:v>
                </c:pt>
                <c:pt idx="3">
                  <c:v>-1.8381111111111108E-2</c:v>
                </c:pt>
                <c:pt idx="4">
                  <c:v>-2.7073333333333338E-2</c:v>
                </c:pt>
              </c:numCache>
            </c:numRef>
          </c:val>
          <c:extLst>
            <c:ext xmlns:c16="http://schemas.microsoft.com/office/drawing/2014/chart" uri="{C3380CC4-5D6E-409C-BE32-E72D297353CC}">
              <c16:uniqueId val="{00000002-55A4-4178-A8FE-DED5D2FA7B16}"/>
            </c:ext>
          </c:extLst>
        </c:ser>
        <c:ser>
          <c:idx val="3"/>
          <c:order val="3"/>
          <c:tx>
            <c:strRef>
              <c:f>regions!$E$14</c:f>
              <c:strCache>
                <c:ptCount val="1"/>
                <c:pt idx="0">
                  <c:v>3M</c:v>
                </c:pt>
              </c:strCache>
            </c:strRef>
          </c:tx>
          <c:spPr>
            <a:solidFill>
              <a:srgbClr val="B98E2C"/>
            </a:solidFill>
            <a:ln w="12700" cap="flat" cmpd="sng" algn="ctr">
              <a:solidFill>
                <a:srgbClr val="FFFFFF"/>
              </a:solidFill>
              <a:prstDash val="solid"/>
              <a:round/>
              <a:headEnd type="none" w="med" len="med"/>
              <a:tailEnd type="none" w="med" len="med"/>
            </a:ln>
            <a:effectLst/>
          </c:spPr>
          <c:invertIfNegative val="0"/>
          <c:cat>
            <c:strRef>
              <c:f>regions!$A$15:$A$19</c:f>
              <c:strCache>
                <c:ptCount val="5"/>
                <c:pt idx="0">
                  <c:v>Oil</c:v>
                </c:pt>
                <c:pt idx="1">
                  <c:v>US</c:v>
                </c:pt>
                <c:pt idx="2">
                  <c:v>Europe</c:v>
                </c:pt>
                <c:pt idx="3">
                  <c:v>Emerging markets</c:v>
                </c:pt>
                <c:pt idx="4">
                  <c:v>Asia ex-Japan</c:v>
                </c:pt>
              </c:strCache>
            </c:strRef>
          </c:cat>
          <c:val>
            <c:numRef>
              <c:f>regions!$E$15:$E$19</c:f>
              <c:numCache>
                <c:formatCode>0.0%</c:formatCode>
                <c:ptCount val="5"/>
                <c:pt idx="0">
                  <c:v>4.5444444444444454E-2</c:v>
                </c:pt>
                <c:pt idx="1">
                  <c:v>3.3244444444444445E-2</c:v>
                </c:pt>
                <c:pt idx="2">
                  <c:v>9.9222222222222246E-3</c:v>
                </c:pt>
                <c:pt idx="3">
                  <c:v>2.6232222222222226E-2</c:v>
                </c:pt>
                <c:pt idx="4">
                  <c:v>2.6076666666666672E-2</c:v>
                </c:pt>
              </c:numCache>
            </c:numRef>
          </c:val>
          <c:extLst>
            <c:ext xmlns:c16="http://schemas.microsoft.com/office/drawing/2014/chart" uri="{C3380CC4-5D6E-409C-BE32-E72D297353CC}">
              <c16:uniqueId val="{00000003-55A4-4178-A8FE-DED5D2FA7B16}"/>
            </c:ext>
          </c:extLst>
        </c:ser>
        <c:dLbls>
          <c:showLegendKey val="0"/>
          <c:showVal val="0"/>
          <c:showCatName val="0"/>
          <c:showSerName val="0"/>
          <c:showPercent val="0"/>
          <c:showBubbleSize val="0"/>
        </c:dLbls>
        <c:gapWidth val="50"/>
        <c:axId val="1717207968"/>
        <c:axId val="1717209408"/>
      </c:barChart>
      <c:catAx>
        <c:axId val="1717207968"/>
        <c:scaling>
          <c:orientation val="minMax"/>
        </c:scaling>
        <c:delete val="0"/>
        <c:axPos val="b"/>
        <c:numFmt formatCode="General" sourceLinked="1"/>
        <c:majorTickMark val="out"/>
        <c:minorTickMark val="none"/>
        <c:tickLblPos val="low"/>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crossAx val="1717209408"/>
        <c:crosses val="autoZero"/>
        <c:auto val="1"/>
        <c:lblAlgn val="ctr"/>
        <c:lblOffset val="100"/>
        <c:noMultiLvlLbl val="0"/>
      </c:catAx>
      <c:valAx>
        <c:axId val="171720940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crossAx val="17172079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Frutiger 45 Light" panose="020B0603020202020204" pitchFamily="34" charset="0"/>
          <a:ea typeface="+mn-ea"/>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560367454068233E-2"/>
          <c:y val="4.5008202099737528E-2"/>
          <c:w val="0.89550885826771653"/>
          <c:h val="0.6210674025777807"/>
        </c:manualLayout>
      </c:layout>
      <c:barChart>
        <c:barDir val="col"/>
        <c:grouping val="clustered"/>
        <c:varyColors val="0"/>
        <c:ser>
          <c:idx val="0"/>
          <c:order val="0"/>
          <c:tx>
            <c:strRef>
              <c:f>'longevity segments'!$C$7</c:f>
              <c:strCache>
                <c:ptCount val="1"/>
                <c:pt idx="0">
                  <c:v>2023 sales, USD bn (lhs)</c:v>
                </c:pt>
              </c:strCache>
            </c:strRef>
          </c:tx>
          <c:spPr>
            <a:solidFill>
              <a:srgbClr val="8E8D83"/>
            </a:solidFill>
            <a:ln>
              <a:noFill/>
            </a:ln>
            <a:effectLst/>
          </c:spPr>
          <c:invertIfNegative val="0"/>
          <c:cat>
            <c:strRef>
              <c:f>'longevity segments'!$B$10:$B$13</c:f>
              <c:strCache>
                <c:ptCount val="4"/>
                <c:pt idx="0">
                  <c:v>Pharma</c:v>
                </c:pt>
                <c:pt idx="1">
                  <c:v>Active 
Nutrition</c:v>
                </c:pt>
                <c:pt idx="2">
                  <c:v>Hotels</c:v>
                </c:pt>
                <c:pt idx="3">
                  <c:v>Diagnostics</c:v>
                </c:pt>
              </c:strCache>
            </c:strRef>
          </c:cat>
          <c:val>
            <c:numRef>
              <c:f>'longevity segments'!$C$10:$C$13</c:f>
              <c:numCache>
                <c:formatCode>General</c:formatCode>
                <c:ptCount val="4"/>
                <c:pt idx="0">
                  <c:v>625</c:v>
                </c:pt>
                <c:pt idx="1">
                  <c:v>37</c:v>
                </c:pt>
                <c:pt idx="2">
                  <c:v>259</c:v>
                </c:pt>
                <c:pt idx="3">
                  <c:v>110</c:v>
                </c:pt>
              </c:numCache>
            </c:numRef>
          </c:val>
          <c:extLst>
            <c:ext xmlns:c16="http://schemas.microsoft.com/office/drawing/2014/chart" uri="{C3380CC4-5D6E-409C-BE32-E72D297353CC}">
              <c16:uniqueId val="{00000000-3363-4595-9F52-E5F776D378C6}"/>
            </c:ext>
          </c:extLst>
        </c:ser>
        <c:ser>
          <c:idx val="1"/>
          <c:order val="1"/>
          <c:tx>
            <c:strRef>
              <c:f>'longevity segments'!$D$7</c:f>
              <c:strCache>
                <c:ptCount val="1"/>
                <c:pt idx="0">
                  <c:v>2030E sales, USD bn (lhs)</c:v>
                </c:pt>
              </c:strCache>
            </c:strRef>
          </c:tx>
          <c:spPr>
            <a:solidFill>
              <a:srgbClr val="BD000C"/>
            </a:solidFill>
            <a:ln>
              <a:noFill/>
            </a:ln>
            <a:effectLst/>
          </c:spPr>
          <c:invertIfNegative val="0"/>
          <c:cat>
            <c:strRef>
              <c:f>'longevity segments'!$B$10:$B$13</c:f>
              <c:strCache>
                <c:ptCount val="4"/>
                <c:pt idx="0">
                  <c:v>Pharma</c:v>
                </c:pt>
                <c:pt idx="1">
                  <c:v>Active 
Nutrition</c:v>
                </c:pt>
                <c:pt idx="2">
                  <c:v>Hotels</c:v>
                </c:pt>
                <c:pt idx="3">
                  <c:v>Diagnostics</c:v>
                </c:pt>
              </c:strCache>
            </c:strRef>
          </c:cat>
          <c:val>
            <c:numRef>
              <c:f>'longevity segments'!$D$10:$D$13</c:f>
              <c:numCache>
                <c:formatCode>General</c:formatCode>
                <c:ptCount val="4"/>
                <c:pt idx="0">
                  <c:v>1157</c:v>
                </c:pt>
                <c:pt idx="1">
                  <c:v>60</c:v>
                </c:pt>
                <c:pt idx="2">
                  <c:v>412</c:v>
                </c:pt>
                <c:pt idx="3">
                  <c:v>170</c:v>
                </c:pt>
              </c:numCache>
            </c:numRef>
          </c:val>
          <c:extLst>
            <c:ext xmlns:c16="http://schemas.microsoft.com/office/drawing/2014/chart" uri="{C3380CC4-5D6E-409C-BE32-E72D297353CC}">
              <c16:uniqueId val="{00000001-3363-4595-9F52-E5F776D378C6}"/>
            </c:ext>
          </c:extLst>
        </c:ser>
        <c:dLbls>
          <c:showLegendKey val="0"/>
          <c:showVal val="0"/>
          <c:showCatName val="0"/>
          <c:showSerName val="0"/>
          <c:showPercent val="0"/>
          <c:showBubbleSize val="0"/>
        </c:dLbls>
        <c:gapWidth val="50"/>
        <c:overlap val="-10"/>
        <c:axId val="1724917967"/>
        <c:axId val="1724918383"/>
      </c:barChart>
      <c:lineChart>
        <c:grouping val="standard"/>
        <c:varyColors val="0"/>
        <c:ser>
          <c:idx val="2"/>
          <c:order val="2"/>
          <c:tx>
            <c:strRef>
              <c:f>'longevity segments'!$E$7</c:f>
              <c:strCache>
                <c:ptCount val="1"/>
                <c:pt idx="0">
                  <c:v>2023-30 CAGR (rhs)</c:v>
                </c:pt>
              </c:strCache>
            </c:strRef>
          </c:tx>
          <c:spPr>
            <a:ln w="28575" cap="rnd">
              <a:noFill/>
              <a:round/>
            </a:ln>
            <a:effectLst/>
          </c:spPr>
          <c:marker>
            <c:symbol val="diamond"/>
            <c:size val="15"/>
            <c:spPr>
              <a:solidFill>
                <a:srgbClr val="B98E2C"/>
              </a:solidFill>
              <a:ln w="9525">
                <a:noFill/>
              </a:ln>
              <a:effectLst/>
            </c:spPr>
          </c:marker>
          <c:cat>
            <c:strRef>
              <c:f>'longevity segments'!$B$10:$B$13</c:f>
              <c:strCache>
                <c:ptCount val="4"/>
                <c:pt idx="0">
                  <c:v>Pharma</c:v>
                </c:pt>
                <c:pt idx="1">
                  <c:v>Active 
Nutrition</c:v>
                </c:pt>
                <c:pt idx="2">
                  <c:v>Hotels</c:v>
                </c:pt>
                <c:pt idx="3">
                  <c:v>Diagnostics</c:v>
                </c:pt>
              </c:strCache>
            </c:strRef>
          </c:cat>
          <c:val>
            <c:numRef>
              <c:f>'longevity segments'!$E$10:$E$13</c:f>
              <c:numCache>
                <c:formatCode>0.0%</c:formatCode>
                <c:ptCount val="4"/>
                <c:pt idx="0">
                  <c:v>9.1999999999999998E-2</c:v>
                </c:pt>
                <c:pt idx="1">
                  <c:v>7.0000000000000007E-2</c:v>
                </c:pt>
                <c:pt idx="2">
                  <c:v>6.9000000000000006E-2</c:v>
                </c:pt>
                <c:pt idx="3">
                  <c:v>6.4000000000000001E-2</c:v>
                </c:pt>
              </c:numCache>
            </c:numRef>
          </c:val>
          <c:smooth val="0"/>
          <c:extLst>
            <c:ext xmlns:c16="http://schemas.microsoft.com/office/drawing/2014/chart" uri="{C3380CC4-5D6E-409C-BE32-E72D297353CC}">
              <c16:uniqueId val="{00000002-3363-4595-9F52-E5F776D378C6}"/>
            </c:ext>
          </c:extLst>
        </c:ser>
        <c:dLbls>
          <c:showLegendKey val="0"/>
          <c:showVal val="0"/>
          <c:showCatName val="0"/>
          <c:showSerName val="0"/>
          <c:showPercent val="0"/>
          <c:showBubbleSize val="0"/>
        </c:dLbls>
        <c:marker val="1"/>
        <c:smooth val="0"/>
        <c:axId val="296825712"/>
        <c:axId val="296842512"/>
      </c:lineChart>
      <c:dateAx>
        <c:axId val="1724917967"/>
        <c:scaling>
          <c:orientation val="minMax"/>
        </c:scaling>
        <c:delete val="0"/>
        <c:axPos val="b"/>
        <c:numFmt formatCode="yyyy" sourceLinked="0"/>
        <c:majorTickMark val="none"/>
        <c:minorTickMark val="none"/>
        <c:tickLblPos val="low"/>
        <c:spPr>
          <a:noFill/>
          <a:ln w="9525" cap="flat" cmpd="sng" algn="ctr">
            <a:solidFill>
              <a:sysClr val="windowText" lastClr="000000"/>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24918383"/>
        <c:crosses val="autoZero"/>
        <c:auto val="0"/>
        <c:lblOffset val="100"/>
        <c:baseTimeUnit val="days"/>
        <c:majorUnit val="1"/>
        <c:majorTimeUnit val="years"/>
      </c:dateAx>
      <c:valAx>
        <c:axId val="1724918383"/>
        <c:scaling>
          <c:orientation val="minMax"/>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24917967"/>
        <c:crosses val="autoZero"/>
        <c:crossBetween val="between"/>
        <c:majorUnit val="500"/>
      </c:valAx>
      <c:valAx>
        <c:axId val="296842512"/>
        <c:scaling>
          <c:orientation val="minMax"/>
          <c:min val="4.0000000000000008E-2"/>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296825712"/>
        <c:crosses val="max"/>
        <c:crossBetween val="between"/>
        <c:majorUnit val="2.0000000000000004E-2"/>
      </c:valAx>
      <c:catAx>
        <c:axId val="296825712"/>
        <c:scaling>
          <c:orientation val="minMax"/>
        </c:scaling>
        <c:delete val="1"/>
        <c:axPos val="b"/>
        <c:numFmt formatCode="General" sourceLinked="1"/>
        <c:majorTickMark val="out"/>
        <c:minorTickMark val="none"/>
        <c:tickLblPos val="nextTo"/>
        <c:crossAx val="296842512"/>
        <c:crosses val="autoZero"/>
        <c:auto val="1"/>
        <c:lblAlgn val="ctr"/>
        <c:lblOffset val="100"/>
        <c:noMultiLvlLbl val="0"/>
      </c:catAx>
      <c:spPr>
        <a:noFill/>
        <a:ln>
          <a:noFill/>
        </a:ln>
        <a:effectLst/>
      </c:spPr>
    </c:plotArea>
    <c:legend>
      <c:legendPos val="r"/>
      <c:layout>
        <c:manualLayout>
          <c:xMode val="edge"/>
          <c:yMode val="edge"/>
          <c:x val="0"/>
          <c:y val="0.8444818975616748"/>
          <c:w val="1"/>
          <c:h val="0.1555181024383250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a:solidFill>
            <a:srgbClr val="000000"/>
          </a:solidFill>
          <a:latin typeface="Frutiger 45 Light" panose="020B0603020202020204" pitchFamily="34" charset="0"/>
          <a:ea typeface="+mn-ea"/>
        </a:defRPr>
      </a:pPr>
      <a:endParaRPr lang="en-US"/>
    </a:p>
  </c:txPr>
  <c:externalData r:id="rId4">
    <c:autoUpdate val="0"/>
  </c:externalData>
  <c:userShapes r:id="rId5"/>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789670822397201"/>
          <c:y val="4.2903664819675322E-2"/>
          <c:w val="0.75423857174103237"/>
          <c:h val="0.69383941328441612"/>
        </c:manualLayout>
      </c:layout>
      <c:lineChart>
        <c:grouping val="standard"/>
        <c:varyColors val="0"/>
        <c:ser>
          <c:idx val="0"/>
          <c:order val="0"/>
          <c:tx>
            <c:strRef>
              <c:f>'spx perf during rate cuts'!$C$9</c:f>
              <c:strCache>
                <c:ptCount val="1"/>
                <c:pt idx="0">
                  <c:v>No recession</c:v>
                </c:pt>
              </c:strCache>
            </c:strRef>
          </c:tx>
          <c:spPr>
            <a:ln w="28575" cap="rnd" cmpd="sng" algn="ctr">
              <a:solidFill>
                <a:srgbClr val="8E8D83"/>
              </a:solidFill>
              <a:prstDash val="solid"/>
              <a:round/>
              <a:headEnd type="none" w="med" len="med"/>
              <a:tailEnd type="none" w="med" len="med"/>
            </a:ln>
            <a:effectLst/>
          </c:spPr>
          <c:marker>
            <c:symbol val="none"/>
          </c:marker>
          <c:dPt>
            <c:idx val="1"/>
            <c:marker>
              <c:symbol val="none"/>
            </c:marker>
            <c:bubble3D val="0"/>
            <c:extLst>
              <c:ext xmlns:c16="http://schemas.microsoft.com/office/drawing/2014/chart" uri="{C3380CC4-5D6E-409C-BE32-E72D297353CC}">
                <c16:uniqueId val="{00000000-CD01-42D8-AD14-7B87E5544557}"/>
              </c:ext>
            </c:extLst>
          </c:dPt>
          <c:cat>
            <c:numRef>
              <c:f>'spx perf during rate cuts'!$B$12:$B$36</c:f>
              <c:numCache>
                <c:formatCode>General</c:formatCode>
                <c:ptCount val="2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numCache>
            </c:numRef>
          </c:cat>
          <c:val>
            <c:numRef>
              <c:f>'spx perf during rate cuts'!$C$12:$C$36</c:f>
              <c:numCache>
                <c:formatCode>General</c:formatCode>
                <c:ptCount val="25"/>
                <c:pt idx="0">
                  <c:v>89.894264633355732</c:v>
                </c:pt>
                <c:pt idx="1">
                  <c:v>90.803437869074713</c:v>
                </c:pt>
                <c:pt idx="2">
                  <c:v>91.870700912067235</c:v>
                </c:pt>
                <c:pt idx="3">
                  <c:v>88.615882784976094</c:v>
                </c:pt>
                <c:pt idx="4">
                  <c:v>90.593161180332459</c:v>
                </c:pt>
                <c:pt idx="5">
                  <c:v>89.673545308246887</c:v>
                </c:pt>
                <c:pt idx="6">
                  <c:v>91.647006696342416</c:v>
                </c:pt>
                <c:pt idx="7">
                  <c:v>94.108722927602315</c:v>
                </c:pt>
                <c:pt idx="8">
                  <c:v>94.527677817547712</c:v>
                </c:pt>
                <c:pt idx="9">
                  <c:v>96.55807944660009</c:v>
                </c:pt>
                <c:pt idx="10">
                  <c:v>96.658270301973886</c:v>
                </c:pt>
                <c:pt idx="11">
                  <c:v>98.14017614971678</c:v>
                </c:pt>
                <c:pt idx="12">
                  <c:v>100</c:v>
                </c:pt>
                <c:pt idx="13">
                  <c:v>101.87954455621347</c:v>
                </c:pt>
                <c:pt idx="14">
                  <c:v>105.67796523827447</c:v>
                </c:pt>
                <c:pt idx="15">
                  <c:v>107.86774706953035</c:v>
                </c:pt>
                <c:pt idx="16">
                  <c:v>111.6654208758253</c:v>
                </c:pt>
                <c:pt idx="17">
                  <c:v>112.58462456175613</c:v>
                </c:pt>
                <c:pt idx="18">
                  <c:v>113.4460020162586</c:v>
                </c:pt>
                <c:pt idx="19">
                  <c:v>115.31487406712006</c:v>
                </c:pt>
                <c:pt idx="20">
                  <c:v>116.21968430624754</c:v>
                </c:pt>
                <c:pt idx="21">
                  <c:v>117.14320536287467</c:v>
                </c:pt>
                <c:pt idx="22">
                  <c:v>116.88630034813028</c:v>
                </c:pt>
                <c:pt idx="23">
                  <c:v>117.99235697024646</c:v>
                </c:pt>
                <c:pt idx="24">
                  <c:v>118.09062009745769</c:v>
                </c:pt>
              </c:numCache>
            </c:numRef>
          </c:val>
          <c:smooth val="0"/>
          <c:extLst>
            <c:ext xmlns:c16="http://schemas.microsoft.com/office/drawing/2014/chart" uri="{C3380CC4-5D6E-409C-BE32-E72D297353CC}">
              <c16:uniqueId val="{00000001-CD01-42D8-AD14-7B87E5544557}"/>
            </c:ext>
          </c:extLst>
        </c:ser>
        <c:ser>
          <c:idx val="1"/>
          <c:order val="1"/>
          <c:tx>
            <c:strRef>
              <c:f>'spx perf during rate cuts'!$D$9</c:f>
              <c:strCache>
                <c:ptCount val="1"/>
                <c:pt idx="0">
                  <c:v>Recession</c:v>
                </c:pt>
              </c:strCache>
            </c:strRef>
          </c:tx>
          <c:spPr>
            <a:ln w="28575" cap="rnd" cmpd="sng" algn="ctr">
              <a:solidFill>
                <a:srgbClr val="BD000C"/>
              </a:solidFill>
              <a:prstDash val="solid"/>
              <a:round/>
              <a:headEnd type="none" w="med" len="med"/>
              <a:tailEnd type="none" w="med" len="med"/>
            </a:ln>
            <a:effectLst/>
          </c:spPr>
          <c:marker>
            <c:symbol val="none"/>
          </c:marker>
          <c:cat>
            <c:numRef>
              <c:f>'spx perf during rate cuts'!$B$12:$B$36</c:f>
              <c:numCache>
                <c:formatCode>General</c:formatCode>
                <c:ptCount val="2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numCache>
            </c:numRef>
          </c:cat>
          <c:val>
            <c:numRef>
              <c:f>'spx perf during rate cuts'!$D$12:$D$36</c:f>
              <c:numCache>
                <c:formatCode>General</c:formatCode>
                <c:ptCount val="25"/>
                <c:pt idx="0">
                  <c:v>97.709754827488268</c:v>
                </c:pt>
                <c:pt idx="1">
                  <c:v>99.599956434762206</c:v>
                </c:pt>
                <c:pt idx="2">
                  <c:v>99.768764679066479</c:v>
                </c:pt>
                <c:pt idx="3">
                  <c:v>100.61759923324917</c:v>
                </c:pt>
                <c:pt idx="4">
                  <c:v>100.93165489127753</c:v>
                </c:pt>
                <c:pt idx="5">
                  <c:v>99.949952176203297</c:v>
                </c:pt>
                <c:pt idx="6">
                  <c:v>100.69128212021219</c:v>
                </c:pt>
                <c:pt idx="7">
                  <c:v>100.27877621431216</c:v>
                </c:pt>
                <c:pt idx="8">
                  <c:v>101.77393641294498</c:v>
                </c:pt>
                <c:pt idx="9">
                  <c:v>101.76641872029434</c:v>
                </c:pt>
                <c:pt idx="10">
                  <c:v>102.86109598929748</c:v>
                </c:pt>
                <c:pt idx="11">
                  <c:v>100.53204197403015</c:v>
                </c:pt>
                <c:pt idx="12">
                  <c:v>100</c:v>
                </c:pt>
                <c:pt idx="13">
                  <c:v>97.811719639420431</c:v>
                </c:pt>
                <c:pt idx="14">
                  <c:v>95.116766016169819</c:v>
                </c:pt>
                <c:pt idx="15">
                  <c:v>91.547682697649947</c:v>
                </c:pt>
                <c:pt idx="16">
                  <c:v>94.951210667776493</c:v>
                </c:pt>
                <c:pt idx="17">
                  <c:v>96.184591475569036</c:v>
                </c:pt>
                <c:pt idx="18">
                  <c:v>96.359911531112488</c:v>
                </c:pt>
                <c:pt idx="19">
                  <c:v>98.282791583442332</c:v>
                </c:pt>
                <c:pt idx="20">
                  <c:v>97.605867970490493</c:v>
                </c:pt>
                <c:pt idx="21">
                  <c:v>97.757190303674278</c:v>
                </c:pt>
                <c:pt idx="22">
                  <c:v>97.641449224741109</c:v>
                </c:pt>
                <c:pt idx="23">
                  <c:v>99.372112355707017</c:v>
                </c:pt>
                <c:pt idx="24">
                  <c:v>100.99691663505637</c:v>
                </c:pt>
              </c:numCache>
            </c:numRef>
          </c:val>
          <c:smooth val="0"/>
          <c:extLst>
            <c:ext xmlns:c16="http://schemas.microsoft.com/office/drawing/2014/chart" uri="{C3380CC4-5D6E-409C-BE32-E72D297353CC}">
              <c16:uniqueId val="{00000002-CD01-42D8-AD14-7B87E5544557}"/>
            </c:ext>
          </c:extLst>
        </c:ser>
        <c:ser>
          <c:idx val="2"/>
          <c:order val="2"/>
          <c:tx>
            <c:strRef>
              <c:f>'spx perf during rate cuts'!$E$9</c:f>
              <c:strCache>
                <c:ptCount val="1"/>
                <c:pt idx="0">
                  <c:v>All periods</c:v>
                </c:pt>
              </c:strCache>
            </c:strRef>
          </c:tx>
          <c:spPr>
            <a:ln w="28575" cap="rnd" cmpd="sng" algn="ctr">
              <a:solidFill>
                <a:srgbClr val="B98E2C"/>
              </a:solidFill>
              <a:prstDash val="solid"/>
              <a:round/>
              <a:headEnd type="none" w="med" len="med"/>
              <a:tailEnd type="none" w="med" len="med"/>
            </a:ln>
            <a:effectLst/>
          </c:spPr>
          <c:marker>
            <c:symbol val="none"/>
          </c:marker>
          <c:cat>
            <c:numRef>
              <c:f>'spx perf during rate cuts'!$B$12:$B$36</c:f>
              <c:numCache>
                <c:formatCode>General</c:formatCode>
                <c:ptCount val="2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numCache>
            </c:numRef>
          </c:cat>
          <c:val>
            <c:numRef>
              <c:f>'spx perf during rate cuts'!$E$12:$E$36</c:f>
              <c:numCache>
                <c:formatCode>General</c:formatCode>
                <c:ptCount val="25"/>
                <c:pt idx="0">
                  <c:v>94.121954226413763</c:v>
                </c:pt>
                <c:pt idx="1">
                  <c:v>95.154817553733523</c:v>
                </c:pt>
                <c:pt idx="2">
                  <c:v>96.389728397411304</c:v>
                </c:pt>
                <c:pt idx="3">
                  <c:v>96.69605669132855</c:v>
                </c:pt>
                <c:pt idx="4">
                  <c:v>98.520073367588793</c:v>
                </c:pt>
                <c:pt idx="5">
                  <c:v>98.723511846318985</c:v>
                </c:pt>
                <c:pt idx="6">
                  <c:v>99.313846570722987</c:v>
                </c:pt>
                <c:pt idx="7">
                  <c:v>99.252662774365106</c:v>
                </c:pt>
                <c:pt idx="8">
                  <c:v>101.6422327350807</c:v>
                </c:pt>
                <c:pt idx="9">
                  <c:v>102.63478913192273</c:v>
                </c:pt>
                <c:pt idx="10">
                  <c:v>104.48832568014755</c:v>
                </c:pt>
                <c:pt idx="11">
                  <c:v>103.05677410734802</c:v>
                </c:pt>
                <c:pt idx="12">
                  <c:v>100</c:v>
                </c:pt>
                <c:pt idx="13">
                  <c:v>98.929733286462692</c:v>
                </c:pt>
                <c:pt idx="14">
                  <c:v>99.939969411401151</c:v>
                </c:pt>
                <c:pt idx="15">
                  <c:v>99.593624965865772</c:v>
                </c:pt>
                <c:pt idx="16">
                  <c:v>102.87244309734974</c:v>
                </c:pt>
                <c:pt idx="17">
                  <c:v>104.25105968366084</c:v>
                </c:pt>
                <c:pt idx="18">
                  <c:v>104.05176807507264</c:v>
                </c:pt>
                <c:pt idx="19">
                  <c:v>105.00504790018354</c:v>
                </c:pt>
                <c:pt idx="20">
                  <c:v>105.89804625024969</c:v>
                </c:pt>
                <c:pt idx="21">
                  <c:v>107.0398105851156</c:v>
                </c:pt>
                <c:pt idx="22">
                  <c:v>107.15257642349954</c:v>
                </c:pt>
                <c:pt idx="23">
                  <c:v>108.69966515483414</c:v>
                </c:pt>
                <c:pt idx="24">
                  <c:v>109.58558847126118</c:v>
                </c:pt>
              </c:numCache>
            </c:numRef>
          </c:val>
          <c:smooth val="0"/>
          <c:extLst>
            <c:ext xmlns:c16="http://schemas.microsoft.com/office/drawing/2014/chart" uri="{C3380CC4-5D6E-409C-BE32-E72D297353CC}">
              <c16:uniqueId val="{00000003-CD01-42D8-AD14-7B87E5544557}"/>
            </c:ext>
          </c:extLst>
        </c:ser>
        <c:dLbls>
          <c:showLegendKey val="0"/>
          <c:showVal val="0"/>
          <c:showCatName val="0"/>
          <c:showSerName val="0"/>
          <c:showPercent val="0"/>
          <c:showBubbleSize val="0"/>
        </c:dLbls>
        <c:smooth val="0"/>
        <c:axId val="1724917967"/>
        <c:axId val="1724918383"/>
      </c:lineChart>
      <c:catAx>
        <c:axId val="1724917967"/>
        <c:scaling>
          <c:orientation val="minMax"/>
        </c:scaling>
        <c:delete val="0"/>
        <c:axPos val="b"/>
        <c:numFmt formatCode="General" sourceLinked="0"/>
        <c:majorTickMark val="none"/>
        <c:minorTickMark val="none"/>
        <c:tickLblPos val="low"/>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24918383"/>
        <c:crossesAt val="100"/>
        <c:auto val="0"/>
        <c:lblAlgn val="ctr"/>
        <c:lblOffset val="100"/>
        <c:tickLblSkip val="3"/>
        <c:noMultiLvlLbl val="0"/>
      </c:catAx>
      <c:valAx>
        <c:axId val="1724918383"/>
        <c:scaling>
          <c:orientation val="minMax"/>
          <c:min val="85"/>
        </c:scaling>
        <c:delete val="0"/>
        <c:axPos val="l"/>
        <c:title>
          <c:tx>
            <c:rich>
              <a:bodyPr rot="-5400000" spcFirstLastPara="1" vertOverflow="ellipsis" vert="horz" wrap="square" anchor="ctr" anchorCtr="1"/>
              <a:lstStyle/>
              <a:p>
                <a:pPr>
                  <a:defRPr sz="1400" b="1" i="0" u="none" strike="noStrike" kern="1200" baseline="0">
                    <a:solidFill>
                      <a:srgbClr val="000000"/>
                    </a:solidFill>
                    <a:latin typeface="Frutiger 45 Light" panose="020B0603020202020204" pitchFamily="34" charset="0"/>
                    <a:ea typeface="+mn-ea"/>
                    <a:cs typeface="+mn-cs"/>
                  </a:defRPr>
                </a:pPr>
                <a:r>
                  <a:rPr lang="en-US" sz="1200" b="1" dirty="0"/>
                  <a:t>S&amp;P 500 performance</a:t>
                </a:r>
              </a:p>
            </c:rich>
          </c:tx>
          <c:layout>
            <c:manualLayout>
              <c:xMode val="edge"/>
              <c:yMode val="edge"/>
              <c:x val="7.8111329833770637E-4"/>
              <c:y val="0.20675415573053368"/>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rgbClr val="000000"/>
                  </a:solidFill>
                  <a:latin typeface="Frutiger 45 Light" panose="020B0603020202020204" pitchFamily="34" charset="0"/>
                  <a:ea typeface="+mn-ea"/>
                  <a:cs typeface="+mn-cs"/>
                </a:defRPr>
              </a:pPr>
              <a:endParaRPr lang="en-US"/>
            </a:p>
          </c:txPr>
        </c:title>
        <c:numFmt formatCode="#,##0" sourceLinked="0"/>
        <c:majorTickMark val="none"/>
        <c:minorTickMark val="none"/>
        <c:tickLblPos val="low"/>
        <c:spPr>
          <a:noFill/>
          <a:ln>
            <a:solidFill>
              <a:sysClr val="windowText" lastClr="000000"/>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24917967"/>
        <c:crossesAt val="13"/>
        <c:crossBetween val="midCat"/>
      </c:valAx>
      <c:spPr>
        <a:solidFill>
          <a:srgbClr val="FFFFFF"/>
        </a:solidFill>
        <a:ln>
          <a:noFill/>
        </a:ln>
        <a:effectLst/>
      </c:spPr>
    </c:plotArea>
    <c:legend>
      <c:legendPos val="r"/>
      <c:layout>
        <c:manualLayout>
          <c:xMode val="edge"/>
          <c:yMode val="edge"/>
          <c:x val="3.8212539402407306E-2"/>
          <c:y val="0.91371016764379331"/>
          <c:w val="0.96178746059759279"/>
          <c:h val="8.628983235620664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a:solidFill>
            <a:srgbClr val="000000"/>
          </a:solidFill>
          <a:latin typeface="Frutiger 45 Light" panose="020B0603020202020204" pitchFamily="34" charset="0"/>
          <a:ea typeface="+mn-ea"/>
        </a:defRPr>
      </a:pPr>
      <a:endParaRPr lang="en-US"/>
    </a:p>
  </c:txPr>
  <c:externalData r:id="rId4">
    <c:autoUpdate val="0"/>
  </c:externalData>
  <c:userShapes r:id="rId5"/>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090332458442691E-2"/>
          <c:y val="7.2928331875182273E-2"/>
          <c:w val="0.89202077865266827"/>
          <c:h val="0.81149278215223097"/>
        </c:manualLayout>
      </c:layout>
      <c:barChart>
        <c:barDir val="col"/>
        <c:grouping val="clustered"/>
        <c:varyColors val="0"/>
        <c:ser>
          <c:idx val="1"/>
          <c:order val="1"/>
          <c:spPr>
            <a:solidFill>
              <a:schemeClr val="bg1">
                <a:lumMod val="75000"/>
              </a:schemeClr>
            </a:solidFill>
            <a:ln>
              <a:solidFill>
                <a:schemeClr val="bg1">
                  <a:lumMod val="75000"/>
                </a:schemeClr>
              </a:solidFill>
            </a:ln>
            <a:effectLst/>
          </c:spPr>
          <c:invertIfNegative val="0"/>
          <c:cat>
            <c:numRef>
              <c:f>'Fig. 1'!$A$6:$A$308</c:f>
              <c:numCache>
                <c:formatCode>m/d/yyyy</c:formatCode>
                <c:ptCount val="303"/>
                <c:pt idx="0">
                  <c:v>45659</c:v>
                </c:pt>
                <c:pt idx="1">
                  <c:v>45660</c:v>
                </c:pt>
                <c:pt idx="2">
                  <c:v>45661</c:v>
                </c:pt>
                <c:pt idx="3">
                  <c:v>45662</c:v>
                </c:pt>
                <c:pt idx="4">
                  <c:v>45663</c:v>
                </c:pt>
                <c:pt idx="5">
                  <c:v>45664</c:v>
                </c:pt>
                <c:pt idx="6">
                  <c:v>45665</c:v>
                </c:pt>
                <c:pt idx="7">
                  <c:v>45666</c:v>
                </c:pt>
                <c:pt idx="8">
                  <c:v>45667</c:v>
                </c:pt>
                <c:pt idx="9">
                  <c:v>45668</c:v>
                </c:pt>
                <c:pt idx="10">
                  <c:v>45669</c:v>
                </c:pt>
                <c:pt idx="11">
                  <c:v>45670</c:v>
                </c:pt>
                <c:pt idx="12">
                  <c:v>45671</c:v>
                </c:pt>
                <c:pt idx="13">
                  <c:v>45672</c:v>
                </c:pt>
                <c:pt idx="14">
                  <c:v>45673</c:v>
                </c:pt>
                <c:pt idx="15">
                  <c:v>45674</c:v>
                </c:pt>
                <c:pt idx="16">
                  <c:v>45675</c:v>
                </c:pt>
                <c:pt idx="17">
                  <c:v>45676</c:v>
                </c:pt>
                <c:pt idx="18">
                  <c:v>45677</c:v>
                </c:pt>
                <c:pt idx="19">
                  <c:v>45678</c:v>
                </c:pt>
                <c:pt idx="20">
                  <c:v>45679</c:v>
                </c:pt>
                <c:pt idx="21">
                  <c:v>45680</c:v>
                </c:pt>
                <c:pt idx="22">
                  <c:v>45681</c:v>
                </c:pt>
                <c:pt idx="23">
                  <c:v>45682</c:v>
                </c:pt>
                <c:pt idx="24">
                  <c:v>45683</c:v>
                </c:pt>
                <c:pt idx="25">
                  <c:v>45684</c:v>
                </c:pt>
                <c:pt idx="26">
                  <c:v>45685</c:v>
                </c:pt>
                <c:pt idx="27">
                  <c:v>45686</c:v>
                </c:pt>
                <c:pt idx="28">
                  <c:v>45687</c:v>
                </c:pt>
                <c:pt idx="29">
                  <c:v>45688</c:v>
                </c:pt>
                <c:pt idx="30">
                  <c:v>45689</c:v>
                </c:pt>
                <c:pt idx="31">
                  <c:v>45690</c:v>
                </c:pt>
                <c:pt idx="32">
                  <c:v>45691</c:v>
                </c:pt>
                <c:pt idx="33">
                  <c:v>45692</c:v>
                </c:pt>
                <c:pt idx="34">
                  <c:v>45693</c:v>
                </c:pt>
                <c:pt idx="35">
                  <c:v>45694</c:v>
                </c:pt>
                <c:pt idx="36">
                  <c:v>45695</c:v>
                </c:pt>
                <c:pt idx="37">
                  <c:v>45696</c:v>
                </c:pt>
                <c:pt idx="38">
                  <c:v>45697</c:v>
                </c:pt>
                <c:pt idx="39">
                  <c:v>45698</c:v>
                </c:pt>
                <c:pt idx="40">
                  <c:v>45699</c:v>
                </c:pt>
                <c:pt idx="41">
                  <c:v>45700</c:v>
                </c:pt>
                <c:pt idx="42">
                  <c:v>45701</c:v>
                </c:pt>
                <c:pt idx="43">
                  <c:v>45702</c:v>
                </c:pt>
                <c:pt idx="44">
                  <c:v>45703</c:v>
                </c:pt>
                <c:pt idx="45">
                  <c:v>45704</c:v>
                </c:pt>
                <c:pt idx="46">
                  <c:v>45705</c:v>
                </c:pt>
                <c:pt idx="47">
                  <c:v>45706</c:v>
                </c:pt>
                <c:pt idx="48">
                  <c:v>45707</c:v>
                </c:pt>
                <c:pt idx="49">
                  <c:v>45708</c:v>
                </c:pt>
                <c:pt idx="50">
                  <c:v>45709</c:v>
                </c:pt>
                <c:pt idx="51">
                  <c:v>45710</c:v>
                </c:pt>
                <c:pt idx="52">
                  <c:v>45711</c:v>
                </c:pt>
                <c:pt idx="53">
                  <c:v>45712</c:v>
                </c:pt>
                <c:pt idx="54">
                  <c:v>45713</c:v>
                </c:pt>
                <c:pt idx="55">
                  <c:v>45714</c:v>
                </c:pt>
                <c:pt idx="56">
                  <c:v>45715</c:v>
                </c:pt>
                <c:pt idx="57">
                  <c:v>45716</c:v>
                </c:pt>
                <c:pt idx="58">
                  <c:v>45717</c:v>
                </c:pt>
                <c:pt idx="59">
                  <c:v>45718</c:v>
                </c:pt>
                <c:pt idx="60">
                  <c:v>45719</c:v>
                </c:pt>
                <c:pt idx="61">
                  <c:v>45720</c:v>
                </c:pt>
                <c:pt idx="62">
                  <c:v>45721</c:v>
                </c:pt>
                <c:pt idx="63">
                  <c:v>45722</c:v>
                </c:pt>
                <c:pt idx="64">
                  <c:v>45723</c:v>
                </c:pt>
                <c:pt idx="65">
                  <c:v>45724</c:v>
                </c:pt>
                <c:pt idx="66">
                  <c:v>45725</c:v>
                </c:pt>
                <c:pt idx="67">
                  <c:v>45726</c:v>
                </c:pt>
                <c:pt idx="68">
                  <c:v>45727</c:v>
                </c:pt>
                <c:pt idx="69">
                  <c:v>45728</c:v>
                </c:pt>
                <c:pt idx="70">
                  <c:v>45729</c:v>
                </c:pt>
                <c:pt idx="71">
                  <c:v>45730</c:v>
                </c:pt>
                <c:pt idx="72">
                  <c:v>45731</c:v>
                </c:pt>
                <c:pt idx="73">
                  <c:v>45732</c:v>
                </c:pt>
                <c:pt idx="74">
                  <c:v>45733</c:v>
                </c:pt>
                <c:pt idx="75">
                  <c:v>45734</c:v>
                </c:pt>
                <c:pt idx="76">
                  <c:v>45735</c:v>
                </c:pt>
                <c:pt idx="77">
                  <c:v>45736</c:v>
                </c:pt>
                <c:pt idx="78">
                  <c:v>45737</c:v>
                </c:pt>
                <c:pt idx="79">
                  <c:v>45738</c:v>
                </c:pt>
                <c:pt idx="80">
                  <c:v>45739</c:v>
                </c:pt>
                <c:pt idx="81">
                  <c:v>45740</c:v>
                </c:pt>
                <c:pt idx="82">
                  <c:v>45741</c:v>
                </c:pt>
                <c:pt idx="83">
                  <c:v>45742</c:v>
                </c:pt>
                <c:pt idx="84">
                  <c:v>45743</c:v>
                </c:pt>
                <c:pt idx="85">
                  <c:v>45744</c:v>
                </c:pt>
                <c:pt idx="86">
                  <c:v>45745</c:v>
                </c:pt>
                <c:pt idx="87">
                  <c:v>45746</c:v>
                </c:pt>
                <c:pt idx="88">
                  <c:v>45747</c:v>
                </c:pt>
                <c:pt idx="89">
                  <c:v>45748</c:v>
                </c:pt>
                <c:pt idx="90">
                  <c:v>45749</c:v>
                </c:pt>
                <c:pt idx="91">
                  <c:v>45750</c:v>
                </c:pt>
                <c:pt idx="92">
                  <c:v>45751</c:v>
                </c:pt>
                <c:pt idx="93">
                  <c:v>45752</c:v>
                </c:pt>
                <c:pt idx="94">
                  <c:v>45753</c:v>
                </c:pt>
                <c:pt idx="95">
                  <c:v>45754</c:v>
                </c:pt>
                <c:pt idx="96">
                  <c:v>45755</c:v>
                </c:pt>
                <c:pt idx="97">
                  <c:v>45756</c:v>
                </c:pt>
                <c:pt idx="98">
                  <c:v>45757</c:v>
                </c:pt>
                <c:pt idx="99">
                  <c:v>45758</c:v>
                </c:pt>
                <c:pt idx="100">
                  <c:v>45759</c:v>
                </c:pt>
                <c:pt idx="101">
                  <c:v>45760</c:v>
                </c:pt>
                <c:pt idx="102">
                  <c:v>45761</c:v>
                </c:pt>
                <c:pt idx="103">
                  <c:v>45762</c:v>
                </c:pt>
                <c:pt idx="104">
                  <c:v>45763</c:v>
                </c:pt>
                <c:pt idx="105">
                  <c:v>45764</c:v>
                </c:pt>
                <c:pt idx="106">
                  <c:v>45765</c:v>
                </c:pt>
                <c:pt idx="107">
                  <c:v>45766</c:v>
                </c:pt>
                <c:pt idx="108">
                  <c:v>45767</c:v>
                </c:pt>
                <c:pt idx="109">
                  <c:v>45768</c:v>
                </c:pt>
                <c:pt idx="110">
                  <c:v>45769</c:v>
                </c:pt>
                <c:pt idx="111">
                  <c:v>45770</c:v>
                </c:pt>
                <c:pt idx="112">
                  <c:v>45771</c:v>
                </c:pt>
                <c:pt idx="113">
                  <c:v>45772</c:v>
                </c:pt>
                <c:pt idx="114">
                  <c:v>45773</c:v>
                </c:pt>
                <c:pt idx="115">
                  <c:v>45774</c:v>
                </c:pt>
                <c:pt idx="116">
                  <c:v>45775</c:v>
                </c:pt>
                <c:pt idx="117">
                  <c:v>45776</c:v>
                </c:pt>
                <c:pt idx="118">
                  <c:v>45777</c:v>
                </c:pt>
                <c:pt idx="119">
                  <c:v>45778</c:v>
                </c:pt>
                <c:pt idx="120">
                  <c:v>45779</c:v>
                </c:pt>
                <c:pt idx="121">
                  <c:v>45780</c:v>
                </c:pt>
                <c:pt idx="122">
                  <c:v>45781</c:v>
                </c:pt>
                <c:pt idx="123">
                  <c:v>45782</c:v>
                </c:pt>
                <c:pt idx="124">
                  <c:v>45783</c:v>
                </c:pt>
                <c:pt idx="125">
                  <c:v>45784</c:v>
                </c:pt>
                <c:pt idx="126">
                  <c:v>45785</c:v>
                </c:pt>
                <c:pt idx="127">
                  <c:v>45786</c:v>
                </c:pt>
                <c:pt idx="128">
                  <c:v>45787</c:v>
                </c:pt>
                <c:pt idx="129">
                  <c:v>45788</c:v>
                </c:pt>
                <c:pt idx="130">
                  <c:v>45789</c:v>
                </c:pt>
                <c:pt idx="131">
                  <c:v>45790</c:v>
                </c:pt>
                <c:pt idx="132">
                  <c:v>45791</c:v>
                </c:pt>
                <c:pt idx="133">
                  <c:v>45792</c:v>
                </c:pt>
                <c:pt idx="134">
                  <c:v>45793</c:v>
                </c:pt>
                <c:pt idx="135">
                  <c:v>45794</c:v>
                </c:pt>
                <c:pt idx="136">
                  <c:v>45795</c:v>
                </c:pt>
                <c:pt idx="137">
                  <c:v>45796</c:v>
                </c:pt>
                <c:pt idx="138">
                  <c:v>45797</c:v>
                </c:pt>
                <c:pt idx="139">
                  <c:v>45798</c:v>
                </c:pt>
                <c:pt idx="140">
                  <c:v>45799</c:v>
                </c:pt>
                <c:pt idx="141">
                  <c:v>45800</c:v>
                </c:pt>
                <c:pt idx="142">
                  <c:v>45801</c:v>
                </c:pt>
                <c:pt idx="143">
                  <c:v>45802</c:v>
                </c:pt>
                <c:pt idx="144">
                  <c:v>45803</c:v>
                </c:pt>
                <c:pt idx="145">
                  <c:v>45804</c:v>
                </c:pt>
                <c:pt idx="146">
                  <c:v>45805</c:v>
                </c:pt>
                <c:pt idx="147">
                  <c:v>45806</c:v>
                </c:pt>
                <c:pt idx="148">
                  <c:v>45807</c:v>
                </c:pt>
                <c:pt idx="149">
                  <c:v>45808</c:v>
                </c:pt>
                <c:pt idx="150">
                  <c:v>45809</c:v>
                </c:pt>
                <c:pt idx="151">
                  <c:v>45810</c:v>
                </c:pt>
                <c:pt idx="152">
                  <c:v>45811</c:v>
                </c:pt>
                <c:pt idx="153">
                  <c:v>45812</c:v>
                </c:pt>
                <c:pt idx="154">
                  <c:v>45813</c:v>
                </c:pt>
                <c:pt idx="155">
                  <c:v>45814</c:v>
                </c:pt>
                <c:pt idx="156">
                  <c:v>45815</c:v>
                </c:pt>
                <c:pt idx="157">
                  <c:v>45816</c:v>
                </c:pt>
                <c:pt idx="158">
                  <c:v>45817</c:v>
                </c:pt>
                <c:pt idx="159">
                  <c:v>45818</c:v>
                </c:pt>
                <c:pt idx="160">
                  <c:v>45819</c:v>
                </c:pt>
                <c:pt idx="161">
                  <c:v>45820</c:v>
                </c:pt>
                <c:pt idx="162">
                  <c:v>45821</c:v>
                </c:pt>
                <c:pt idx="163">
                  <c:v>45822</c:v>
                </c:pt>
                <c:pt idx="164">
                  <c:v>45823</c:v>
                </c:pt>
                <c:pt idx="165">
                  <c:v>45824</c:v>
                </c:pt>
                <c:pt idx="166">
                  <c:v>45825</c:v>
                </c:pt>
                <c:pt idx="167">
                  <c:v>45826</c:v>
                </c:pt>
                <c:pt idx="168">
                  <c:v>45827</c:v>
                </c:pt>
                <c:pt idx="169">
                  <c:v>45828</c:v>
                </c:pt>
                <c:pt idx="170">
                  <c:v>45829</c:v>
                </c:pt>
                <c:pt idx="171">
                  <c:v>45830</c:v>
                </c:pt>
                <c:pt idx="172">
                  <c:v>45831</c:v>
                </c:pt>
                <c:pt idx="173">
                  <c:v>45832</c:v>
                </c:pt>
                <c:pt idx="174">
                  <c:v>45833</c:v>
                </c:pt>
                <c:pt idx="175">
                  <c:v>45834</c:v>
                </c:pt>
                <c:pt idx="176">
                  <c:v>45835</c:v>
                </c:pt>
                <c:pt idx="177">
                  <c:v>45836</c:v>
                </c:pt>
                <c:pt idx="178">
                  <c:v>45837</c:v>
                </c:pt>
                <c:pt idx="179">
                  <c:v>45838</c:v>
                </c:pt>
                <c:pt idx="180">
                  <c:v>45839</c:v>
                </c:pt>
                <c:pt idx="181">
                  <c:v>45840</c:v>
                </c:pt>
                <c:pt idx="182">
                  <c:v>45841</c:v>
                </c:pt>
                <c:pt idx="183">
                  <c:v>45842</c:v>
                </c:pt>
                <c:pt idx="184">
                  <c:v>45843</c:v>
                </c:pt>
                <c:pt idx="185">
                  <c:v>45844</c:v>
                </c:pt>
                <c:pt idx="186">
                  <c:v>45845</c:v>
                </c:pt>
                <c:pt idx="187">
                  <c:v>45846</c:v>
                </c:pt>
                <c:pt idx="188">
                  <c:v>45847</c:v>
                </c:pt>
                <c:pt idx="189">
                  <c:v>45848</c:v>
                </c:pt>
                <c:pt idx="190">
                  <c:v>45849</c:v>
                </c:pt>
                <c:pt idx="191">
                  <c:v>45850</c:v>
                </c:pt>
                <c:pt idx="192">
                  <c:v>45851</c:v>
                </c:pt>
                <c:pt idx="193">
                  <c:v>45852</c:v>
                </c:pt>
                <c:pt idx="194">
                  <c:v>45853</c:v>
                </c:pt>
                <c:pt idx="195">
                  <c:v>45854</c:v>
                </c:pt>
                <c:pt idx="196">
                  <c:v>45855</c:v>
                </c:pt>
                <c:pt idx="197">
                  <c:v>45856</c:v>
                </c:pt>
                <c:pt idx="198">
                  <c:v>45857</c:v>
                </c:pt>
                <c:pt idx="199">
                  <c:v>45858</c:v>
                </c:pt>
                <c:pt idx="200">
                  <c:v>45859</c:v>
                </c:pt>
                <c:pt idx="201">
                  <c:v>45860</c:v>
                </c:pt>
                <c:pt idx="202">
                  <c:v>45861</c:v>
                </c:pt>
                <c:pt idx="203">
                  <c:v>45862</c:v>
                </c:pt>
                <c:pt idx="204">
                  <c:v>45863</c:v>
                </c:pt>
                <c:pt idx="205">
                  <c:v>45864</c:v>
                </c:pt>
                <c:pt idx="206">
                  <c:v>45865</c:v>
                </c:pt>
                <c:pt idx="207">
                  <c:v>45866</c:v>
                </c:pt>
                <c:pt idx="208">
                  <c:v>45867</c:v>
                </c:pt>
                <c:pt idx="209">
                  <c:v>45868</c:v>
                </c:pt>
                <c:pt idx="210">
                  <c:v>45869</c:v>
                </c:pt>
                <c:pt idx="211">
                  <c:v>45870</c:v>
                </c:pt>
                <c:pt idx="212">
                  <c:v>45871</c:v>
                </c:pt>
                <c:pt idx="213">
                  <c:v>45872</c:v>
                </c:pt>
                <c:pt idx="214">
                  <c:v>45873</c:v>
                </c:pt>
                <c:pt idx="215">
                  <c:v>45874</c:v>
                </c:pt>
                <c:pt idx="216">
                  <c:v>45875</c:v>
                </c:pt>
                <c:pt idx="217">
                  <c:v>45876</c:v>
                </c:pt>
                <c:pt idx="218">
                  <c:v>45877</c:v>
                </c:pt>
                <c:pt idx="219">
                  <c:v>45878</c:v>
                </c:pt>
                <c:pt idx="220">
                  <c:v>45879</c:v>
                </c:pt>
                <c:pt idx="221">
                  <c:v>45880</c:v>
                </c:pt>
                <c:pt idx="222">
                  <c:v>45881</c:v>
                </c:pt>
                <c:pt idx="223">
                  <c:v>45882</c:v>
                </c:pt>
                <c:pt idx="224">
                  <c:v>45883</c:v>
                </c:pt>
                <c:pt idx="225">
                  <c:v>45884</c:v>
                </c:pt>
                <c:pt idx="226">
                  <c:v>45885</c:v>
                </c:pt>
                <c:pt idx="227">
                  <c:v>45886</c:v>
                </c:pt>
                <c:pt idx="228">
                  <c:v>45887</c:v>
                </c:pt>
                <c:pt idx="229">
                  <c:v>45888</c:v>
                </c:pt>
                <c:pt idx="230">
                  <c:v>45889</c:v>
                </c:pt>
                <c:pt idx="231">
                  <c:v>45890</c:v>
                </c:pt>
                <c:pt idx="232">
                  <c:v>45891</c:v>
                </c:pt>
                <c:pt idx="233">
                  <c:v>45892</c:v>
                </c:pt>
                <c:pt idx="234">
                  <c:v>45893</c:v>
                </c:pt>
                <c:pt idx="235">
                  <c:v>45894</c:v>
                </c:pt>
                <c:pt idx="236">
                  <c:v>45895</c:v>
                </c:pt>
                <c:pt idx="237">
                  <c:v>45896</c:v>
                </c:pt>
                <c:pt idx="238">
                  <c:v>45897</c:v>
                </c:pt>
                <c:pt idx="239">
                  <c:v>45898</c:v>
                </c:pt>
                <c:pt idx="240">
                  <c:v>45899</c:v>
                </c:pt>
                <c:pt idx="241">
                  <c:v>45900</c:v>
                </c:pt>
                <c:pt idx="242">
                  <c:v>45901</c:v>
                </c:pt>
                <c:pt idx="243">
                  <c:v>45902</c:v>
                </c:pt>
                <c:pt idx="244">
                  <c:v>45903</c:v>
                </c:pt>
                <c:pt idx="245">
                  <c:v>45904</c:v>
                </c:pt>
                <c:pt idx="246">
                  <c:v>45905</c:v>
                </c:pt>
                <c:pt idx="247">
                  <c:v>45906</c:v>
                </c:pt>
                <c:pt idx="248">
                  <c:v>45907</c:v>
                </c:pt>
                <c:pt idx="249">
                  <c:v>45908</c:v>
                </c:pt>
                <c:pt idx="250">
                  <c:v>45909</c:v>
                </c:pt>
                <c:pt idx="251">
                  <c:v>45910</c:v>
                </c:pt>
                <c:pt idx="252">
                  <c:v>45911</c:v>
                </c:pt>
                <c:pt idx="253">
                  <c:v>45912</c:v>
                </c:pt>
                <c:pt idx="254">
                  <c:v>45913</c:v>
                </c:pt>
                <c:pt idx="255">
                  <c:v>45914</c:v>
                </c:pt>
                <c:pt idx="256">
                  <c:v>45915</c:v>
                </c:pt>
                <c:pt idx="257">
                  <c:v>45916</c:v>
                </c:pt>
                <c:pt idx="258">
                  <c:v>45917</c:v>
                </c:pt>
                <c:pt idx="259">
                  <c:v>45918</c:v>
                </c:pt>
                <c:pt idx="260">
                  <c:v>45919</c:v>
                </c:pt>
                <c:pt idx="261">
                  <c:v>45920</c:v>
                </c:pt>
                <c:pt idx="262">
                  <c:v>45921</c:v>
                </c:pt>
                <c:pt idx="263">
                  <c:v>45922</c:v>
                </c:pt>
                <c:pt idx="264">
                  <c:v>45923</c:v>
                </c:pt>
                <c:pt idx="265">
                  <c:v>45924</c:v>
                </c:pt>
                <c:pt idx="266">
                  <c:v>45925</c:v>
                </c:pt>
                <c:pt idx="267">
                  <c:v>45926</c:v>
                </c:pt>
                <c:pt idx="268">
                  <c:v>45927</c:v>
                </c:pt>
                <c:pt idx="269">
                  <c:v>45928</c:v>
                </c:pt>
                <c:pt idx="270">
                  <c:v>45929</c:v>
                </c:pt>
                <c:pt idx="271">
                  <c:v>45930</c:v>
                </c:pt>
                <c:pt idx="272">
                  <c:v>45931</c:v>
                </c:pt>
                <c:pt idx="273">
                  <c:v>45932</c:v>
                </c:pt>
                <c:pt idx="274">
                  <c:v>45933</c:v>
                </c:pt>
                <c:pt idx="275">
                  <c:v>45934</c:v>
                </c:pt>
                <c:pt idx="276">
                  <c:v>45935</c:v>
                </c:pt>
                <c:pt idx="277">
                  <c:v>45936</c:v>
                </c:pt>
                <c:pt idx="278">
                  <c:v>45937</c:v>
                </c:pt>
                <c:pt idx="279">
                  <c:v>45938</c:v>
                </c:pt>
                <c:pt idx="280">
                  <c:v>45939</c:v>
                </c:pt>
                <c:pt idx="281">
                  <c:v>45940</c:v>
                </c:pt>
                <c:pt idx="282">
                  <c:v>45941</c:v>
                </c:pt>
                <c:pt idx="283">
                  <c:v>45942</c:v>
                </c:pt>
                <c:pt idx="284">
                  <c:v>45943</c:v>
                </c:pt>
                <c:pt idx="285">
                  <c:v>45944</c:v>
                </c:pt>
                <c:pt idx="286">
                  <c:v>45945</c:v>
                </c:pt>
                <c:pt idx="287">
                  <c:v>45946</c:v>
                </c:pt>
                <c:pt idx="288">
                  <c:v>45947</c:v>
                </c:pt>
                <c:pt idx="289">
                  <c:v>45948</c:v>
                </c:pt>
                <c:pt idx="290">
                  <c:v>45949</c:v>
                </c:pt>
                <c:pt idx="291">
                  <c:v>45950</c:v>
                </c:pt>
                <c:pt idx="292">
                  <c:v>45951</c:v>
                </c:pt>
                <c:pt idx="293">
                  <c:v>45952</c:v>
                </c:pt>
                <c:pt idx="294">
                  <c:v>45953</c:v>
                </c:pt>
                <c:pt idx="295">
                  <c:v>45954</c:v>
                </c:pt>
                <c:pt idx="296">
                  <c:v>45955</c:v>
                </c:pt>
                <c:pt idx="297">
                  <c:v>45956</c:v>
                </c:pt>
                <c:pt idx="298">
                  <c:v>45957</c:v>
                </c:pt>
                <c:pt idx="299">
                  <c:v>45958</c:v>
                </c:pt>
                <c:pt idx="300">
                  <c:v>45959</c:v>
                </c:pt>
                <c:pt idx="301">
                  <c:v>45960</c:v>
                </c:pt>
                <c:pt idx="302">
                  <c:v>45961</c:v>
                </c:pt>
              </c:numCache>
            </c:numRef>
          </c:cat>
          <c:val>
            <c:numRef>
              <c:f>'Fig. 1'!$C$6:$C$308</c:f>
              <c:numCache>
                <c:formatCode>General</c:formatCode>
                <c:ptCount val="303"/>
                <c:pt idx="147">
                  <c:v>1</c:v>
                </c:pt>
                <c:pt idx="239">
                  <c:v>1</c:v>
                </c:pt>
              </c:numCache>
            </c:numRef>
          </c:val>
          <c:extLst>
            <c:ext xmlns:c16="http://schemas.microsoft.com/office/drawing/2014/chart" uri="{C3380CC4-5D6E-409C-BE32-E72D297353CC}">
              <c16:uniqueId val="{00000000-E7B1-4AC6-A8A6-E589FB534F3E}"/>
            </c:ext>
          </c:extLst>
        </c:ser>
        <c:dLbls>
          <c:showLegendKey val="0"/>
          <c:showVal val="0"/>
          <c:showCatName val="0"/>
          <c:showSerName val="0"/>
          <c:showPercent val="0"/>
          <c:showBubbleSize val="0"/>
        </c:dLbls>
        <c:gapWidth val="150"/>
        <c:axId val="1505531487"/>
        <c:axId val="1505534367"/>
      </c:barChart>
      <c:lineChart>
        <c:grouping val="standard"/>
        <c:varyColors val="0"/>
        <c:ser>
          <c:idx val="0"/>
          <c:order val="0"/>
          <c:spPr>
            <a:ln w="25400" cap="rnd" cmpd="sng" algn="ctr">
              <a:solidFill>
                <a:schemeClr val="tx2">
                  <a:lumMod val="50000"/>
                  <a:lumOff val="50000"/>
                </a:schemeClr>
              </a:solidFill>
              <a:prstDash val="solid"/>
              <a:round/>
              <a:headEnd type="none" w="med" len="med"/>
              <a:tailEnd type="none" w="med" len="med"/>
            </a:ln>
            <a:effectLst/>
          </c:spPr>
          <c:marker>
            <c:symbol val="none"/>
          </c:marker>
          <c:dPt>
            <c:idx val="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0-834C-42B8-93BC-24FD915F8F07}"/>
              </c:ext>
            </c:extLst>
          </c:dPt>
          <c:dPt>
            <c:idx val="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1-834C-42B8-93BC-24FD915F8F07}"/>
              </c:ext>
            </c:extLst>
          </c:dPt>
          <c:dPt>
            <c:idx val="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2-834C-42B8-93BC-24FD915F8F07}"/>
              </c:ext>
            </c:extLst>
          </c:dPt>
          <c:dPt>
            <c:idx val="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3-834C-42B8-93BC-24FD915F8F07}"/>
              </c:ext>
            </c:extLst>
          </c:dPt>
          <c:dPt>
            <c:idx val="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4-834C-42B8-93BC-24FD915F8F07}"/>
              </c:ext>
            </c:extLst>
          </c:dPt>
          <c:dPt>
            <c:idx val="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5-834C-42B8-93BC-24FD915F8F07}"/>
              </c:ext>
            </c:extLst>
          </c:dPt>
          <c:dPt>
            <c:idx val="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6-834C-42B8-93BC-24FD915F8F07}"/>
              </c:ext>
            </c:extLst>
          </c:dPt>
          <c:dPt>
            <c:idx val="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7-834C-42B8-93BC-24FD915F8F07}"/>
              </c:ext>
            </c:extLst>
          </c:dPt>
          <c:dPt>
            <c:idx val="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8-834C-42B8-93BC-24FD915F8F07}"/>
              </c:ext>
            </c:extLst>
          </c:dPt>
          <c:dPt>
            <c:idx val="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9-834C-42B8-93BC-24FD915F8F07}"/>
              </c:ext>
            </c:extLst>
          </c:dPt>
          <c:dPt>
            <c:idx val="1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A-834C-42B8-93BC-24FD915F8F07}"/>
              </c:ext>
            </c:extLst>
          </c:dPt>
          <c:dPt>
            <c:idx val="1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B-834C-42B8-93BC-24FD915F8F07}"/>
              </c:ext>
            </c:extLst>
          </c:dPt>
          <c:dPt>
            <c:idx val="1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C-834C-42B8-93BC-24FD915F8F07}"/>
              </c:ext>
            </c:extLst>
          </c:dPt>
          <c:dPt>
            <c:idx val="1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D-834C-42B8-93BC-24FD915F8F07}"/>
              </c:ext>
            </c:extLst>
          </c:dPt>
          <c:dPt>
            <c:idx val="1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E-834C-42B8-93BC-24FD915F8F07}"/>
              </c:ext>
            </c:extLst>
          </c:dPt>
          <c:dPt>
            <c:idx val="1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0F-834C-42B8-93BC-24FD915F8F07}"/>
              </c:ext>
            </c:extLst>
          </c:dPt>
          <c:dPt>
            <c:idx val="1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0-834C-42B8-93BC-24FD915F8F07}"/>
              </c:ext>
            </c:extLst>
          </c:dPt>
          <c:dPt>
            <c:idx val="1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1-834C-42B8-93BC-24FD915F8F07}"/>
              </c:ext>
            </c:extLst>
          </c:dPt>
          <c:dPt>
            <c:idx val="1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2-834C-42B8-93BC-24FD915F8F07}"/>
              </c:ext>
            </c:extLst>
          </c:dPt>
          <c:dPt>
            <c:idx val="1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3-834C-42B8-93BC-24FD915F8F07}"/>
              </c:ext>
            </c:extLst>
          </c:dPt>
          <c:dPt>
            <c:idx val="2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4-834C-42B8-93BC-24FD915F8F07}"/>
              </c:ext>
            </c:extLst>
          </c:dPt>
          <c:dPt>
            <c:idx val="2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5-834C-42B8-93BC-24FD915F8F07}"/>
              </c:ext>
            </c:extLst>
          </c:dPt>
          <c:dPt>
            <c:idx val="2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6-834C-42B8-93BC-24FD915F8F07}"/>
              </c:ext>
            </c:extLst>
          </c:dPt>
          <c:dPt>
            <c:idx val="2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7-834C-42B8-93BC-24FD915F8F07}"/>
              </c:ext>
            </c:extLst>
          </c:dPt>
          <c:dPt>
            <c:idx val="2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8-834C-42B8-93BC-24FD915F8F07}"/>
              </c:ext>
            </c:extLst>
          </c:dPt>
          <c:dPt>
            <c:idx val="2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9-834C-42B8-93BC-24FD915F8F07}"/>
              </c:ext>
            </c:extLst>
          </c:dPt>
          <c:dPt>
            <c:idx val="2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A-834C-42B8-93BC-24FD915F8F07}"/>
              </c:ext>
            </c:extLst>
          </c:dPt>
          <c:dPt>
            <c:idx val="2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B-834C-42B8-93BC-24FD915F8F07}"/>
              </c:ext>
            </c:extLst>
          </c:dPt>
          <c:dPt>
            <c:idx val="2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C-834C-42B8-93BC-24FD915F8F07}"/>
              </c:ext>
            </c:extLst>
          </c:dPt>
          <c:dPt>
            <c:idx val="2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D-834C-42B8-93BC-24FD915F8F07}"/>
              </c:ext>
            </c:extLst>
          </c:dPt>
          <c:dPt>
            <c:idx val="3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E-834C-42B8-93BC-24FD915F8F07}"/>
              </c:ext>
            </c:extLst>
          </c:dPt>
          <c:dPt>
            <c:idx val="3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1F-834C-42B8-93BC-24FD915F8F07}"/>
              </c:ext>
            </c:extLst>
          </c:dPt>
          <c:dPt>
            <c:idx val="3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0-834C-42B8-93BC-24FD915F8F07}"/>
              </c:ext>
            </c:extLst>
          </c:dPt>
          <c:dPt>
            <c:idx val="3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1-834C-42B8-93BC-24FD915F8F07}"/>
              </c:ext>
            </c:extLst>
          </c:dPt>
          <c:dPt>
            <c:idx val="3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2-834C-42B8-93BC-24FD915F8F07}"/>
              </c:ext>
            </c:extLst>
          </c:dPt>
          <c:dPt>
            <c:idx val="3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3-834C-42B8-93BC-24FD915F8F07}"/>
              </c:ext>
            </c:extLst>
          </c:dPt>
          <c:dPt>
            <c:idx val="3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4-834C-42B8-93BC-24FD915F8F07}"/>
              </c:ext>
            </c:extLst>
          </c:dPt>
          <c:dPt>
            <c:idx val="3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5-834C-42B8-93BC-24FD915F8F07}"/>
              </c:ext>
            </c:extLst>
          </c:dPt>
          <c:dPt>
            <c:idx val="3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6-834C-42B8-93BC-24FD915F8F07}"/>
              </c:ext>
            </c:extLst>
          </c:dPt>
          <c:dPt>
            <c:idx val="3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7-834C-42B8-93BC-24FD915F8F07}"/>
              </c:ext>
            </c:extLst>
          </c:dPt>
          <c:dPt>
            <c:idx val="4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8-834C-42B8-93BC-24FD915F8F07}"/>
              </c:ext>
            </c:extLst>
          </c:dPt>
          <c:dPt>
            <c:idx val="4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9-834C-42B8-93BC-24FD915F8F07}"/>
              </c:ext>
            </c:extLst>
          </c:dPt>
          <c:dPt>
            <c:idx val="4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A-834C-42B8-93BC-24FD915F8F07}"/>
              </c:ext>
            </c:extLst>
          </c:dPt>
          <c:dPt>
            <c:idx val="4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B-834C-42B8-93BC-24FD915F8F07}"/>
              </c:ext>
            </c:extLst>
          </c:dPt>
          <c:dPt>
            <c:idx val="4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C-834C-42B8-93BC-24FD915F8F07}"/>
              </c:ext>
            </c:extLst>
          </c:dPt>
          <c:dPt>
            <c:idx val="4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D-834C-42B8-93BC-24FD915F8F07}"/>
              </c:ext>
            </c:extLst>
          </c:dPt>
          <c:dPt>
            <c:idx val="4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E-834C-42B8-93BC-24FD915F8F07}"/>
              </c:ext>
            </c:extLst>
          </c:dPt>
          <c:dPt>
            <c:idx val="4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2F-834C-42B8-93BC-24FD915F8F07}"/>
              </c:ext>
            </c:extLst>
          </c:dPt>
          <c:dPt>
            <c:idx val="4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0-834C-42B8-93BC-24FD915F8F07}"/>
              </c:ext>
            </c:extLst>
          </c:dPt>
          <c:dPt>
            <c:idx val="4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1-834C-42B8-93BC-24FD915F8F07}"/>
              </c:ext>
            </c:extLst>
          </c:dPt>
          <c:dPt>
            <c:idx val="5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2-834C-42B8-93BC-24FD915F8F07}"/>
              </c:ext>
            </c:extLst>
          </c:dPt>
          <c:dPt>
            <c:idx val="5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3-834C-42B8-93BC-24FD915F8F07}"/>
              </c:ext>
            </c:extLst>
          </c:dPt>
          <c:dPt>
            <c:idx val="5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4-834C-42B8-93BC-24FD915F8F07}"/>
              </c:ext>
            </c:extLst>
          </c:dPt>
          <c:dPt>
            <c:idx val="5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5-834C-42B8-93BC-24FD915F8F07}"/>
              </c:ext>
            </c:extLst>
          </c:dPt>
          <c:dPt>
            <c:idx val="5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6-834C-42B8-93BC-24FD915F8F07}"/>
              </c:ext>
            </c:extLst>
          </c:dPt>
          <c:dPt>
            <c:idx val="5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7-834C-42B8-93BC-24FD915F8F07}"/>
              </c:ext>
            </c:extLst>
          </c:dPt>
          <c:dPt>
            <c:idx val="5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8-834C-42B8-93BC-24FD915F8F07}"/>
              </c:ext>
            </c:extLst>
          </c:dPt>
          <c:dPt>
            <c:idx val="5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9-834C-42B8-93BC-24FD915F8F07}"/>
              </c:ext>
            </c:extLst>
          </c:dPt>
          <c:dPt>
            <c:idx val="5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A-834C-42B8-93BC-24FD915F8F07}"/>
              </c:ext>
            </c:extLst>
          </c:dPt>
          <c:dPt>
            <c:idx val="5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B-834C-42B8-93BC-24FD915F8F07}"/>
              </c:ext>
            </c:extLst>
          </c:dPt>
          <c:dPt>
            <c:idx val="6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C-834C-42B8-93BC-24FD915F8F07}"/>
              </c:ext>
            </c:extLst>
          </c:dPt>
          <c:dPt>
            <c:idx val="6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D-834C-42B8-93BC-24FD915F8F07}"/>
              </c:ext>
            </c:extLst>
          </c:dPt>
          <c:dPt>
            <c:idx val="6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E-834C-42B8-93BC-24FD915F8F07}"/>
              </c:ext>
            </c:extLst>
          </c:dPt>
          <c:dPt>
            <c:idx val="6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3F-834C-42B8-93BC-24FD915F8F07}"/>
              </c:ext>
            </c:extLst>
          </c:dPt>
          <c:dPt>
            <c:idx val="6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0-834C-42B8-93BC-24FD915F8F07}"/>
              </c:ext>
            </c:extLst>
          </c:dPt>
          <c:dPt>
            <c:idx val="6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1-834C-42B8-93BC-24FD915F8F07}"/>
              </c:ext>
            </c:extLst>
          </c:dPt>
          <c:dPt>
            <c:idx val="6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2-834C-42B8-93BC-24FD915F8F07}"/>
              </c:ext>
            </c:extLst>
          </c:dPt>
          <c:dPt>
            <c:idx val="6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3-834C-42B8-93BC-24FD915F8F07}"/>
              </c:ext>
            </c:extLst>
          </c:dPt>
          <c:dPt>
            <c:idx val="6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4-834C-42B8-93BC-24FD915F8F07}"/>
              </c:ext>
            </c:extLst>
          </c:dPt>
          <c:dPt>
            <c:idx val="6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5-834C-42B8-93BC-24FD915F8F07}"/>
              </c:ext>
            </c:extLst>
          </c:dPt>
          <c:dPt>
            <c:idx val="7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6-834C-42B8-93BC-24FD915F8F07}"/>
              </c:ext>
            </c:extLst>
          </c:dPt>
          <c:dPt>
            <c:idx val="7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7-834C-42B8-93BC-24FD915F8F07}"/>
              </c:ext>
            </c:extLst>
          </c:dPt>
          <c:dPt>
            <c:idx val="7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8-834C-42B8-93BC-24FD915F8F07}"/>
              </c:ext>
            </c:extLst>
          </c:dPt>
          <c:dPt>
            <c:idx val="7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9-834C-42B8-93BC-24FD915F8F07}"/>
              </c:ext>
            </c:extLst>
          </c:dPt>
          <c:dPt>
            <c:idx val="7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A-834C-42B8-93BC-24FD915F8F07}"/>
              </c:ext>
            </c:extLst>
          </c:dPt>
          <c:dPt>
            <c:idx val="7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B-834C-42B8-93BC-24FD915F8F07}"/>
              </c:ext>
            </c:extLst>
          </c:dPt>
          <c:dPt>
            <c:idx val="7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C-834C-42B8-93BC-24FD915F8F07}"/>
              </c:ext>
            </c:extLst>
          </c:dPt>
          <c:dPt>
            <c:idx val="7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D-834C-42B8-93BC-24FD915F8F07}"/>
              </c:ext>
            </c:extLst>
          </c:dPt>
          <c:dPt>
            <c:idx val="7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E-834C-42B8-93BC-24FD915F8F07}"/>
              </c:ext>
            </c:extLst>
          </c:dPt>
          <c:dPt>
            <c:idx val="7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4F-834C-42B8-93BC-24FD915F8F07}"/>
              </c:ext>
            </c:extLst>
          </c:dPt>
          <c:dPt>
            <c:idx val="8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0-834C-42B8-93BC-24FD915F8F07}"/>
              </c:ext>
            </c:extLst>
          </c:dPt>
          <c:dPt>
            <c:idx val="8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1-834C-42B8-93BC-24FD915F8F07}"/>
              </c:ext>
            </c:extLst>
          </c:dPt>
          <c:dPt>
            <c:idx val="8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2-834C-42B8-93BC-24FD915F8F07}"/>
              </c:ext>
            </c:extLst>
          </c:dPt>
          <c:dPt>
            <c:idx val="8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3-834C-42B8-93BC-24FD915F8F07}"/>
              </c:ext>
            </c:extLst>
          </c:dPt>
          <c:dPt>
            <c:idx val="8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4-834C-42B8-93BC-24FD915F8F07}"/>
              </c:ext>
            </c:extLst>
          </c:dPt>
          <c:dPt>
            <c:idx val="8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5-834C-42B8-93BC-24FD915F8F07}"/>
              </c:ext>
            </c:extLst>
          </c:dPt>
          <c:dPt>
            <c:idx val="8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6-834C-42B8-93BC-24FD915F8F07}"/>
              </c:ext>
            </c:extLst>
          </c:dPt>
          <c:dPt>
            <c:idx val="8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7-834C-42B8-93BC-24FD915F8F07}"/>
              </c:ext>
            </c:extLst>
          </c:dPt>
          <c:dPt>
            <c:idx val="8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8-834C-42B8-93BC-24FD915F8F07}"/>
              </c:ext>
            </c:extLst>
          </c:dPt>
          <c:dPt>
            <c:idx val="8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9-834C-42B8-93BC-24FD915F8F07}"/>
              </c:ext>
            </c:extLst>
          </c:dPt>
          <c:dPt>
            <c:idx val="9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A-834C-42B8-93BC-24FD915F8F07}"/>
              </c:ext>
            </c:extLst>
          </c:dPt>
          <c:dPt>
            <c:idx val="9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B-834C-42B8-93BC-24FD915F8F07}"/>
              </c:ext>
            </c:extLst>
          </c:dPt>
          <c:dPt>
            <c:idx val="9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C-834C-42B8-93BC-24FD915F8F07}"/>
              </c:ext>
            </c:extLst>
          </c:dPt>
          <c:dPt>
            <c:idx val="9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D-834C-42B8-93BC-24FD915F8F07}"/>
              </c:ext>
            </c:extLst>
          </c:dPt>
          <c:dPt>
            <c:idx val="9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E-834C-42B8-93BC-24FD915F8F07}"/>
              </c:ext>
            </c:extLst>
          </c:dPt>
          <c:dPt>
            <c:idx val="9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5F-834C-42B8-93BC-24FD915F8F07}"/>
              </c:ext>
            </c:extLst>
          </c:dPt>
          <c:dPt>
            <c:idx val="9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0-834C-42B8-93BC-24FD915F8F07}"/>
              </c:ext>
            </c:extLst>
          </c:dPt>
          <c:dPt>
            <c:idx val="9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1-834C-42B8-93BC-24FD915F8F07}"/>
              </c:ext>
            </c:extLst>
          </c:dPt>
          <c:dPt>
            <c:idx val="9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2-834C-42B8-93BC-24FD915F8F07}"/>
              </c:ext>
            </c:extLst>
          </c:dPt>
          <c:dPt>
            <c:idx val="9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3-834C-42B8-93BC-24FD915F8F07}"/>
              </c:ext>
            </c:extLst>
          </c:dPt>
          <c:dPt>
            <c:idx val="10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4-834C-42B8-93BC-24FD915F8F07}"/>
              </c:ext>
            </c:extLst>
          </c:dPt>
          <c:dPt>
            <c:idx val="10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5-834C-42B8-93BC-24FD915F8F07}"/>
              </c:ext>
            </c:extLst>
          </c:dPt>
          <c:dPt>
            <c:idx val="10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6-834C-42B8-93BC-24FD915F8F07}"/>
              </c:ext>
            </c:extLst>
          </c:dPt>
          <c:dPt>
            <c:idx val="10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7-834C-42B8-93BC-24FD915F8F07}"/>
              </c:ext>
            </c:extLst>
          </c:dPt>
          <c:dPt>
            <c:idx val="10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8-834C-42B8-93BC-24FD915F8F07}"/>
              </c:ext>
            </c:extLst>
          </c:dPt>
          <c:dPt>
            <c:idx val="10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9-834C-42B8-93BC-24FD915F8F07}"/>
              </c:ext>
            </c:extLst>
          </c:dPt>
          <c:dPt>
            <c:idx val="10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A-834C-42B8-93BC-24FD915F8F07}"/>
              </c:ext>
            </c:extLst>
          </c:dPt>
          <c:dPt>
            <c:idx val="10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B-834C-42B8-93BC-24FD915F8F07}"/>
              </c:ext>
            </c:extLst>
          </c:dPt>
          <c:dPt>
            <c:idx val="10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C-834C-42B8-93BC-24FD915F8F07}"/>
              </c:ext>
            </c:extLst>
          </c:dPt>
          <c:dPt>
            <c:idx val="10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D-834C-42B8-93BC-24FD915F8F07}"/>
              </c:ext>
            </c:extLst>
          </c:dPt>
          <c:dPt>
            <c:idx val="11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E-834C-42B8-93BC-24FD915F8F07}"/>
              </c:ext>
            </c:extLst>
          </c:dPt>
          <c:dPt>
            <c:idx val="11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6F-834C-42B8-93BC-24FD915F8F07}"/>
              </c:ext>
            </c:extLst>
          </c:dPt>
          <c:dPt>
            <c:idx val="11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0-834C-42B8-93BC-24FD915F8F07}"/>
              </c:ext>
            </c:extLst>
          </c:dPt>
          <c:dPt>
            <c:idx val="11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1-834C-42B8-93BC-24FD915F8F07}"/>
              </c:ext>
            </c:extLst>
          </c:dPt>
          <c:dPt>
            <c:idx val="11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2-834C-42B8-93BC-24FD915F8F07}"/>
              </c:ext>
            </c:extLst>
          </c:dPt>
          <c:dPt>
            <c:idx val="11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3-834C-42B8-93BC-24FD915F8F07}"/>
              </c:ext>
            </c:extLst>
          </c:dPt>
          <c:dPt>
            <c:idx val="11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4-834C-42B8-93BC-24FD915F8F07}"/>
              </c:ext>
            </c:extLst>
          </c:dPt>
          <c:dPt>
            <c:idx val="11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5-834C-42B8-93BC-24FD915F8F07}"/>
              </c:ext>
            </c:extLst>
          </c:dPt>
          <c:dPt>
            <c:idx val="11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6-834C-42B8-93BC-24FD915F8F07}"/>
              </c:ext>
            </c:extLst>
          </c:dPt>
          <c:dPt>
            <c:idx val="11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7-834C-42B8-93BC-24FD915F8F07}"/>
              </c:ext>
            </c:extLst>
          </c:dPt>
          <c:dPt>
            <c:idx val="12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8-834C-42B8-93BC-24FD915F8F07}"/>
              </c:ext>
            </c:extLst>
          </c:dPt>
          <c:dPt>
            <c:idx val="12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9-834C-42B8-93BC-24FD915F8F07}"/>
              </c:ext>
            </c:extLst>
          </c:dPt>
          <c:dPt>
            <c:idx val="12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A-834C-42B8-93BC-24FD915F8F07}"/>
              </c:ext>
            </c:extLst>
          </c:dPt>
          <c:dPt>
            <c:idx val="12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B-834C-42B8-93BC-24FD915F8F07}"/>
              </c:ext>
            </c:extLst>
          </c:dPt>
          <c:dPt>
            <c:idx val="12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C-834C-42B8-93BC-24FD915F8F07}"/>
              </c:ext>
            </c:extLst>
          </c:dPt>
          <c:dPt>
            <c:idx val="12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D-834C-42B8-93BC-24FD915F8F07}"/>
              </c:ext>
            </c:extLst>
          </c:dPt>
          <c:dPt>
            <c:idx val="12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E-834C-42B8-93BC-24FD915F8F07}"/>
              </c:ext>
            </c:extLst>
          </c:dPt>
          <c:dPt>
            <c:idx val="12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7F-834C-42B8-93BC-24FD915F8F07}"/>
              </c:ext>
            </c:extLst>
          </c:dPt>
          <c:dPt>
            <c:idx val="12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0-834C-42B8-93BC-24FD915F8F07}"/>
              </c:ext>
            </c:extLst>
          </c:dPt>
          <c:dPt>
            <c:idx val="12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1-834C-42B8-93BC-24FD915F8F07}"/>
              </c:ext>
            </c:extLst>
          </c:dPt>
          <c:dPt>
            <c:idx val="13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2-834C-42B8-93BC-24FD915F8F07}"/>
              </c:ext>
            </c:extLst>
          </c:dPt>
          <c:dPt>
            <c:idx val="13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3-834C-42B8-93BC-24FD915F8F07}"/>
              </c:ext>
            </c:extLst>
          </c:dPt>
          <c:dPt>
            <c:idx val="13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4-834C-42B8-93BC-24FD915F8F07}"/>
              </c:ext>
            </c:extLst>
          </c:dPt>
          <c:dPt>
            <c:idx val="13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5-834C-42B8-93BC-24FD915F8F07}"/>
              </c:ext>
            </c:extLst>
          </c:dPt>
          <c:dPt>
            <c:idx val="13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6-834C-42B8-93BC-24FD915F8F07}"/>
              </c:ext>
            </c:extLst>
          </c:dPt>
          <c:dPt>
            <c:idx val="13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7-834C-42B8-93BC-24FD915F8F07}"/>
              </c:ext>
            </c:extLst>
          </c:dPt>
          <c:dPt>
            <c:idx val="13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8-834C-42B8-93BC-24FD915F8F07}"/>
              </c:ext>
            </c:extLst>
          </c:dPt>
          <c:dPt>
            <c:idx val="13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9-834C-42B8-93BC-24FD915F8F07}"/>
              </c:ext>
            </c:extLst>
          </c:dPt>
          <c:dPt>
            <c:idx val="13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A-834C-42B8-93BC-24FD915F8F07}"/>
              </c:ext>
            </c:extLst>
          </c:dPt>
          <c:dPt>
            <c:idx val="13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B-834C-42B8-93BC-24FD915F8F07}"/>
              </c:ext>
            </c:extLst>
          </c:dPt>
          <c:dPt>
            <c:idx val="14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C-834C-42B8-93BC-24FD915F8F07}"/>
              </c:ext>
            </c:extLst>
          </c:dPt>
          <c:dPt>
            <c:idx val="14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D-834C-42B8-93BC-24FD915F8F07}"/>
              </c:ext>
            </c:extLst>
          </c:dPt>
          <c:dPt>
            <c:idx val="14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E-834C-42B8-93BC-24FD915F8F07}"/>
              </c:ext>
            </c:extLst>
          </c:dPt>
          <c:dPt>
            <c:idx val="14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8F-834C-42B8-93BC-24FD915F8F07}"/>
              </c:ext>
            </c:extLst>
          </c:dPt>
          <c:dPt>
            <c:idx val="14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0-834C-42B8-93BC-24FD915F8F07}"/>
              </c:ext>
            </c:extLst>
          </c:dPt>
          <c:dPt>
            <c:idx val="14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1-834C-42B8-93BC-24FD915F8F07}"/>
              </c:ext>
            </c:extLst>
          </c:dPt>
          <c:dPt>
            <c:idx val="14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2-834C-42B8-93BC-24FD915F8F07}"/>
              </c:ext>
            </c:extLst>
          </c:dPt>
          <c:dPt>
            <c:idx val="14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3-834C-42B8-93BC-24FD915F8F07}"/>
              </c:ext>
            </c:extLst>
          </c:dPt>
          <c:dPt>
            <c:idx val="14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4-834C-42B8-93BC-24FD915F8F07}"/>
              </c:ext>
            </c:extLst>
          </c:dPt>
          <c:dPt>
            <c:idx val="14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5-834C-42B8-93BC-24FD915F8F07}"/>
              </c:ext>
            </c:extLst>
          </c:dPt>
          <c:dPt>
            <c:idx val="15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6-834C-42B8-93BC-24FD915F8F07}"/>
              </c:ext>
            </c:extLst>
          </c:dPt>
          <c:dPt>
            <c:idx val="15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7-834C-42B8-93BC-24FD915F8F07}"/>
              </c:ext>
            </c:extLst>
          </c:dPt>
          <c:dPt>
            <c:idx val="15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8-834C-42B8-93BC-24FD915F8F07}"/>
              </c:ext>
            </c:extLst>
          </c:dPt>
          <c:dPt>
            <c:idx val="15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9-834C-42B8-93BC-24FD915F8F07}"/>
              </c:ext>
            </c:extLst>
          </c:dPt>
          <c:dPt>
            <c:idx val="15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A-834C-42B8-93BC-24FD915F8F07}"/>
              </c:ext>
            </c:extLst>
          </c:dPt>
          <c:dPt>
            <c:idx val="15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B-834C-42B8-93BC-24FD915F8F07}"/>
              </c:ext>
            </c:extLst>
          </c:dPt>
          <c:dPt>
            <c:idx val="15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C-834C-42B8-93BC-24FD915F8F07}"/>
              </c:ext>
            </c:extLst>
          </c:dPt>
          <c:dPt>
            <c:idx val="15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D-834C-42B8-93BC-24FD915F8F07}"/>
              </c:ext>
            </c:extLst>
          </c:dPt>
          <c:dPt>
            <c:idx val="15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E-834C-42B8-93BC-24FD915F8F07}"/>
              </c:ext>
            </c:extLst>
          </c:dPt>
          <c:dPt>
            <c:idx val="15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9F-834C-42B8-93BC-24FD915F8F07}"/>
              </c:ext>
            </c:extLst>
          </c:dPt>
          <c:dPt>
            <c:idx val="16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0-834C-42B8-93BC-24FD915F8F07}"/>
              </c:ext>
            </c:extLst>
          </c:dPt>
          <c:dPt>
            <c:idx val="16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1-834C-42B8-93BC-24FD915F8F07}"/>
              </c:ext>
            </c:extLst>
          </c:dPt>
          <c:dPt>
            <c:idx val="16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2-834C-42B8-93BC-24FD915F8F07}"/>
              </c:ext>
            </c:extLst>
          </c:dPt>
          <c:dPt>
            <c:idx val="16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3-834C-42B8-93BC-24FD915F8F07}"/>
              </c:ext>
            </c:extLst>
          </c:dPt>
          <c:dPt>
            <c:idx val="16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4-834C-42B8-93BC-24FD915F8F07}"/>
              </c:ext>
            </c:extLst>
          </c:dPt>
          <c:dPt>
            <c:idx val="16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5-834C-42B8-93BC-24FD915F8F07}"/>
              </c:ext>
            </c:extLst>
          </c:dPt>
          <c:dPt>
            <c:idx val="16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6-834C-42B8-93BC-24FD915F8F07}"/>
              </c:ext>
            </c:extLst>
          </c:dPt>
          <c:dPt>
            <c:idx val="16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7-834C-42B8-93BC-24FD915F8F07}"/>
              </c:ext>
            </c:extLst>
          </c:dPt>
          <c:dPt>
            <c:idx val="16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8-834C-42B8-93BC-24FD915F8F07}"/>
              </c:ext>
            </c:extLst>
          </c:dPt>
          <c:dPt>
            <c:idx val="16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9-834C-42B8-93BC-24FD915F8F07}"/>
              </c:ext>
            </c:extLst>
          </c:dPt>
          <c:dPt>
            <c:idx val="17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A-834C-42B8-93BC-24FD915F8F07}"/>
              </c:ext>
            </c:extLst>
          </c:dPt>
          <c:dPt>
            <c:idx val="17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B-834C-42B8-93BC-24FD915F8F07}"/>
              </c:ext>
            </c:extLst>
          </c:dPt>
          <c:dPt>
            <c:idx val="17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C-834C-42B8-93BC-24FD915F8F07}"/>
              </c:ext>
            </c:extLst>
          </c:dPt>
          <c:dPt>
            <c:idx val="17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D-834C-42B8-93BC-24FD915F8F07}"/>
              </c:ext>
            </c:extLst>
          </c:dPt>
          <c:dPt>
            <c:idx val="17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E-834C-42B8-93BC-24FD915F8F07}"/>
              </c:ext>
            </c:extLst>
          </c:dPt>
          <c:dPt>
            <c:idx val="17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AF-834C-42B8-93BC-24FD915F8F07}"/>
              </c:ext>
            </c:extLst>
          </c:dPt>
          <c:dPt>
            <c:idx val="17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0-834C-42B8-93BC-24FD915F8F07}"/>
              </c:ext>
            </c:extLst>
          </c:dPt>
          <c:dPt>
            <c:idx val="17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1-834C-42B8-93BC-24FD915F8F07}"/>
              </c:ext>
            </c:extLst>
          </c:dPt>
          <c:dPt>
            <c:idx val="17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2-834C-42B8-93BC-24FD915F8F07}"/>
              </c:ext>
            </c:extLst>
          </c:dPt>
          <c:dPt>
            <c:idx val="17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3-834C-42B8-93BC-24FD915F8F07}"/>
              </c:ext>
            </c:extLst>
          </c:dPt>
          <c:dPt>
            <c:idx val="18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4-834C-42B8-93BC-24FD915F8F07}"/>
              </c:ext>
            </c:extLst>
          </c:dPt>
          <c:dPt>
            <c:idx val="18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5-834C-42B8-93BC-24FD915F8F07}"/>
              </c:ext>
            </c:extLst>
          </c:dPt>
          <c:dPt>
            <c:idx val="18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6-834C-42B8-93BC-24FD915F8F07}"/>
              </c:ext>
            </c:extLst>
          </c:dPt>
          <c:dPt>
            <c:idx val="18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7-834C-42B8-93BC-24FD915F8F07}"/>
              </c:ext>
            </c:extLst>
          </c:dPt>
          <c:dPt>
            <c:idx val="18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8-834C-42B8-93BC-24FD915F8F07}"/>
              </c:ext>
            </c:extLst>
          </c:dPt>
          <c:dPt>
            <c:idx val="18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9-834C-42B8-93BC-24FD915F8F07}"/>
              </c:ext>
            </c:extLst>
          </c:dPt>
          <c:dPt>
            <c:idx val="18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A-834C-42B8-93BC-24FD915F8F07}"/>
              </c:ext>
            </c:extLst>
          </c:dPt>
          <c:dPt>
            <c:idx val="18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B-834C-42B8-93BC-24FD915F8F07}"/>
              </c:ext>
            </c:extLst>
          </c:dPt>
          <c:dPt>
            <c:idx val="18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C-834C-42B8-93BC-24FD915F8F07}"/>
              </c:ext>
            </c:extLst>
          </c:dPt>
          <c:dPt>
            <c:idx val="18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D-834C-42B8-93BC-24FD915F8F07}"/>
              </c:ext>
            </c:extLst>
          </c:dPt>
          <c:dPt>
            <c:idx val="19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E-834C-42B8-93BC-24FD915F8F07}"/>
              </c:ext>
            </c:extLst>
          </c:dPt>
          <c:dPt>
            <c:idx val="19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BF-834C-42B8-93BC-24FD915F8F07}"/>
              </c:ext>
            </c:extLst>
          </c:dPt>
          <c:dPt>
            <c:idx val="19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0-834C-42B8-93BC-24FD915F8F07}"/>
              </c:ext>
            </c:extLst>
          </c:dPt>
          <c:dPt>
            <c:idx val="19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1-834C-42B8-93BC-24FD915F8F07}"/>
              </c:ext>
            </c:extLst>
          </c:dPt>
          <c:dPt>
            <c:idx val="19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2-834C-42B8-93BC-24FD915F8F07}"/>
              </c:ext>
            </c:extLst>
          </c:dPt>
          <c:dPt>
            <c:idx val="19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3-834C-42B8-93BC-24FD915F8F07}"/>
              </c:ext>
            </c:extLst>
          </c:dPt>
          <c:dPt>
            <c:idx val="19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4-834C-42B8-93BC-24FD915F8F07}"/>
              </c:ext>
            </c:extLst>
          </c:dPt>
          <c:dPt>
            <c:idx val="19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5-834C-42B8-93BC-24FD915F8F07}"/>
              </c:ext>
            </c:extLst>
          </c:dPt>
          <c:dPt>
            <c:idx val="19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6-834C-42B8-93BC-24FD915F8F07}"/>
              </c:ext>
            </c:extLst>
          </c:dPt>
          <c:dPt>
            <c:idx val="19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7-834C-42B8-93BC-24FD915F8F07}"/>
              </c:ext>
            </c:extLst>
          </c:dPt>
          <c:dPt>
            <c:idx val="20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8-834C-42B8-93BC-24FD915F8F07}"/>
              </c:ext>
            </c:extLst>
          </c:dPt>
          <c:dPt>
            <c:idx val="20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9-834C-42B8-93BC-24FD915F8F07}"/>
              </c:ext>
            </c:extLst>
          </c:dPt>
          <c:dPt>
            <c:idx val="20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A-834C-42B8-93BC-24FD915F8F07}"/>
              </c:ext>
            </c:extLst>
          </c:dPt>
          <c:dPt>
            <c:idx val="20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B-834C-42B8-93BC-24FD915F8F07}"/>
              </c:ext>
            </c:extLst>
          </c:dPt>
          <c:dPt>
            <c:idx val="20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C-834C-42B8-93BC-24FD915F8F07}"/>
              </c:ext>
            </c:extLst>
          </c:dPt>
          <c:dPt>
            <c:idx val="20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D-834C-42B8-93BC-24FD915F8F07}"/>
              </c:ext>
            </c:extLst>
          </c:dPt>
          <c:dPt>
            <c:idx val="20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E-834C-42B8-93BC-24FD915F8F07}"/>
              </c:ext>
            </c:extLst>
          </c:dPt>
          <c:dPt>
            <c:idx val="20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CF-834C-42B8-93BC-24FD915F8F07}"/>
              </c:ext>
            </c:extLst>
          </c:dPt>
          <c:dPt>
            <c:idx val="20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0-834C-42B8-93BC-24FD915F8F07}"/>
              </c:ext>
            </c:extLst>
          </c:dPt>
          <c:dPt>
            <c:idx val="20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1-834C-42B8-93BC-24FD915F8F07}"/>
              </c:ext>
            </c:extLst>
          </c:dPt>
          <c:dPt>
            <c:idx val="21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2-834C-42B8-93BC-24FD915F8F07}"/>
              </c:ext>
            </c:extLst>
          </c:dPt>
          <c:dPt>
            <c:idx val="21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3-834C-42B8-93BC-24FD915F8F07}"/>
              </c:ext>
            </c:extLst>
          </c:dPt>
          <c:dPt>
            <c:idx val="21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4-834C-42B8-93BC-24FD915F8F07}"/>
              </c:ext>
            </c:extLst>
          </c:dPt>
          <c:dPt>
            <c:idx val="21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5-834C-42B8-93BC-24FD915F8F07}"/>
              </c:ext>
            </c:extLst>
          </c:dPt>
          <c:dPt>
            <c:idx val="21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6-834C-42B8-93BC-24FD915F8F07}"/>
              </c:ext>
            </c:extLst>
          </c:dPt>
          <c:dPt>
            <c:idx val="21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7-834C-42B8-93BC-24FD915F8F07}"/>
              </c:ext>
            </c:extLst>
          </c:dPt>
          <c:dPt>
            <c:idx val="21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8-834C-42B8-93BC-24FD915F8F07}"/>
              </c:ext>
            </c:extLst>
          </c:dPt>
          <c:dPt>
            <c:idx val="21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9-834C-42B8-93BC-24FD915F8F07}"/>
              </c:ext>
            </c:extLst>
          </c:dPt>
          <c:dPt>
            <c:idx val="21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A-834C-42B8-93BC-24FD915F8F07}"/>
              </c:ext>
            </c:extLst>
          </c:dPt>
          <c:dPt>
            <c:idx val="21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B-834C-42B8-93BC-24FD915F8F07}"/>
              </c:ext>
            </c:extLst>
          </c:dPt>
          <c:dPt>
            <c:idx val="22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C-834C-42B8-93BC-24FD915F8F07}"/>
              </c:ext>
            </c:extLst>
          </c:dPt>
          <c:dPt>
            <c:idx val="22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D-834C-42B8-93BC-24FD915F8F07}"/>
              </c:ext>
            </c:extLst>
          </c:dPt>
          <c:dPt>
            <c:idx val="22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E-834C-42B8-93BC-24FD915F8F07}"/>
              </c:ext>
            </c:extLst>
          </c:dPt>
          <c:dPt>
            <c:idx val="22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DF-834C-42B8-93BC-24FD915F8F07}"/>
              </c:ext>
            </c:extLst>
          </c:dPt>
          <c:dPt>
            <c:idx val="22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0-834C-42B8-93BC-24FD915F8F07}"/>
              </c:ext>
            </c:extLst>
          </c:dPt>
          <c:dPt>
            <c:idx val="22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1-834C-42B8-93BC-24FD915F8F07}"/>
              </c:ext>
            </c:extLst>
          </c:dPt>
          <c:dPt>
            <c:idx val="22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2-834C-42B8-93BC-24FD915F8F07}"/>
              </c:ext>
            </c:extLst>
          </c:dPt>
          <c:dPt>
            <c:idx val="22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3-834C-42B8-93BC-24FD915F8F07}"/>
              </c:ext>
            </c:extLst>
          </c:dPt>
          <c:dPt>
            <c:idx val="22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4-834C-42B8-93BC-24FD915F8F07}"/>
              </c:ext>
            </c:extLst>
          </c:dPt>
          <c:dPt>
            <c:idx val="22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5-834C-42B8-93BC-24FD915F8F07}"/>
              </c:ext>
            </c:extLst>
          </c:dPt>
          <c:dPt>
            <c:idx val="23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6-834C-42B8-93BC-24FD915F8F07}"/>
              </c:ext>
            </c:extLst>
          </c:dPt>
          <c:dPt>
            <c:idx val="23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7-834C-42B8-93BC-24FD915F8F07}"/>
              </c:ext>
            </c:extLst>
          </c:dPt>
          <c:dPt>
            <c:idx val="23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8-834C-42B8-93BC-24FD915F8F07}"/>
              </c:ext>
            </c:extLst>
          </c:dPt>
          <c:dPt>
            <c:idx val="23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9-834C-42B8-93BC-24FD915F8F07}"/>
              </c:ext>
            </c:extLst>
          </c:dPt>
          <c:dPt>
            <c:idx val="23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A-834C-42B8-93BC-24FD915F8F07}"/>
              </c:ext>
            </c:extLst>
          </c:dPt>
          <c:dPt>
            <c:idx val="23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B-834C-42B8-93BC-24FD915F8F07}"/>
              </c:ext>
            </c:extLst>
          </c:dPt>
          <c:dPt>
            <c:idx val="23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C-834C-42B8-93BC-24FD915F8F07}"/>
              </c:ext>
            </c:extLst>
          </c:dPt>
          <c:dPt>
            <c:idx val="23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D-834C-42B8-93BC-24FD915F8F07}"/>
              </c:ext>
            </c:extLst>
          </c:dPt>
          <c:dPt>
            <c:idx val="23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E-834C-42B8-93BC-24FD915F8F07}"/>
              </c:ext>
            </c:extLst>
          </c:dPt>
          <c:dPt>
            <c:idx val="23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EF-834C-42B8-93BC-24FD915F8F07}"/>
              </c:ext>
            </c:extLst>
          </c:dPt>
          <c:dPt>
            <c:idx val="24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0-834C-42B8-93BC-24FD915F8F07}"/>
              </c:ext>
            </c:extLst>
          </c:dPt>
          <c:dPt>
            <c:idx val="24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1-834C-42B8-93BC-24FD915F8F07}"/>
              </c:ext>
            </c:extLst>
          </c:dPt>
          <c:dPt>
            <c:idx val="24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2-834C-42B8-93BC-24FD915F8F07}"/>
              </c:ext>
            </c:extLst>
          </c:dPt>
          <c:dPt>
            <c:idx val="24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3-834C-42B8-93BC-24FD915F8F07}"/>
              </c:ext>
            </c:extLst>
          </c:dPt>
          <c:dPt>
            <c:idx val="24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4-834C-42B8-93BC-24FD915F8F07}"/>
              </c:ext>
            </c:extLst>
          </c:dPt>
          <c:dPt>
            <c:idx val="24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5-834C-42B8-93BC-24FD915F8F07}"/>
              </c:ext>
            </c:extLst>
          </c:dPt>
          <c:dPt>
            <c:idx val="24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6-834C-42B8-93BC-24FD915F8F07}"/>
              </c:ext>
            </c:extLst>
          </c:dPt>
          <c:dPt>
            <c:idx val="24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7-834C-42B8-93BC-24FD915F8F07}"/>
              </c:ext>
            </c:extLst>
          </c:dPt>
          <c:dPt>
            <c:idx val="24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8-834C-42B8-93BC-24FD915F8F07}"/>
              </c:ext>
            </c:extLst>
          </c:dPt>
          <c:dPt>
            <c:idx val="24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9-834C-42B8-93BC-24FD915F8F07}"/>
              </c:ext>
            </c:extLst>
          </c:dPt>
          <c:dPt>
            <c:idx val="25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A-834C-42B8-93BC-24FD915F8F07}"/>
              </c:ext>
            </c:extLst>
          </c:dPt>
          <c:dPt>
            <c:idx val="25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B-834C-42B8-93BC-24FD915F8F07}"/>
              </c:ext>
            </c:extLst>
          </c:dPt>
          <c:dPt>
            <c:idx val="25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C-834C-42B8-93BC-24FD915F8F07}"/>
              </c:ext>
            </c:extLst>
          </c:dPt>
          <c:dPt>
            <c:idx val="25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D-834C-42B8-93BC-24FD915F8F07}"/>
              </c:ext>
            </c:extLst>
          </c:dPt>
          <c:dPt>
            <c:idx val="25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E-834C-42B8-93BC-24FD915F8F07}"/>
              </c:ext>
            </c:extLst>
          </c:dPt>
          <c:dPt>
            <c:idx val="25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0FF-834C-42B8-93BC-24FD915F8F07}"/>
              </c:ext>
            </c:extLst>
          </c:dPt>
          <c:dPt>
            <c:idx val="25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0-834C-42B8-93BC-24FD915F8F07}"/>
              </c:ext>
            </c:extLst>
          </c:dPt>
          <c:dPt>
            <c:idx val="25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1-834C-42B8-93BC-24FD915F8F07}"/>
              </c:ext>
            </c:extLst>
          </c:dPt>
          <c:dPt>
            <c:idx val="25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2-834C-42B8-93BC-24FD915F8F07}"/>
              </c:ext>
            </c:extLst>
          </c:dPt>
          <c:dPt>
            <c:idx val="25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3-834C-42B8-93BC-24FD915F8F07}"/>
              </c:ext>
            </c:extLst>
          </c:dPt>
          <c:dPt>
            <c:idx val="26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4-834C-42B8-93BC-24FD915F8F07}"/>
              </c:ext>
            </c:extLst>
          </c:dPt>
          <c:dPt>
            <c:idx val="26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5-834C-42B8-93BC-24FD915F8F07}"/>
              </c:ext>
            </c:extLst>
          </c:dPt>
          <c:dPt>
            <c:idx val="26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6-834C-42B8-93BC-24FD915F8F07}"/>
              </c:ext>
            </c:extLst>
          </c:dPt>
          <c:dPt>
            <c:idx val="26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7-834C-42B8-93BC-24FD915F8F07}"/>
              </c:ext>
            </c:extLst>
          </c:dPt>
          <c:dPt>
            <c:idx val="26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8-834C-42B8-93BC-24FD915F8F07}"/>
              </c:ext>
            </c:extLst>
          </c:dPt>
          <c:dPt>
            <c:idx val="26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9-834C-42B8-93BC-24FD915F8F07}"/>
              </c:ext>
            </c:extLst>
          </c:dPt>
          <c:dPt>
            <c:idx val="26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A-834C-42B8-93BC-24FD915F8F07}"/>
              </c:ext>
            </c:extLst>
          </c:dPt>
          <c:dPt>
            <c:idx val="26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B-834C-42B8-93BC-24FD915F8F07}"/>
              </c:ext>
            </c:extLst>
          </c:dPt>
          <c:dPt>
            <c:idx val="26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C-834C-42B8-93BC-24FD915F8F07}"/>
              </c:ext>
            </c:extLst>
          </c:dPt>
          <c:dPt>
            <c:idx val="26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D-834C-42B8-93BC-24FD915F8F07}"/>
              </c:ext>
            </c:extLst>
          </c:dPt>
          <c:dPt>
            <c:idx val="27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E-834C-42B8-93BC-24FD915F8F07}"/>
              </c:ext>
            </c:extLst>
          </c:dPt>
          <c:dPt>
            <c:idx val="27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0F-834C-42B8-93BC-24FD915F8F07}"/>
              </c:ext>
            </c:extLst>
          </c:dPt>
          <c:dPt>
            <c:idx val="27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0-834C-42B8-93BC-24FD915F8F07}"/>
              </c:ext>
            </c:extLst>
          </c:dPt>
          <c:dPt>
            <c:idx val="27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1-834C-42B8-93BC-24FD915F8F07}"/>
              </c:ext>
            </c:extLst>
          </c:dPt>
          <c:dPt>
            <c:idx val="27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2-834C-42B8-93BC-24FD915F8F07}"/>
              </c:ext>
            </c:extLst>
          </c:dPt>
          <c:dPt>
            <c:idx val="27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3-834C-42B8-93BC-24FD915F8F07}"/>
              </c:ext>
            </c:extLst>
          </c:dPt>
          <c:dPt>
            <c:idx val="27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4-834C-42B8-93BC-24FD915F8F07}"/>
              </c:ext>
            </c:extLst>
          </c:dPt>
          <c:dPt>
            <c:idx val="27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5-834C-42B8-93BC-24FD915F8F07}"/>
              </c:ext>
            </c:extLst>
          </c:dPt>
          <c:dPt>
            <c:idx val="27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6-834C-42B8-93BC-24FD915F8F07}"/>
              </c:ext>
            </c:extLst>
          </c:dPt>
          <c:dPt>
            <c:idx val="27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7-834C-42B8-93BC-24FD915F8F07}"/>
              </c:ext>
            </c:extLst>
          </c:dPt>
          <c:dPt>
            <c:idx val="28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8-834C-42B8-93BC-24FD915F8F07}"/>
              </c:ext>
            </c:extLst>
          </c:dPt>
          <c:dPt>
            <c:idx val="28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9-834C-42B8-93BC-24FD915F8F07}"/>
              </c:ext>
            </c:extLst>
          </c:dPt>
          <c:dPt>
            <c:idx val="28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A-834C-42B8-93BC-24FD915F8F07}"/>
              </c:ext>
            </c:extLst>
          </c:dPt>
          <c:dPt>
            <c:idx val="28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B-834C-42B8-93BC-24FD915F8F07}"/>
              </c:ext>
            </c:extLst>
          </c:dPt>
          <c:dPt>
            <c:idx val="28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C-834C-42B8-93BC-24FD915F8F07}"/>
              </c:ext>
            </c:extLst>
          </c:dPt>
          <c:dPt>
            <c:idx val="28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D-834C-42B8-93BC-24FD915F8F07}"/>
              </c:ext>
            </c:extLst>
          </c:dPt>
          <c:dPt>
            <c:idx val="28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E-834C-42B8-93BC-24FD915F8F07}"/>
              </c:ext>
            </c:extLst>
          </c:dPt>
          <c:dPt>
            <c:idx val="28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1F-834C-42B8-93BC-24FD915F8F07}"/>
              </c:ext>
            </c:extLst>
          </c:dPt>
          <c:dPt>
            <c:idx val="28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0-834C-42B8-93BC-24FD915F8F07}"/>
              </c:ext>
            </c:extLst>
          </c:dPt>
          <c:dPt>
            <c:idx val="28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1-834C-42B8-93BC-24FD915F8F07}"/>
              </c:ext>
            </c:extLst>
          </c:dPt>
          <c:dPt>
            <c:idx val="29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2-834C-42B8-93BC-24FD915F8F07}"/>
              </c:ext>
            </c:extLst>
          </c:dPt>
          <c:dPt>
            <c:idx val="29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3-834C-42B8-93BC-24FD915F8F07}"/>
              </c:ext>
            </c:extLst>
          </c:dPt>
          <c:dPt>
            <c:idx val="29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4-834C-42B8-93BC-24FD915F8F07}"/>
              </c:ext>
            </c:extLst>
          </c:dPt>
          <c:dPt>
            <c:idx val="29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5-834C-42B8-93BC-24FD915F8F07}"/>
              </c:ext>
            </c:extLst>
          </c:dPt>
          <c:dPt>
            <c:idx val="29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6-834C-42B8-93BC-24FD915F8F07}"/>
              </c:ext>
            </c:extLst>
          </c:dPt>
          <c:dPt>
            <c:idx val="29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7-834C-42B8-93BC-24FD915F8F07}"/>
              </c:ext>
            </c:extLst>
          </c:dPt>
          <c:dPt>
            <c:idx val="29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8-834C-42B8-93BC-24FD915F8F07}"/>
              </c:ext>
            </c:extLst>
          </c:dPt>
          <c:dPt>
            <c:idx val="29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9-834C-42B8-93BC-24FD915F8F07}"/>
              </c:ext>
            </c:extLst>
          </c:dPt>
          <c:dPt>
            <c:idx val="29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A-834C-42B8-93BC-24FD915F8F07}"/>
              </c:ext>
            </c:extLst>
          </c:dPt>
          <c:dPt>
            <c:idx val="29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B-834C-42B8-93BC-24FD915F8F07}"/>
              </c:ext>
            </c:extLst>
          </c:dPt>
          <c:dPt>
            <c:idx val="30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C-834C-42B8-93BC-24FD915F8F07}"/>
              </c:ext>
            </c:extLst>
          </c:dPt>
          <c:dPt>
            <c:idx val="30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D-834C-42B8-93BC-24FD915F8F07}"/>
              </c:ext>
            </c:extLst>
          </c:dPt>
          <c:dPt>
            <c:idx val="30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E-834C-42B8-93BC-24FD915F8F07}"/>
              </c:ext>
            </c:extLst>
          </c:dPt>
          <c:dPt>
            <c:idx val="30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2F-834C-42B8-93BC-24FD915F8F07}"/>
              </c:ext>
            </c:extLst>
          </c:dPt>
          <c:dPt>
            <c:idx val="30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0-834C-42B8-93BC-24FD915F8F07}"/>
              </c:ext>
            </c:extLst>
          </c:dPt>
          <c:dPt>
            <c:idx val="30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1-834C-42B8-93BC-24FD915F8F07}"/>
              </c:ext>
            </c:extLst>
          </c:dPt>
          <c:dPt>
            <c:idx val="30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2-834C-42B8-93BC-24FD915F8F07}"/>
              </c:ext>
            </c:extLst>
          </c:dPt>
          <c:dPt>
            <c:idx val="30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3-834C-42B8-93BC-24FD915F8F07}"/>
              </c:ext>
            </c:extLst>
          </c:dPt>
          <c:dPt>
            <c:idx val="30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4-834C-42B8-93BC-24FD915F8F07}"/>
              </c:ext>
            </c:extLst>
          </c:dPt>
          <c:dPt>
            <c:idx val="30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5-834C-42B8-93BC-24FD915F8F07}"/>
              </c:ext>
            </c:extLst>
          </c:dPt>
          <c:dPt>
            <c:idx val="31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6-834C-42B8-93BC-24FD915F8F07}"/>
              </c:ext>
            </c:extLst>
          </c:dPt>
          <c:dPt>
            <c:idx val="31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7-834C-42B8-93BC-24FD915F8F07}"/>
              </c:ext>
            </c:extLst>
          </c:dPt>
          <c:dPt>
            <c:idx val="31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8-834C-42B8-93BC-24FD915F8F07}"/>
              </c:ext>
            </c:extLst>
          </c:dPt>
          <c:dPt>
            <c:idx val="31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9-834C-42B8-93BC-24FD915F8F07}"/>
              </c:ext>
            </c:extLst>
          </c:dPt>
          <c:dPt>
            <c:idx val="31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A-834C-42B8-93BC-24FD915F8F07}"/>
              </c:ext>
            </c:extLst>
          </c:dPt>
          <c:dPt>
            <c:idx val="31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B-834C-42B8-93BC-24FD915F8F07}"/>
              </c:ext>
            </c:extLst>
          </c:dPt>
          <c:dPt>
            <c:idx val="31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C-834C-42B8-93BC-24FD915F8F07}"/>
              </c:ext>
            </c:extLst>
          </c:dPt>
          <c:dPt>
            <c:idx val="31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D-834C-42B8-93BC-24FD915F8F07}"/>
              </c:ext>
            </c:extLst>
          </c:dPt>
          <c:dPt>
            <c:idx val="31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E-834C-42B8-93BC-24FD915F8F07}"/>
              </c:ext>
            </c:extLst>
          </c:dPt>
          <c:dPt>
            <c:idx val="31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3F-834C-42B8-93BC-24FD915F8F07}"/>
              </c:ext>
            </c:extLst>
          </c:dPt>
          <c:dPt>
            <c:idx val="32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0-834C-42B8-93BC-24FD915F8F07}"/>
              </c:ext>
            </c:extLst>
          </c:dPt>
          <c:dPt>
            <c:idx val="32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1-834C-42B8-93BC-24FD915F8F07}"/>
              </c:ext>
            </c:extLst>
          </c:dPt>
          <c:dPt>
            <c:idx val="32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2-834C-42B8-93BC-24FD915F8F07}"/>
              </c:ext>
            </c:extLst>
          </c:dPt>
          <c:dPt>
            <c:idx val="32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3-834C-42B8-93BC-24FD915F8F07}"/>
              </c:ext>
            </c:extLst>
          </c:dPt>
          <c:dPt>
            <c:idx val="32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4-834C-42B8-93BC-24FD915F8F07}"/>
              </c:ext>
            </c:extLst>
          </c:dPt>
          <c:dPt>
            <c:idx val="32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5-834C-42B8-93BC-24FD915F8F07}"/>
              </c:ext>
            </c:extLst>
          </c:dPt>
          <c:dPt>
            <c:idx val="32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6-834C-42B8-93BC-24FD915F8F07}"/>
              </c:ext>
            </c:extLst>
          </c:dPt>
          <c:dPt>
            <c:idx val="32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7-834C-42B8-93BC-24FD915F8F07}"/>
              </c:ext>
            </c:extLst>
          </c:dPt>
          <c:dPt>
            <c:idx val="32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8-834C-42B8-93BC-24FD915F8F07}"/>
              </c:ext>
            </c:extLst>
          </c:dPt>
          <c:dPt>
            <c:idx val="32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9-834C-42B8-93BC-24FD915F8F07}"/>
              </c:ext>
            </c:extLst>
          </c:dPt>
          <c:dPt>
            <c:idx val="33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A-834C-42B8-93BC-24FD915F8F07}"/>
              </c:ext>
            </c:extLst>
          </c:dPt>
          <c:dPt>
            <c:idx val="33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B-834C-42B8-93BC-24FD915F8F07}"/>
              </c:ext>
            </c:extLst>
          </c:dPt>
          <c:dPt>
            <c:idx val="33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C-834C-42B8-93BC-24FD915F8F07}"/>
              </c:ext>
            </c:extLst>
          </c:dPt>
          <c:dPt>
            <c:idx val="33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D-834C-42B8-93BC-24FD915F8F07}"/>
              </c:ext>
            </c:extLst>
          </c:dPt>
          <c:dPt>
            <c:idx val="33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E-834C-42B8-93BC-24FD915F8F07}"/>
              </c:ext>
            </c:extLst>
          </c:dPt>
          <c:dPt>
            <c:idx val="33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4F-834C-42B8-93BC-24FD915F8F07}"/>
              </c:ext>
            </c:extLst>
          </c:dPt>
          <c:dPt>
            <c:idx val="33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0-834C-42B8-93BC-24FD915F8F07}"/>
              </c:ext>
            </c:extLst>
          </c:dPt>
          <c:dPt>
            <c:idx val="33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1-834C-42B8-93BC-24FD915F8F07}"/>
              </c:ext>
            </c:extLst>
          </c:dPt>
          <c:dPt>
            <c:idx val="33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2-834C-42B8-93BC-24FD915F8F07}"/>
              </c:ext>
            </c:extLst>
          </c:dPt>
          <c:dPt>
            <c:idx val="33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3-834C-42B8-93BC-24FD915F8F07}"/>
              </c:ext>
            </c:extLst>
          </c:dPt>
          <c:dPt>
            <c:idx val="34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4-834C-42B8-93BC-24FD915F8F07}"/>
              </c:ext>
            </c:extLst>
          </c:dPt>
          <c:dPt>
            <c:idx val="34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5-834C-42B8-93BC-24FD915F8F07}"/>
              </c:ext>
            </c:extLst>
          </c:dPt>
          <c:dPt>
            <c:idx val="34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6-834C-42B8-93BC-24FD915F8F07}"/>
              </c:ext>
            </c:extLst>
          </c:dPt>
          <c:dPt>
            <c:idx val="34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7-834C-42B8-93BC-24FD915F8F07}"/>
              </c:ext>
            </c:extLst>
          </c:dPt>
          <c:dPt>
            <c:idx val="34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8-834C-42B8-93BC-24FD915F8F07}"/>
              </c:ext>
            </c:extLst>
          </c:dPt>
          <c:dPt>
            <c:idx val="34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9-834C-42B8-93BC-24FD915F8F07}"/>
              </c:ext>
            </c:extLst>
          </c:dPt>
          <c:dPt>
            <c:idx val="34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A-834C-42B8-93BC-24FD915F8F07}"/>
              </c:ext>
            </c:extLst>
          </c:dPt>
          <c:dPt>
            <c:idx val="34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B-834C-42B8-93BC-24FD915F8F07}"/>
              </c:ext>
            </c:extLst>
          </c:dPt>
          <c:dPt>
            <c:idx val="34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C-834C-42B8-93BC-24FD915F8F07}"/>
              </c:ext>
            </c:extLst>
          </c:dPt>
          <c:dPt>
            <c:idx val="34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D-834C-42B8-93BC-24FD915F8F07}"/>
              </c:ext>
            </c:extLst>
          </c:dPt>
          <c:dPt>
            <c:idx val="35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E-834C-42B8-93BC-24FD915F8F07}"/>
              </c:ext>
            </c:extLst>
          </c:dPt>
          <c:dPt>
            <c:idx val="35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5F-834C-42B8-93BC-24FD915F8F07}"/>
              </c:ext>
            </c:extLst>
          </c:dPt>
          <c:dPt>
            <c:idx val="35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0-834C-42B8-93BC-24FD915F8F07}"/>
              </c:ext>
            </c:extLst>
          </c:dPt>
          <c:dPt>
            <c:idx val="35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1-834C-42B8-93BC-24FD915F8F07}"/>
              </c:ext>
            </c:extLst>
          </c:dPt>
          <c:dPt>
            <c:idx val="35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2-834C-42B8-93BC-24FD915F8F07}"/>
              </c:ext>
            </c:extLst>
          </c:dPt>
          <c:dPt>
            <c:idx val="35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3-834C-42B8-93BC-24FD915F8F07}"/>
              </c:ext>
            </c:extLst>
          </c:dPt>
          <c:dPt>
            <c:idx val="35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4-834C-42B8-93BC-24FD915F8F07}"/>
              </c:ext>
            </c:extLst>
          </c:dPt>
          <c:dPt>
            <c:idx val="35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5-834C-42B8-93BC-24FD915F8F07}"/>
              </c:ext>
            </c:extLst>
          </c:dPt>
          <c:dPt>
            <c:idx val="35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6-834C-42B8-93BC-24FD915F8F07}"/>
              </c:ext>
            </c:extLst>
          </c:dPt>
          <c:dPt>
            <c:idx val="35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7-834C-42B8-93BC-24FD915F8F07}"/>
              </c:ext>
            </c:extLst>
          </c:dPt>
          <c:dPt>
            <c:idx val="36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8-834C-42B8-93BC-24FD915F8F07}"/>
              </c:ext>
            </c:extLst>
          </c:dPt>
          <c:dPt>
            <c:idx val="36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9-834C-42B8-93BC-24FD915F8F07}"/>
              </c:ext>
            </c:extLst>
          </c:dPt>
          <c:dPt>
            <c:idx val="36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A-834C-42B8-93BC-24FD915F8F07}"/>
              </c:ext>
            </c:extLst>
          </c:dPt>
          <c:dPt>
            <c:idx val="36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B-834C-42B8-93BC-24FD915F8F07}"/>
              </c:ext>
            </c:extLst>
          </c:dPt>
          <c:dPt>
            <c:idx val="36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C-834C-42B8-93BC-24FD915F8F07}"/>
              </c:ext>
            </c:extLst>
          </c:dPt>
          <c:dPt>
            <c:idx val="36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D-834C-42B8-93BC-24FD915F8F07}"/>
              </c:ext>
            </c:extLst>
          </c:dPt>
          <c:dPt>
            <c:idx val="36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E-834C-42B8-93BC-24FD915F8F07}"/>
              </c:ext>
            </c:extLst>
          </c:dPt>
          <c:dPt>
            <c:idx val="36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6F-834C-42B8-93BC-24FD915F8F07}"/>
              </c:ext>
            </c:extLst>
          </c:dPt>
          <c:dPt>
            <c:idx val="36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0-834C-42B8-93BC-24FD915F8F07}"/>
              </c:ext>
            </c:extLst>
          </c:dPt>
          <c:dPt>
            <c:idx val="36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1-834C-42B8-93BC-24FD915F8F07}"/>
              </c:ext>
            </c:extLst>
          </c:dPt>
          <c:dPt>
            <c:idx val="37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2-834C-42B8-93BC-24FD915F8F07}"/>
              </c:ext>
            </c:extLst>
          </c:dPt>
          <c:dPt>
            <c:idx val="37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3-834C-42B8-93BC-24FD915F8F07}"/>
              </c:ext>
            </c:extLst>
          </c:dPt>
          <c:dPt>
            <c:idx val="37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4-834C-42B8-93BC-24FD915F8F07}"/>
              </c:ext>
            </c:extLst>
          </c:dPt>
          <c:dPt>
            <c:idx val="373"/>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5-834C-42B8-93BC-24FD915F8F07}"/>
              </c:ext>
            </c:extLst>
          </c:dPt>
          <c:dPt>
            <c:idx val="374"/>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6-834C-42B8-93BC-24FD915F8F07}"/>
              </c:ext>
            </c:extLst>
          </c:dPt>
          <c:dPt>
            <c:idx val="375"/>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7-834C-42B8-93BC-24FD915F8F07}"/>
              </c:ext>
            </c:extLst>
          </c:dPt>
          <c:dPt>
            <c:idx val="376"/>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8-834C-42B8-93BC-24FD915F8F07}"/>
              </c:ext>
            </c:extLst>
          </c:dPt>
          <c:dPt>
            <c:idx val="377"/>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9-834C-42B8-93BC-24FD915F8F07}"/>
              </c:ext>
            </c:extLst>
          </c:dPt>
          <c:dPt>
            <c:idx val="378"/>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A-834C-42B8-93BC-24FD915F8F07}"/>
              </c:ext>
            </c:extLst>
          </c:dPt>
          <c:dPt>
            <c:idx val="379"/>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B-834C-42B8-93BC-24FD915F8F07}"/>
              </c:ext>
            </c:extLst>
          </c:dPt>
          <c:dPt>
            <c:idx val="380"/>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C-834C-42B8-93BC-24FD915F8F07}"/>
              </c:ext>
            </c:extLst>
          </c:dPt>
          <c:dPt>
            <c:idx val="381"/>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D-834C-42B8-93BC-24FD915F8F07}"/>
              </c:ext>
            </c:extLst>
          </c:dPt>
          <c:dPt>
            <c:idx val="382"/>
            <c:marker>
              <c:symbol val="none"/>
            </c:marker>
            <c:bubble3D val="0"/>
            <c:spPr>
              <a:ln w="12700" cap="rnd" cmpd="sng" algn="ctr">
                <a:solidFill>
                  <a:srgbClr val="8E8D83">
                    <a:lumMod val="100000"/>
                  </a:srgbClr>
                </a:solidFill>
                <a:prstDash val="solid"/>
                <a:round/>
                <a:headEnd type="none" w="med" len="med"/>
                <a:tailEnd type="none" w="med" len="med"/>
              </a:ln>
              <a:effectLst/>
            </c:spPr>
            <c:extLst>
              <c:ext xmlns:c16="http://schemas.microsoft.com/office/drawing/2014/chart" uri="{C3380CC4-5D6E-409C-BE32-E72D297353CC}">
                <c16:uniqueId val="{0000017E-834C-42B8-93BC-24FD915F8F07}"/>
              </c:ext>
            </c:extLst>
          </c:dPt>
          <c:cat>
            <c:numRef>
              <c:f>'Fig. 1'!$A$6:$A$388</c:f>
              <c:numCache>
                <c:formatCode>m/d/yyyy</c:formatCode>
                <c:ptCount val="383"/>
                <c:pt idx="0">
                  <c:v>45659</c:v>
                </c:pt>
                <c:pt idx="1">
                  <c:v>45660</c:v>
                </c:pt>
                <c:pt idx="2">
                  <c:v>45661</c:v>
                </c:pt>
                <c:pt idx="3">
                  <c:v>45662</c:v>
                </c:pt>
                <c:pt idx="4">
                  <c:v>45663</c:v>
                </c:pt>
                <c:pt idx="5">
                  <c:v>45664</c:v>
                </c:pt>
                <c:pt idx="6">
                  <c:v>45665</c:v>
                </c:pt>
                <c:pt idx="7">
                  <c:v>45666</c:v>
                </c:pt>
                <c:pt idx="8">
                  <c:v>45667</c:v>
                </c:pt>
                <c:pt idx="9">
                  <c:v>45668</c:v>
                </c:pt>
                <c:pt idx="10">
                  <c:v>45669</c:v>
                </c:pt>
                <c:pt idx="11">
                  <c:v>45670</c:v>
                </c:pt>
                <c:pt idx="12">
                  <c:v>45671</c:v>
                </c:pt>
                <c:pt idx="13">
                  <c:v>45672</c:v>
                </c:pt>
                <c:pt idx="14">
                  <c:v>45673</c:v>
                </c:pt>
                <c:pt idx="15">
                  <c:v>45674</c:v>
                </c:pt>
                <c:pt idx="16">
                  <c:v>45675</c:v>
                </c:pt>
                <c:pt idx="17">
                  <c:v>45676</c:v>
                </c:pt>
                <c:pt idx="18">
                  <c:v>45677</c:v>
                </c:pt>
                <c:pt idx="19">
                  <c:v>45678</c:v>
                </c:pt>
                <c:pt idx="20">
                  <c:v>45679</c:v>
                </c:pt>
                <c:pt idx="21">
                  <c:v>45680</c:v>
                </c:pt>
                <c:pt idx="22">
                  <c:v>45681</c:v>
                </c:pt>
                <c:pt idx="23">
                  <c:v>45682</c:v>
                </c:pt>
                <c:pt idx="24">
                  <c:v>45683</c:v>
                </c:pt>
                <c:pt idx="25">
                  <c:v>45684</c:v>
                </c:pt>
                <c:pt idx="26">
                  <c:v>45685</c:v>
                </c:pt>
                <c:pt idx="27">
                  <c:v>45686</c:v>
                </c:pt>
                <c:pt idx="28">
                  <c:v>45687</c:v>
                </c:pt>
                <c:pt idx="29">
                  <c:v>45688</c:v>
                </c:pt>
                <c:pt idx="30">
                  <c:v>45689</c:v>
                </c:pt>
                <c:pt idx="31">
                  <c:v>45690</c:v>
                </c:pt>
                <c:pt idx="32">
                  <c:v>45691</c:v>
                </c:pt>
                <c:pt idx="33">
                  <c:v>45692</c:v>
                </c:pt>
                <c:pt idx="34">
                  <c:v>45693</c:v>
                </c:pt>
                <c:pt idx="35">
                  <c:v>45694</c:v>
                </c:pt>
                <c:pt idx="36">
                  <c:v>45695</c:v>
                </c:pt>
                <c:pt idx="37">
                  <c:v>45696</c:v>
                </c:pt>
                <c:pt idx="38">
                  <c:v>45697</c:v>
                </c:pt>
                <c:pt idx="39">
                  <c:v>45698</c:v>
                </c:pt>
                <c:pt idx="40">
                  <c:v>45699</c:v>
                </c:pt>
                <c:pt idx="41">
                  <c:v>45700</c:v>
                </c:pt>
                <c:pt idx="42">
                  <c:v>45701</c:v>
                </c:pt>
                <c:pt idx="43">
                  <c:v>45702</c:v>
                </c:pt>
                <c:pt idx="44">
                  <c:v>45703</c:v>
                </c:pt>
                <c:pt idx="45">
                  <c:v>45704</c:v>
                </c:pt>
                <c:pt idx="46">
                  <c:v>45705</c:v>
                </c:pt>
                <c:pt idx="47">
                  <c:v>45706</c:v>
                </c:pt>
                <c:pt idx="48">
                  <c:v>45707</c:v>
                </c:pt>
                <c:pt idx="49">
                  <c:v>45708</c:v>
                </c:pt>
                <c:pt idx="50">
                  <c:v>45709</c:v>
                </c:pt>
                <c:pt idx="51">
                  <c:v>45710</c:v>
                </c:pt>
                <c:pt idx="52">
                  <c:v>45711</c:v>
                </c:pt>
                <c:pt idx="53">
                  <c:v>45712</c:v>
                </c:pt>
                <c:pt idx="54">
                  <c:v>45713</c:v>
                </c:pt>
                <c:pt idx="55">
                  <c:v>45714</c:v>
                </c:pt>
                <c:pt idx="56">
                  <c:v>45715</c:v>
                </c:pt>
                <c:pt idx="57">
                  <c:v>45716</c:v>
                </c:pt>
                <c:pt idx="58">
                  <c:v>45717</c:v>
                </c:pt>
                <c:pt idx="59">
                  <c:v>45718</c:v>
                </c:pt>
                <c:pt idx="60">
                  <c:v>45719</c:v>
                </c:pt>
                <c:pt idx="61">
                  <c:v>45720</c:v>
                </c:pt>
                <c:pt idx="62">
                  <c:v>45721</c:v>
                </c:pt>
                <c:pt idx="63">
                  <c:v>45722</c:v>
                </c:pt>
                <c:pt idx="64">
                  <c:v>45723</c:v>
                </c:pt>
                <c:pt idx="65">
                  <c:v>45724</c:v>
                </c:pt>
                <c:pt idx="66">
                  <c:v>45725</c:v>
                </c:pt>
                <c:pt idx="67">
                  <c:v>45726</c:v>
                </c:pt>
                <c:pt idx="68">
                  <c:v>45727</c:v>
                </c:pt>
                <c:pt idx="69">
                  <c:v>45728</c:v>
                </c:pt>
                <c:pt idx="70">
                  <c:v>45729</c:v>
                </c:pt>
                <c:pt idx="71">
                  <c:v>45730</c:v>
                </c:pt>
                <c:pt idx="72">
                  <c:v>45731</c:v>
                </c:pt>
                <c:pt idx="73">
                  <c:v>45732</c:v>
                </c:pt>
                <c:pt idx="74">
                  <c:v>45733</c:v>
                </c:pt>
                <c:pt idx="75">
                  <c:v>45734</c:v>
                </c:pt>
                <c:pt idx="76">
                  <c:v>45735</c:v>
                </c:pt>
                <c:pt idx="77">
                  <c:v>45736</c:v>
                </c:pt>
                <c:pt idx="78">
                  <c:v>45737</c:v>
                </c:pt>
                <c:pt idx="79">
                  <c:v>45738</c:v>
                </c:pt>
                <c:pt idx="80">
                  <c:v>45739</c:v>
                </c:pt>
                <c:pt idx="81">
                  <c:v>45740</c:v>
                </c:pt>
                <c:pt idx="82">
                  <c:v>45741</c:v>
                </c:pt>
                <c:pt idx="83">
                  <c:v>45742</c:v>
                </c:pt>
                <c:pt idx="84">
                  <c:v>45743</c:v>
                </c:pt>
                <c:pt idx="85">
                  <c:v>45744</c:v>
                </c:pt>
                <c:pt idx="86">
                  <c:v>45745</c:v>
                </c:pt>
                <c:pt idx="87">
                  <c:v>45746</c:v>
                </c:pt>
                <c:pt idx="88">
                  <c:v>45747</c:v>
                </c:pt>
                <c:pt idx="89">
                  <c:v>45748</c:v>
                </c:pt>
                <c:pt idx="90">
                  <c:v>45749</c:v>
                </c:pt>
                <c:pt idx="91">
                  <c:v>45750</c:v>
                </c:pt>
                <c:pt idx="92">
                  <c:v>45751</c:v>
                </c:pt>
                <c:pt idx="93">
                  <c:v>45752</c:v>
                </c:pt>
                <c:pt idx="94">
                  <c:v>45753</c:v>
                </c:pt>
                <c:pt idx="95">
                  <c:v>45754</c:v>
                </c:pt>
                <c:pt idx="96">
                  <c:v>45755</c:v>
                </c:pt>
                <c:pt idx="97">
                  <c:v>45756</c:v>
                </c:pt>
                <c:pt idx="98">
                  <c:v>45757</c:v>
                </c:pt>
                <c:pt idx="99">
                  <c:v>45758</c:v>
                </c:pt>
                <c:pt idx="100">
                  <c:v>45759</c:v>
                </c:pt>
                <c:pt idx="101">
                  <c:v>45760</c:v>
                </c:pt>
                <c:pt idx="102">
                  <c:v>45761</c:v>
                </c:pt>
                <c:pt idx="103">
                  <c:v>45762</c:v>
                </c:pt>
                <c:pt idx="104">
                  <c:v>45763</c:v>
                </c:pt>
                <c:pt idx="105">
                  <c:v>45764</c:v>
                </c:pt>
                <c:pt idx="106">
                  <c:v>45765</c:v>
                </c:pt>
                <c:pt idx="107">
                  <c:v>45766</c:v>
                </c:pt>
                <c:pt idx="108">
                  <c:v>45767</c:v>
                </c:pt>
                <c:pt idx="109">
                  <c:v>45768</c:v>
                </c:pt>
                <c:pt idx="110">
                  <c:v>45769</c:v>
                </c:pt>
                <c:pt idx="111">
                  <c:v>45770</c:v>
                </c:pt>
                <c:pt idx="112">
                  <c:v>45771</c:v>
                </c:pt>
                <c:pt idx="113">
                  <c:v>45772</c:v>
                </c:pt>
                <c:pt idx="114">
                  <c:v>45773</c:v>
                </c:pt>
                <c:pt idx="115">
                  <c:v>45774</c:v>
                </c:pt>
                <c:pt idx="116">
                  <c:v>45775</c:v>
                </c:pt>
                <c:pt idx="117">
                  <c:v>45776</c:v>
                </c:pt>
                <c:pt idx="118">
                  <c:v>45777</c:v>
                </c:pt>
                <c:pt idx="119">
                  <c:v>45778</c:v>
                </c:pt>
                <c:pt idx="120">
                  <c:v>45779</c:v>
                </c:pt>
                <c:pt idx="121">
                  <c:v>45780</c:v>
                </c:pt>
                <c:pt idx="122">
                  <c:v>45781</c:v>
                </c:pt>
                <c:pt idx="123">
                  <c:v>45782</c:v>
                </c:pt>
                <c:pt idx="124">
                  <c:v>45783</c:v>
                </c:pt>
                <c:pt idx="125">
                  <c:v>45784</c:v>
                </c:pt>
                <c:pt idx="126">
                  <c:v>45785</c:v>
                </c:pt>
                <c:pt idx="127">
                  <c:v>45786</c:v>
                </c:pt>
                <c:pt idx="128">
                  <c:v>45787</c:v>
                </c:pt>
                <c:pt idx="129">
                  <c:v>45788</c:v>
                </c:pt>
                <c:pt idx="130">
                  <c:v>45789</c:v>
                </c:pt>
                <c:pt idx="131">
                  <c:v>45790</c:v>
                </c:pt>
                <c:pt idx="132">
                  <c:v>45791</c:v>
                </c:pt>
                <c:pt idx="133">
                  <c:v>45792</c:v>
                </c:pt>
                <c:pt idx="134">
                  <c:v>45793</c:v>
                </c:pt>
                <c:pt idx="135">
                  <c:v>45794</c:v>
                </c:pt>
                <c:pt idx="136">
                  <c:v>45795</c:v>
                </c:pt>
                <c:pt idx="137">
                  <c:v>45796</c:v>
                </c:pt>
                <c:pt idx="138">
                  <c:v>45797</c:v>
                </c:pt>
                <c:pt idx="139">
                  <c:v>45798</c:v>
                </c:pt>
                <c:pt idx="140">
                  <c:v>45799</c:v>
                </c:pt>
                <c:pt idx="141">
                  <c:v>45800</c:v>
                </c:pt>
                <c:pt idx="142">
                  <c:v>45801</c:v>
                </c:pt>
                <c:pt idx="143">
                  <c:v>45802</c:v>
                </c:pt>
                <c:pt idx="144">
                  <c:v>45803</c:v>
                </c:pt>
                <c:pt idx="145">
                  <c:v>45804</c:v>
                </c:pt>
                <c:pt idx="146">
                  <c:v>45805</c:v>
                </c:pt>
                <c:pt idx="147">
                  <c:v>45806</c:v>
                </c:pt>
                <c:pt idx="148">
                  <c:v>45807</c:v>
                </c:pt>
                <c:pt idx="149">
                  <c:v>45808</c:v>
                </c:pt>
                <c:pt idx="150">
                  <c:v>45809</c:v>
                </c:pt>
                <c:pt idx="151">
                  <c:v>45810</c:v>
                </c:pt>
                <c:pt idx="152">
                  <c:v>45811</c:v>
                </c:pt>
                <c:pt idx="153">
                  <c:v>45812</c:v>
                </c:pt>
                <c:pt idx="154">
                  <c:v>45813</c:v>
                </c:pt>
                <c:pt idx="155">
                  <c:v>45814</c:v>
                </c:pt>
                <c:pt idx="156">
                  <c:v>45815</c:v>
                </c:pt>
                <c:pt idx="157">
                  <c:v>45816</c:v>
                </c:pt>
                <c:pt idx="158">
                  <c:v>45817</c:v>
                </c:pt>
                <c:pt idx="159">
                  <c:v>45818</c:v>
                </c:pt>
                <c:pt idx="160">
                  <c:v>45819</c:v>
                </c:pt>
                <c:pt idx="161">
                  <c:v>45820</c:v>
                </c:pt>
                <c:pt idx="162">
                  <c:v>45821</c:v>
                </c:pt>
                <c:pt idx="163">
                  <c:v>45822</c:v>
                </c:pt>
                <c:pt idx="164">
                  <c:v>45823</c:v>
                </c:pt>
                <c:pt idx="165">
                  <c:v>45824</c:v>
                </c:pt>
                <c:pt idx="166">
                  <c:v>45825</c:v>
                </c:pt>
                <c:pt idx="167">
                  <c:v>45826</c:v>
                </c:pt>
                <c:pt idx="168">
                  <c:v>45827</c:v>
                </c:pt>
                <c:pt idx="169">
                  <c:v>45828</c:v>
                </c:pt>
                <c:pt idx="170">
                  <c:v>45829</c:v>
                </c:pt>
                <c:pt idx="171">
                  <c:v>45830</c:v>
                </c:pt>
                <c:pt idx="172">
                  <c:v>45831</c:v>
                </c:pt>
                <c:pt idx="173">
                  <c:v>45832</c:v>
                </c:pt>
                <c:pt idx="174">
                  <c:v>45833</c:v>
                </c:pt>
                <c:pt idx="175">
                  <c:v>45834</c:v>
                </c:pt>
                <c:pt idx="176">
                  <c:v>45835</c:v>
                </c:pt>
                <c:pt idx="177">
                  <c:v>45836</c:v>
                </c:pt>
                <c:pt idx="178">
                  <c:v>45837</c:v>
                </c:pt>
                <c:pt idx="179">
                  <c:v>45838</c:v>
                </c:pt>
                <c:pt idx="180">
                  <c:v>45839</c:v>
                </c:pt>
                <c:pt idx="181">
                  <c:v>45840</c:v>
                </c:pt>
                <c:pt idx="182">
                  <c:v>45841</c:v>
                </c:pt>
                <c:pt idx="183">
                  <c:v>45842</c:v>
                </c:pt>
                <c:pt idx="184">
                  <c:v>45843</c:v>
                </c:pt>
                <c:pt idx="185">
                  <c:v>45844</c:v>
                </c:pt>
                <c:pt idx="186">
                  <c:v>45845</c:v>
                </c:pt>
                <c:pt idx="187">
                  <c:v>45846</c:v>
                </c:pt>
                <c:pt idx="188">
                  <c:v>45847</c:v>
                </c:pt>
                <c:pt idx="189">
                  <c:v>45848</c:v>
                </c:pt>
                <c:pt idx="190">
                  <c:v>45849</c:v>
                </c:pt>
                <c:pt idx="191">
                  <c:v>45850</c:v>
                </c:pt>
                <c:pt idx="192">
                  <c:v>45851</c:v>
                </c:pt>
                <c:pt idx="193">
                  <c:v>45852</c:v>
                </c:pt>
                <c:pt idx="194">
                  <c:v>45853</c:v>
                </c:pt>
                <c:pt idx="195">
                  <c:v>45854</c:v>
                </c:pt>
                <c:pt idx="196">
                  <c:v>45855</c:v>
                </c:pt>
                <c:pt idx="197">
                  <c:v>45856</c:v>
                </c:pt>
                <c:pt idx="198">
                  <c:v>45857</c:v>
                </c:pt>
                <c:pt idx="199">
                  <c:v>45858</c:v>
                </c:pt>
                <c:pt idx="200">
                  <c:v>45859</c:v>
                </c:pt>
                <c:pt idx="201">
                  <c:v>45860</c:v>
                </c:pt>
                <c:pt idx="202">
                  <c:v>45861</c:v>
                </c:pt>
                <c:pt idx="203">
                  <c:v>45862</c:v>
                </c:pt>
                <c:pt idx="204">
                  <c:v>45863</c:v>
                </c:pt>
                <c:pt idx="205">
                  <c:v>45864</c:v>
                </c:pt>
                <c:pt idx="206">
                  <c:v>45865</c:v>
                </c:pt>
                <c:pt idx="207">
                  <c:v>45866</c:v>
                </c:pt>
                <c:pt idx="208">
                  <c:v>45867</c:v>
                </c:pt>
                <c:pt idx="209">
                  <c:v>45868</c:v>
                </c:pt>
                <c:pt idx="210">
                  <c:v>45869</c:v>
                </c:pt>
                <c:pt idx="211">
                  <c:v>45870</c:v>
                </c:pt>
                <c:pt idx="212">
                  <c:v>45871</c:v>
                </c:pt>
                <c:pt idx="213">
                  <c:v>45872</c:v>
                </c:pt>
                <c:pt idx="214">
                  <c:v>45873</c:v>
                </c:pt>
                <c:pt idx="215">
                  <c:v>45874</c:v>
                </c:pt>
                <c:pt idx="216">
                  <c:v>45875</c:v>
                </c:pt>
                <c:pt idx="217">
                  <c:v>45876</c:v>
                </c:pt>
                <c:pt idx="218">
                  <c:v>45877</c:v>
                </c:pt>
                <c:pt idx="219">
                  <c:v>45878</c:v>
                </c:pt>
                <c:pt idx="220">
                  <c:v>45879</c:v>
                </c:pt>
                <c:pt idx="221">
                  <c:v>45880</c:v>
                </c:pt>
                <c:pt idx="222">
                  <c:v>45881</c:v>
                </c:pt>
                <c:pt idx="223">
                  <c:v>45882</c:v>
                </c:pt>
                <c:pt idx="224">
                  <c:v>45883</c:v>
                </c:pt>
                <c:pt idx="225">
                  <c:v>45884</c:v>
                </c:pt>
                <c:pt idx="226">
                  <c:v>45885</c:v>
                </c:pt>
                <c:pt idx="227">
                  <c:v>45886</c:v>
                </c:pt>
                <c:pt idx="228">
                  <c:v>45887</c:v>
                </c:pt>
                <c:pt idx="229">
                  <c:v>45888</c:v>
                </c:pt>
                <c:pt idx="230">
                  <c:v>45889</c:v>
                </c:pt>
                <c:pt idx="231">
                  <c:v>45890</c:v>
                </c:pt>
                <c:pt idx="232">
                  <c:v>45891</c:v>
                </c:pt>
                <c:pt idx="233">
                  <c:v>45892</c:v>
                </c:pt>
                <c:pt idx="234">
                  <c:v>45893</c:v>
                </c:pt>
                <c:pt idx="235">
                  <c:v>45894</c:v>
                </c:pt>
                <c:pt idx="236">
                  <c:v>45895</c:v>
                </c:pt>
                <c:pt idx="237">
                  <c:v>45896</c:v>
                </c:pt>
                <c:pt idx="238">
                  <c:v>45897</c:v>
                </c:pt>
                <c:pt idx="239">
                  <c:v>45898</c:v>
                </c:pt>
                <c:pt idx="240">
                  <c:v>45899</c:v>
                </c:pt>
                <c:pt idx="241">
                  <c:v>45900</c:v>
                </c:pt>
                <c:pt idx="242">
                  <c:v>45901</c:v>
                </c:pt>
                <c:pt idx="243">
                  <c:v>45902</c:v>
                </c:pt>
                <c:pt idx="244">
                  <c:v>45903</c:v>
                </c:pt>
                <c:pt idx="245">
                  <c:v>45904</c:v>
                </c:pt>
                <c:pt idx="246">
                  <c:v>45905</c:v>
                </c:pt>
                <c:pt idx="247">
                  <c:v>45906</c:v>
                </c:pt>
                <c:pt idx="248">
                  <c:v>45907</c:v>
                </c:pt>
                <c:pt idx="249">
                  <c:v>45908</c:v>
                </c:pt>
                <c:pt idx="250">
                  <c:v>45909</c:v>
                </c:pt>
                <c:pt idx="251">
                  <c:v>45910</c:v>
                </c:pt>
                <c:pt idx="252">
                  <c:v>45911</c:v>
                </c:pt>
                <c:pt idx="253">
                  <c:v>45912</c:v>
                </c:pt>
                <c:pt idx="254">
                  <c:v>45913</c:v>
                </c:pt>
                <c:pt idx="255">
                  <c:v>45914</c:v>
                </c:pt>
                <c:pt idx="256">
                  <c:v>45915</c:v>
                </c:pt>
                <c:pt idx="257">
                  <c:v>45916</c:v>
                </c:pt>
                <c:pt idx="258">
                  <c:v>45917</c:v>
                </c:pt>
                <c:pt idx="259">
                  <c:v>45918</c:v>
                </c:pt>
                <c:pt idx="260">
                  <c:v>45919</c:v>
                </c:pt>
                <c:pt idx="261">
                  <c:v>45920</c:v>
                </c:pt>
                <c:pt idx="262">
                  <c:v>45921</c:v>
                </c:pt>
                <c:pt idx="263">
                  <c:v>45922</c:v>
                </c:pt>
                <c:pt idx="264">
                  <c:v>45923</c:v>
                </c:pt>
                <c:pt idx="265">
                  <c:v>45924</c:v>
                </c:pt>
                <c:pt idx="266">
                  <c:v>45925</c:v>
                </c:pt>
                <c:pt idx="267">
                  <c:v>45926</c:v>
                </c:pt>
                <c:pt idx="268">
                  <c:v>45927</c:v>
                </c:pt>
                <c:pt idx="269">
                  <c:v>45928</c:v>
                </c:pt>
                <c:pt idx="270">
                  <c:v>45929</c:v>
                </c:pt>
                <c:pt idx="271">
                  <c:v>45930</c:v>
                </c:pt>
                <c:pt idx="272">
                  <c:v>45931</c:v>
                </c:pt>
                <c:pt idx="273">
                  <c:v>45932</c:v>
                </c:pt>
                <c:pt idx="274">
                  <c:v>45933</c:v>
                </c:pt>
                <c:pt idx="275">
                  <c:v>45934</c:v>
                </c:pt>
                <c:pt idx="276">
                  <c:v>45935</c:v>
                </c:pt>
                <c:pt idx="277">
                  <c:v>45936</c:v>
                </c:pt>
                <c:pt idx="278">
                  <c:v>45937</c:v>
                </c:pt>
                <c:pt idx="279">
                  <c:v>45938</c:v>
                </c:pt>
                <c:pt idx="280">
                  <c:v>45939</c:v>
                </c:pt>
                <c:pt idx="281">
                  <c:v>45940</c:v>
                </c:pt>
                <c:pt idx="282">
                  <c:v>45941</c:v>
                </c:pt>
                <c:pt idx="283">
                  <c:v>45942</c:v>
                </c:pt>
                <c:pt idx="284">
                  <c:v>45943</c:v>
                </c:pt>
                <c:pt idx="285">
                  <c:v>45944</c:v>
                </c:pt>
                <c:pt idx="286">
                  <c:v>45945</c:v>
                </c:pt>
                <c:pt idx="287">
                  <c:v>45946</c:v>
                </c:pt>
                <c:pt idx="288">
                  <c:v>45947</c:v>
                </c:pt>
                <c:pt idx="289">
                  <c:v>45948</c:v>
                </c:pt>
                <c:pt idx="290">
                  <c:v>45949</c:v>
                </c:pt>
                <c:pt idx="291">
                  <c:v>45950</c:v>
                </c:pt>
                <c:pt idx="292">
                  <c:v>45951</c:v>
                </c:pt>
                <c:pt idx="293">
                  <c:v>45952</c:v>
                </c:pt>
                <c:pt idx="294">
                  <c:v>45953</c:v>
                </c:pt>
                <c:pt idx="295">
                  <c:v>45954</c:v>
                </c:pt>
                <c:pt idx="296">
                  <c:v>45955</c:v>
                </c:pt>
                <c:pt idx="297">
                  <c:v>45956</c:v>
                </c:pt>
                <c:pt idx="298">
                  <c:v>45957</c:v>
                </c:pt>
                <c:pt idx="299">
                  <c:v>45958</c:v>
                </c:pt>
                <c:pt idx="300">
                  <c:v>45959</c:v>
                </c:pt>
                <c:pt idx="301">
                  <c:v>45960</c:v>
                </c:pt>
                <c:pt idx="302">
                  <c:v>45961</c:v>
                </c:pt>
                <c:pt idx="303">
                  <c:v>45962</c:v>
                </c:pt>
                <c:pt idx="304">
                  <c:v>45963</c:v>
                </c:pt>
                <c:pt idx="305">
                  <c:v>45964</c:v>
                </c:pt>
                <c:pt idx="306">
                  <c:v>45965</c:v>
                </c:pt>
                <c:pt idx="307">
                  <c:v>45966</c:v>
                </c:pt>
                <c:pt idx="308">
                  <c:v>45967</c:v>
                </c:pt>
                <c:pt idx="309">
                  <c:v>45968</c:v>
                </c:pt>
                <c:pt idx="310">
                  <c:v>45969</c:v>
                </c:pt>
                <c:pt idx="311">
                  <c:v>45970</c:v>
                </c:pt>
                <c:pt idx="312">
                  <c:v>45971</c:v>
                </c:pt>
                <c:pt idx="313">
                  <c:v>45972</c:v>
                </c:pt>
                <c:pt idx="314">
                  <c:v>45973</c:v>
                </c:pt>
                <c:pt idx="315">
                  <c:v>45974</c:v>
                </c:pt>
                <c:pt idx="316">
                  <c:v>45975</c:v>
                </c:pt>
                <c:pt idx="317">
                  <c:v>45976</c:v>
                </c:pt>
                <c:pt idx="318">
                  <c:v>45977</c:v>
                </c:pt>
                <c:pt idx="319">
                  <c:v>45978</c:v>
                </c:pt>
                <c:pt idx="320">
                  <c:v>45979</c:v>
                </c:pt>
                <c:pt idx="321">
                  <c:v>45980</c:v>
                </c:pt>
                <c:pt idx="322">
                  <c:v>45981</c:v>
                </c:pt>
                <c:pt idx="323">
                  <c:v>45982</c:v>
                </c:pt>
                <c:pt idx="324">
                  <c:v>45983</c:v>
                </c:pt>
                <c:pt idx="325">
                  <c:v>45984</c:v>
                </c:pt>
                <c:pt idx="326">
                  <c:v>45985</c:v>
                </c:pt>
                <c:pt idx="327">
                  <c:v>45986</c:v>
                </c:pt>
                <c:pt idx="328">
                  <c:v>45987</c:v>
                </c:pt>
                <c:pt idx="329">
                  <c:v>45988</c:v>
                </c:pt>
                <c:pt idx="330">
                  <c:v>45989</c:v>
                </c:pt>
                <c:pt idx="331">
                  <c:v>45990</c:v>
                </c:pt>
                <c:pt idx="332">
                  <c:v>45991</c:v>
                </c:pt>
                <c:pt idx="333">
                  <c:v>45992</c:v>
                </c:pt>
                <c:pt idx="334">
                  <c:v>45993</c:v>
                </c:pt>
                <c:pt idx="335">
                  <c:v>45994</c:v>
                </c:pt>
                <c:pt idx="336">
                  <c:v>45995</c:v>
                </c:pt>
                <c:pt idx="337">
                  <c:v>45996</c:v>
                </c:pt>
                <c:pt idx="338">
                  <c:v>45997</c:v>
                </c:pt>
                <c:pt idx="339">
                  <c:v>45998</c:v>
                </c:pt>
                <c:pt idx="340">
                  <c:v>45999</c:v>
                </c:pt>
                <c:pt idx="341">
                  <c:v>46000</c:v>
                </c:pt>
                <c:pt idx="342">
                  <c:v>46001</c:v>
                </c:pt>
                <c:pt idx="343">
                  <c:v>46002</c:v>
                </c:pt>
                <c:pt idx="344">
                  <c:v>46003</c:v>
                </c:pt>
                <c:pt idx="345">
                  <c:v>46004</c:v>
                </c:pt>
                <c:pt idx="346">
                  <c:v>46005</c:v>
                </c:pt>
                <c:pt idx="347">
                  <c:v>46006</c:v>
                </c:pt>
                <c:pt idx="348">
                  <c:v>46007</c:v>
                </c:pt>
                <c:pt idx="349">
                  <c:v>46008</c:v>
                </c:pt>
                <c:pt idx="350">
                  <c:v>46009</c:v>
                </c:pt>
                <c:pt idx="351">
                  <c:v>46010</c:v>
                </c:pt>
                <c:pt idx="352">
                  <c:v>46011</c:v>
                </c:pt>
                <c:pt idx="353">
                  <c:v>46012</c:v>
                </c:pt>
                <c:pt idx="354">
                  <c:v>46013</c:v>
                </c:pt>
                <c:pt idx="355">
                  <c:v>46014</c:v>
                </c:pt>
                <c:pt idx="356">
                  <c:v>46015</c:v>
                </c:pt>
                <c:pt idx="357">
                  <c:v>46016</c:v>
                </c:pt>
                <c:pt idx="358">
                  <c:v>46017</c:v>
                </c:pt>
                <c:pt idx="359">
                  <c:v>46018</c:v>
                </c:pt>
                <c:pt idx="360">
                  <c:v>46019</c:v>
                </c:pt>
                <c:pt idx="361">
                  <c:v>46020</c:v>
                </c:pt>
                <c:pt idx="362">
                  <c:v>46021</c:v>
                </c:pt>
                <c:pt idx="363">
                  <c:v>46022</c:v>
                </c:pt>
                <c:pt idx="364">
                  <c:v>46023</c:v>
                </c:pt>
                <c:pt idx="365">
                  <c:v>46024</c:v>
                </c:pt>
                <c:pt idx="366">
                  <c:v>46025</c:v>
                </c:pt>
                <c:pt idx="367">
                  <c:v>46026</c:v>
                </c:pt>
                <c:pt idx="368">
                  <c:v>46027</c:v>
                </c:pt>
                <c:pt idx="369">
                  <c:v>46028</c:v>
                </c:pt>
                <c:pt idx="370">
                  <c:v>46029</c:v>
                </c:pt>
                <c:pt idx="371">
                  <c:v>46030</c:v>
                </c:pt>
                <c:pt idx="372">
                  <c:v>46031</c:v>
                </c:pt>
                <c:pt idx="373">
                  <c:v>46032</c:v>
                </c:pt>
                <c:pt idx="374">
                  <c:v>46033</c:v>
                </c:pt>
                <c:pt idx="375">
                  <c:v>46034</c:v>
                </c:pt>
                <c:pt idx="376">
                  <c:v>46035</c:v>
                </c:pt>
                <c:pt idx="377">
                  <c:v>46036</c:v>
                </c:pt>
                <c:pt idx="378">
                  <c:v>46037</c:v>
                </c:pt>
                <c:pt idx="379">
                  <c:v>46038</c:v>
                </c:pt>
                <c:pt idx="380">
                  <c:v>46039</c:v>
                </c:pt>
                <c:pt idx="381">
                  <c:v>46040</c:v>
                </c:pt>
                <c:pt idx="382">
                  <c:v>46041</c:v>
                </c:pt>
              </c:numCache>
            </c:numRef>
          </c:cat>
          <c:val>
            <c:numRef>
              <c:f>'Fig. 1'!$B$6:$B$388</c:f>
              <c:numCache>
                <c:formatCode>0.00</c:formatCode>
                <c:ptCount val="383"/>
                <c:pt idx="0">
                  <c:v>2.4</c:v>
                </c:pt>
                <c:pt idx="1">
                  <c:v>2.4</c:v>
                </c:pt>
                <c:pt idx="2">
                  <c:v>2.4</c:v>
                </c:pt>
                <c:pt idx="3">
                  <c:v>2.4</c:v>
                </c:pt>
                <c:pt idx="4">
                  <c:v>2.4</c:v>
                </c:pt>
                <c:pt idx="5">
                  <c:v>2.4</c:v>
                </c:pt>
                <c:pt idx="6">
                  <c:v>2.4</c:v>
                </c:pt>
                <c:pt idx="7">
                  <c:v>2.4</c:v>
                </c:pt>
                <c:pt idx="8">
                  <c:v>2.4</c:v>
                </c:pt>
                <c:pt idx="9">
                  <c:v>2.4</c:v>
                </c:pt>
                <c:pt idx="10">
                  <c:v>2.4</c:v>
                </c:pt>
                <c:pt idx="11">
                  <c:v>2.4</c:v>
                </c:pt>
                <c:pt idx="12">
                  <c:v>2.4</c:v>
                </c:pt>
                <c:pt idx="13">
                  <c:v>2.4</c:v>
                </c:pt>
                <c:pt idx="14">
                  <c:v>2.4</c:v>
                </c:pt>
                <c:pt idx="15">
                  <c:v>2.4</c:v>
                </c:pt>
                <c:pt idx="16">
                  <c:v>2.4</c:v>
                </c:pt>
                <c:pt idx="17">
                  <c:v>2.4</c:v>
                </c:pt>
                <c:pt idx="18">
                  <c:v>2.4</c:v>
                </c:pt>
                <c:pt idx="19">
                  <c:v>2.4</c:v>
                </c:pt>
                <c:pt idx="20">
                  <c:v>2.4</c:v>
                </c:pt>
                <c:pt idx="21">
                  <c:v>2.4</c:v>
                </c:pt>
                <c:pt idx="22">
                  <c:v>2.4</c:v>
                </c:pt>
                <c:pt idx="23">
                  <c:v>2.4</c:v>
                </c:pt>
                <c:pt idx="24">
                  <c:v>2.4</c:v>
                </c:pt>
                <c:pt idx="25">
                  <c:v>2.4</c:v>
                </c:pt>
                <c:pt idx="26">
                  <c:v>2.4</c:v>
                </c:pt>
                <c:pt idx="27">
                  <c:v>2.4</c:v>
                </c:pt>
                <c:pt idx="28">
                  <c:v>2.4</c:v>
                </c:pt>
                <c:pt idx="29">
                  <c:v>2.4</c:v>
                </c:pt>
                <c:pt idx="30">
                  <c:v>2.4</c:v>
                </c:pt>
                <c:pt idx="31">
                  <c:v>2.4</c:v>
                </c:pt>
                <c:pt idx="32">
                  <c:v>2.4</c:v>
                </c:pt>
                <c:pt idx="33">
                  <c:v>3.8</c:v>
                </c:pt>
                <c:pt idx="34">
                  <c:v>3.8</c:v>
                </c:pt>
                <c:pt idx="35">
                  <c:v>3.8</c:v>
                </c:pt>
                <c:pt idx="36">
                  <c:v>3.8</c:v>
                </c:pt>
                <c:pt idx="37">
                  <c:v>3.8</c:v>
                </c:pt>
                <c:pt idx="38">
                  <c:v>3.8</c:v>
                </c:pt>
                <c:pt idx="39">
                  <c:v>3.8</c:v>
                </c:pt>
                <c:pt idx="40">
                  <c:v>3.8</c:v>
                </c:pt>
                <c:pt idx="41">
                  <c:v>3.8</c:v>
                </c:pt>
                <c:pt idx="42">
                  <c:v>3.8</c:v>
                </c:pt>
                <c:pt idx="43">
                  <c:v>3.8</c:v>
                </c:pt>
                <c:pt idx="44">
                  <c:v>3.8</c:v>
                </c:pt>
                <c:pt idx="45">
                  <c:v>3.8</c:v>
                </c:pt>
                <c:pt idx="46">
                  <c:v>3.8</c:v>
                </c:pt>
                <c:pt idx="47">
                  <c:v>3.8</c:v>
                </c:pt>
                <c:pt idx="48">
                  <c:v>3.8</c:v>
                </c:pt>
                <c:pt idx="49">
                  <c:v>3.8</c:v>
                </c:pt>
                <c:pt idx="50">
                  <c:v>3.8</c:v>
                </c:pt>
                <c:pt idx="51">
                  <c:v>3.8</c:v>
                </c:pt>
                <c:pt idx="52">
                  <c:v>3.8</c:v>
                </c:pt>
                <c:pt idx="53">
                  <c:v>3.8</c:v>
                </c:pt>
                <c:pt idx="54">
                  <c:v>3.8</c:v>
                </c:pt>
                <c:pt idx="55">
                  <c:v>3.8</c:v>
                </c:pt>
                <c:pt idx="56">
                  <c:v>3.8</c:v>
                </c:pt>
                <c:pt idx="57">
                  <c:v>3.8</c:v>
                </c:pt>
                <c:pt idx="58">
                  <c:v>3.8</c:v>
                </c:pt>
                <c:pt idx="59">
                  <c:v>3.8</c:v>
                </c:pt>
                <c:pt idx="60">
                  <c:v>3.8</c:v>
                </c:pt>
                <c:pt idx="61">
                  <c:v>8.6</c:v>
                </c:pt>
                <c:pt idx="62">
                  <c:v>8.6</c:v>
                </c:pt>
                <c:pt idx="63">
                  <c:v>8.6</c:v>
                </c:pt>
                <c:pt idx="64">
                  <c:v>8.6</c:v>
                </c:pt>
                <c:pt idx="65">
                  <c:v>8.6</c:v>
                </c:pt>
                <c:pt idx="66">
                  <c:v>8.6</c:v>
                </c:pt>
                <c:pt idx="67">
                  <c:v>8.6</c:v>
                </c:pt>
                <c:pt idx="68">
                  <c:v>8.6</c:v>
                </c:pt>
                <c:pt idx="69">
                  <c:v>9.8000000000000007</c:v>
                </c:pt>
                <c:pt idx="70">
                  <c:v>9.8000000000000007</c:v>
                </c:pt>
                <c:pt idx="71">
                  <c:v>9.8000000000000007</c:v>
                </c:pt>
                <c:pt idx="72">
                  <c:v>9.8000000000000007</c:v>
                </c:pt>
                <c:pt idx="73">
                  <c:v>9.8000000000000007</c:v>
                </c:pt>
                <c:pt idx="74">
                  <c:v>9.8000000000000007</c:v>
                </c:pt>
                <c:pt idx="75">
                  <c:v>9.8000000000000007</c:v>
                </c:pt>
                <c:pt idx="76">
                  <c:v>9.8000000000000007</c:v>
                </c:pt>
                <c:pt idx="77">
                  <c:v>9.8000000000000007</c:v>
                </c:pt>
                <c:pt idx="78">
                  <c:v>9.8000000000000007</c:v>
                </c:pt>
                <c:pt idx="79">
                  <c:v>9.8000000000000007</c:v>
                </c:pt>
                <c:pt idx="80">
                  <c:v>9.8000000000000007</c:v>
                </c:pt>
                <c:pt idx="81">
                  <c:v>9.8000000000000007</c:v>
                </c:pt>
                <c:pt idx="82">
                  <c:v>9.8000000000000007</c:v>
                </c:pt>
                <c:pt idx="83">
                  <c:v>9.8000000000000007</c:v>
                </c:pt>
                <c:pt idx="84">
                  <c:v>9.8000000000000007</c:v>
                </c:pt>
                <c:pt idx="85">
                  <c:v>9.8000000000000007</c:v>
                </c:pt>
                <c:pt idx="86">
                  <c:v>9.8000000000000007</c:v>
                </c:pt>
                <c:pt idx="87">
                  <c:v>9.8000000000000007</c:v>
                </c:pt>
                <c:pt idx="88">
                  <c:v>9.8000000000000007</c:v>
                </c:pt>
                <c:pt idx="89">
                  <c:v>9.8000000000000007</c:v>
                </c:pt>
                <c:pt idx="90">
                  <c:v>22.44</c:v>
                </c:pt>
                <c:pt idx="91">
                  <c:v>22.44</c:v>
                </c:pt>
                <c:pt idx="92">
                  <c:v>22.44</c:v>
                </c:pt>
                <c:pt idx="93">
                  <c:v>22.44</c:v>
                </c:pt>
                <c:pt idx="94">
                  <c:v>22.44</c:v>
                </c:pt>
                <c:pt idx="95">
                  <c:v>22.44</c:v>
                </c:pt>
                <c:pt idx="96">
                  <c:v>22.44</c:v>
                </c:pt>
                <c:pt idx="97">
                  <c:v>27</c:v>
                </c:pt>
                <c:pt idx="98">
                  <c:v>27</c:v>
                </c:pt>
                <c:pt idx="99">
                  <c:v>27</c:v>
                </c:pt>
                <c:pt idx="100">
                  <c:v>27</c:v>
                </c:pt>
                <c:pt idx="101">
                  <c:v>27.99</c:v>
                </c:pt>
                <c:pt idx="102">
                  <c:v>27.99</c:v>
                </c:pt>
                <c:pt idx="103">
                  <c:v>27.99</c:v>
                </c:pt>
                <c:pt idx="104">
                  <c:v>27.99</c:v>
                </c:pt>
                <c:pt idx="105">
                  <c:v>27.99</c:v>
                </c:pt>
                <c:pt idx="106">
                  <c:v>27.99</c:v>
                </c:pt>
                <c:pt idx="107">
                  <c:v>27.99</c:v>
                </c:pt>
                <c:pt idx="108">
                  <c:v>27.99</c:v>
                </c:pt>
                <c:pt idx="109">
                  <c:v>27.99</c:v>
                </c:pt>
                <c:pt idx="110">
                  <c:v>27.99</c:v>
                </c:pt>
                <c:pt idx="111">
                  <c:v>27.99</c:v>
                </c:pt>
                <c:pt idx="112">
                  <c:v>27.99</c:v>
                </c:pt>
                <c:pt idx="113">
                  <c:v>27.99</c:v>
                </c:pt>
                <c:pt idx="114">
                  <c:v>27.99</c:v>
                </c:pt>
                <c:pt idx="115">
                  <c:v>27.99</c:v>
                </c:pt>
                <c:pt idx="116">
                  <c:v>27.99</c:v>
                </c:pt>
                <c:pt idx="117">
                  <c:v>27.99</c:v>
                </c:pt>
                <c:pt idx="118">
                  <c:v>27.99</c:v>
                </c:pt>
                <c:pt idx="119">
                  <c:v>27.99</c:v>
                </c:pt>
                <c:pt idx="120">
                  <c:v>27.99</c:v>
                </c:pt>
                <c:pt idx="121">
                  <c:v>27.99</c:v>
                </c:pt>
                <c:pt idx="122">
                  <c:v>27.99</c:v>
                </c:pt>
                <c:pt idx="123">
                  <c:v>27.99</c:v>
                </c:pt>
                <c:pt idx="124">
                  <c:v>27.99</c:v>
                </c:pt>
                <c:pt idx="125">
                  <c:v>27.99</c:v>
                </c:pt>
                <c:pt idx="126">
                  <c:v>27.62</c:v>
                </c:pt>
                <c:pt idx="127">
                  <c:v>27.62</c:v>
                </c:pt>
                <c:pt idx="128">
                  <c:v>27.62</c:v>
                </c:pt>
                <c:pt idx="129">
                  <c:v>27.62</c:v>
                </c:pt>
                <c:pt idx="130">
                  <c:v>17.829999999999998</c:v>
                </c:pt>
                <c:pt idx="131">
                  <c:v>17.829999999999998</c:v>
                </c:pt>
                <c:pt idx="132">
                  <c:v>17.829999999999998</c:v>
                </c:pt>
                <c:pt idx="133">
                  <c:v>17.829999999999998</c:v>
                </c:pt>
                <c:pt idx="134">
                  <c:v>17.829999999999998</c:v>
                </c:pt>
                <c:pt idx="135">
                  <c:v>17.829999999999998</c:v>
                </c:pt>
                <c:pt idx="136">
                  <c:v>17.829999999999998</c:v>
                </c:pt>
                <c:pt idx="137">
                  <c:v>17.829999999999998</c:v>
                </c:pt>
                <c:pt idx="138">
                  <c:v>17.829999999999998</c:v>
                </c:pt>
                <c:pt idx="139">
                  <c:v>17.829999999999998</c:v>
                </c:pt>
                <c:pt idx="140">
                  <c:v>17.829999999999998</c:v>
                </c:pt>
                <c:pt idx="141">
                  <c:v>21.87</c:v>
                </c:pt>
                <c:pt idx="142">
                  <c:v>21.87</c:v>
                </c:pt>
                <c:pt idx="143">
                  <c:v>17.829999999999998</c:v>
                </c:pt>
                <c:pt idx="144">
                  <c:v>17.829999999999998</c:v>
                </c:pt>
                <c:pt idx="145">
                  <c:v>17.829999999999998</c:v>
                </c:pt>
                <c:pt idx="146">
                  <c:v>17.829999999999998</c:v>
                </c:pt>
                <c:pt idx="147">
                  <c:v>6.94</c:v>
                </c:pt>
                <c:pt idx="148">
                  <c:v>14.4</c:v>
                </c:pt>
                <c:pt idx="149">
                  <c:v>15.6</c:v>
                </c:pt>
                <c:pt idx="150">
                  <c:v>15.6</c:v>
                </c:pt>
                <c:pt idx="151">
                  <c:v>15.6</c:v>
                </c:pt>
                <c:pt idx="152">
                  <c:v>15.6</c:v>
                </c:pt>
                <c:pt idx="153">
                  <c:v>15.6</c:v>
                </c:pt>
                <c:pt idx="154">
                  <c:v>15.6</c:v>
                </c:pt>
                <c:pt idx="155">
                  <c:v>15.6</c:v>
                </c:pt>
                <c:pt idx="156">
                  <c:v>15.6</c:v>
                </c:pt>
                <c:pt idx="157">
                  <c:v>15.6</c:v>
                </c:pt>
                <c:pt idx="158">
                  <c:v>15.6</c:v>
                </c:pt>
                <c:pt idx="159">
                  <c:v>15.6</c:v>
                </c:pt>
                <c:pt idx="160">
                  <c:v>15.6</c:v>
                </c:pt>
                <c:pt idx="161">
                  <c:v>15.6</c:v>
                </c:pt>
                <c:pt idx="162">
                  <c:v>15.6</c:v>
                </c:pt>
                <c:pt idx="163">
                  <c:v>15.6</c:v>
                </c:pt>
                <c:pt idx="164">
                  <c:v>15.6</c:v>
                </c:pt>
                <c:pt idx="165">
                  <c:v>15.6</c:v>
                </c:pt>
                <c:pt idx="166">
                  <c:v>15.6</c:v>
                </c:pt>
                <c:pt idx="167">
                  <c:v>15.6</c:v>
                </c:pt>
                <c:pt idx="168">
                  <c:v>15.6</c:v>
                </c:pt>
                <c:pt idx="169">
                  <c:v>15.6</c:v>
                </c:pt>
                <c:pt idx="170">
                  <c:v>15.6</c:v>
                </c:pt>
                <c:pt idx="171">
                  <c:v>15.6</c:v>
                </c:pt>
                <c:pt idx="172">
                  <c:v>15.8</c:v>
                </c:pt>
                <c:pt idx="173">
                  <c:v>15.8</c:v>
                </c:pt>
                <c:pt idx="174">
                  <c:v>15.8</c:v>
                </c:pt>
                <c:pt idx="175">
                  <c:v>15.8</c:v>
                </c:pt>
                <c:pt idx="176">
                  <c:v>15.8</c:v>
                </c:pt>
                <c:pt idx="177">
                  <c:v>15.8</c:v>
                </c:pt>
                <c:pt idx="178">
                  <c:v>15.8</c:v>
                </c:pt>
                <c:pt idx="179">
                  <c:v>15.8</c:v>
                </c:pt>
                <c:pt idx="180">
                  <c:v>15.8</c:v>
                </c:pt>
                <c:pt idx="181">
                  <c:v>16.600000000000001</c:v>
                </c:pt>
                <c:pt idx="182">
                  <c:v>16.600000000000001</c:v>
                </c:pt>
                <c:pt idx="183">
                  <c:v>16.600000000000001</c:v>
                </c:pt>
                <c:pt idx="184">
                  <c:v>16.600000000000001</c:v>
                </c:pt>
                <c:pt idx="185">
                  <c:v>16.600000000000001</c:v>
                </c:pt>
                <c:pt idx="186">
                  <c:v>16.600000000000001</c:v>
                </c:pt>
                <c:pt idx="187">
                  <c:v>16.600000000000001</c:v>
                </c:pt>
                <c:pt idx="188">
                  <c:v>16.600000000000001</c:v>
                </c:pt>
                <c:pt idx="189">
                  <c:v>16.600000000000001</c:v>
                </c:pt>
                <c:pt idx="190">
                  <c:v>16.600000000000001</c:v>
                </c:pt>
                <c:pt idx="191">
                  <c:v>16.600000000000001</c:v>
                </c:pt>
                <c:pt idx="192">
                  <c:v>16.600000000000001</c:v>
                </c:pt>
                <c:pt idx="193">
                  <c:v>16.600000000000001</c:v>
                </c:pt>
                <c:pt idx="194">
                  <c:v>16.600000000000001</c:v>
                </c:pt>
                <c:pt idx="195">
                  <c:v>16.600000000000001</c:v>
                </c:pt>
                <c:pt idx="196">
                  <c:v>16.600000000000001</c:v>
                </c:pt>
                <c:pt idx="197">
                  <c:v>16.600000000000001</c:v>
                </c:pt>
                <c:pt idx="198">
                  <c:v>16.600000000000001</c:v>
                </c:pt>
                <c:pt idx="199">
                  <c:v>16.600000000000001</c:v>
                </c:pt>
                <c:pt idx="200">
                  <c:v>16.600000000000001</c:v>
                </c:pt>
                <c:pt idx="201">
                  <c:v>16.600000000000001</c:v>
                </c:pt>
                <c:pt idx="202">
                  <c:v>16.600000000000001</c:v>
                </c:pt>
                <c:pt idx="203">
                  <c:v>16.600000000000001</c:v>
                </c:pt>
                <c:pt idx="204">
                  <c:v>16.600000000000001</c:v>
                </c:pt>
                <c:pt idx="205">
                  <c:v>16.600000000000001</c:v>
                </c:pt>
                <c:pt idx="206">
                  <c:v>16.600000000000001</c:v>
                </c:pt>
                <c:pt idx="207">
                  <c:v>16.600000000000001</c:v>
                </c:pt>
                <c:pt idx="208">
                  <c:v>16.600000000000001</c:v>
                </c:pt>
                <c:pt idx="209">
                  <c:v>16.600000000000001</c:v>
                </c:pt>
                <c:pt idx="210">
                  <c:v>16.600000000000001</c:v>
                </c:pt>
                <c:pt idx="211">
                  <c:v>16.600000000000001</c:v>
                </c:pt>
                <c:pt idx="212">
                  <c:v>16.600000000000001</c:v>
                </c:pt>
                <c:pt idx="213">
                  <c:v>16.600000000000001</c:v>
                </c:pt>
                <c:pt idx="214">
                  <c:v>16.600000000000001</c:v>
                </c:pt>
                <c:pt idx="215">
                  <c:v>16.600000000000001</c:v>
                </c:pt>
                <c:pt idx="216">
                  <c:v>16.600000000000001</c:v>
                </c:pt>
                <c:pt idx="217">
                  <c:v>18.600000000000001</c:v>
                </c:pt>
                <c:pt idx="218">
                  <c:v>18.600000000000001</c:v>
                </c:pt>
                <c:pt idx="219">
                  <c:v>18.600000000000001</c:v>
                </c:pt>
                <c:pt idx="220">
                  <c:v>18.600000000000001</c:v>
                </c:pt>
                <c:pt idx="221">
                  <c:v>18.600000000000001</c:v>
                </c:pt>
                <c:pt idx="222">
                  <c:v>18.600000000000001</c:v>
                </c:pt>
                <c:pt idx="223">
                  <c:v>18.600000000000001</c:v>
                </c:pt>
                <c:pt idx="224">
                  <c:v>18.600000000000001</c:v>
                </c:pt>
                <c:pt idx="225">
                  <c:v>18.600000000000001</c:v>
                </c:pt>
                <c:pt idx="226">
                  <c:v>18.600000000000001</c:v>
                </c:pt>
                <c:pt idx="227">
                  <c:v>18.600000000000001</c:v>
                </c:pt>
                <c:pt idx="228">
                  <c:v>18.600000000000001</c:v>
                </c:pt>
                <c:pt idx="229">
                  <c:v>18.600000000000001</c:v>
                </c:pt>
                <c:pt idx="230">
                  <c:v>18.600000000000001</c:v>
                </c:pt>
                <c:pt idx="231">
                  <c:v>18.600000000000001</c:v>
                </c:pt>
                <c:pt idx="232">
                  <c:v>18.600000000000001</c:v>
                </c:pt>
                <c:pt idx="233">
                  <c:v>18.600000000000001</c:v>
                </c:pt>
                <c:pt idx="234">
                  <c:v>18.600000000000001</c:v>
                </c:pt>
                <c:pt idx="235">
                  <c:v>18.600000000000001</c:v>
                </c:pt>
                <c:pt idx="236">
                  <c:v>18.600000000000001</c:v>
                </c:pt>
                <c:pt idx="237">
                  <c:v>18.600000000000001</c:v>
                </c:pt>
                <c:pt idx="238">
                  <c:v>18.600000000000001</c:v>
                </c:pt>
                <c:pt idx="239">
                  <c:v>18.600000000000001</c:v>
                </c:pt>
                <c:pt idx="240">
                  <c:v>18.600000000000001</c:v>
                </c:pt>
                <c:pt idx="241">
                  <c:v>18.600000000000001</c:v>
                </c:pt>
                <c:pt idx="242">
                  <c:v>18.600000000000001</c:v>
                </c:pt>
                <c:pt idx="243">
                  <c:v>18.600000000000001</c:v>
                </c:pt>
                <c:pt idx="244">
                  <c:v>17.399999999999999</c:v>
                </c:pt>
                <c:pt idx="245">
                  <c:v>17.399999999999999</c:v>
                </c:pt>
                <c:pt idx="246">
                  <c:v>17.399999999999999</c:v>
                </c:pt>
                <c:pt idx="247">
                  <c:v>17.399999999999999</c:v>
                </c:pt>
                <c:pt idx="248">
                  <c:v>17.399999999999999</c:v>
                </c:pt>
                <c:pt idx="249">
                  <c:v>17.399999999999999</c:v>
                </c:pt>
                <c:pt idx="250">
                  <c:v>17.399999999999999</c:v>
                </c:pt>
                <c:pt idx="251">
                  <c:v>17.399999999999999</c:v>
                </c:pt>
                <c:pt idx="252">
                  <c:v>17.399999999999999</c:v>
                </c:pt>
                <c:pt idx="253">
                  <c:v>17.399999999999999</c:v>
                </c:pt>
                <c:pt idx="254">
                  <c:v>17.399999999999999</c:v>
                </c:pt>
                <c:pt idx="255">
                  <c:v>17.399999999999999</c:v>
                </c:pt>
                <c:pt idx="256">
                  <c:v>17.399999999999999</c:v>
                </c:pt>
                <c:pt idx="257">
                  <c:v>17.399999999999999</c:v>
                </c:pt>
                <c:pt idx="258">
                  <c:v>17.399999999999999</c:v>
                </c:pt>
                <c:pt idx="259">
                  <c:v>17.399999999999999</c:v>
                </c:pt>
                <c:pt idx="260">
                  <c:v>17.399999999999999</c:v>
                </c:pt>
                <c:pt idx="261">
                  <c:v>17.399999999999999</c:v>
                </c:pt>
                <c:pt idx="262">
                  <c:v>17.399999999999999</c:v>
                </c:pt>
                <c:pt idx="263">
                  <c:v>17.399999999999999</c:v>
                </c:pt>
                <c:pt idx="264">
                  <c:v>17.399999999999999</c:v>
                </c:pt>
                <c:pt idx="265">
                  <c:v>17.399999999999999</c:v>
                </c:pt>
                <c:pt idx="266">
                  <c:v>17.399999999999999</c:v>
                </c:pt>
                <c:pt idx="267">
                  <c:v>17.399999999999999</c:v>
                </c:pt>
                <c:pt idx="268">
                  <c:v>17.399999999999999</c:v>
                </c:pt>
                <c:pt idx="269">
                  <c:v>17.399999999999999</c:v>
                </c:pt>
                <c:pt idx="270">
                  <c:v>17.399999999999999</c:v>
                </c:pt>
                <c:pt idx="271">
                  <c:v>17.399999999999999</c:v>
                </c:pt>
                <c:pt idx="272">
                  <c:v>17.399999999999999</c:v>
                </c:pt>
                <c:pt idx="273">
                  <c:v>17.399999999999999</c:v>
                </c:pt>
                <c:pt idx="274">
                  <c:v>17.399999999999999</c:v>
                </c:pt>
                <c:pt idx="275">
                  <c:v>17.399999999999999</c:v>
                </c:pt>
                <c:pt idx="276">
                  <c:v>17.399999999999999</c:v>
                </c:pt>
                <c:pt idx="277">
                  <c:v>17.399999999999999</c:v>
                </c:pt>
                <c:pt idx="278">
                  <c:v>17.399999999999999</c:v>
                </c:pt>
                <c:pt idx="279">
                  <c:v>17.399999999999999</c:v>
                </c:pt>
                <c:pt idx="280">
                  <c:v>17.399999999999999</c:v>
                </c:pt>
                <c:pt idx="281">
                  <c:v>17.399999999999999</c:v>
                </c:pt>
                <c:pt idx="282">
                  <c:v>17.399999999999999</c:v>
                </c:pt>
                <c:pt idx="283">
                  <c:v>17.399999999999999</c:v>
                </c:pt>
                <c:pt idx="284">
                  <c:v>17.399999999999999</c:v>
                </c:pt>
                <c:pt idx="285">
                  <c:v>17.975490314033927</c:v>
                </c:pt>
                <c:pt idx="286">
                  <c:v>17.975490314033927</c:v>
                </c:pt>
                <c:pt idx="287">
                  <c:v>17.975490314033927</c:v>
                </c:pt>
                <c:pt idx="288">
                  <c:v>17.975490314033927</c:v>
                </c:pt>
                <c:pt idx="289">
                  <c:v>17.975490314033927</c:v>
                </c:pt>
                <c:pt idx="290">
                  <c:v>17.975490314033927</c:v>
                </c:pt>
                <c:pt idx="291">
                  <c:v>17.975490314033927</c:v>
                </c:pt>
                <c:pt idx="292">
                  <c:v>17.975490314033927</c:v>
                </c:pt>
                <c:pt idx="293">
                  <c:v>17.975490314033927</c:v>
                </c:pt>
                <c:pt idx="294">
                  <c:v>17.975490314033927</c:v>
                </c:pt>
                <c:pt idx="295">
                  <c:v>17.975490314033927</c:v>
                </c:pt>
                <c:pt idx="296">
                  <c:v>17.975490314033927</c:v>
                </c:pt>
                <c:pt idx="297">
                  <c:v>17.975490314033927</c:v>
                </c:pt>
                <c:pt idx="298">
                  <c:v>17.975490314033927</c:v>
                </c:pt>
                <c:pt idx="299">
                  <c:v>17.975490314033927</c:v>
                </c:pt>
                <c:pt idx="300">
                  <c:v>17.975490314033927</c:v>
                </c:pt>
                <c:pt idx="301">
                  <c:v>17.899999999999999</c:v>
                </c:pt>
                <c:pt idx="302">
                  <c:v>17.899999999999999</c:v>
                </c:pt>
                <c:pt idx="303">
                  <c:v>17.899999999999999</c:v>
                </c:pt>
                <c:pt idx="304">
                  <c:v>17.899999999999999</c:v>
                </c:pt>
                <c:pt idx="305">
                  <c:v>17.899999999999999</c:v>
                </c:pt>
                <c:pt idx="306">
                  <c:v>17.899999999999999</c:v>
                </c:pt>
                <c:pt idx="307">
                  <c:v>17.899999999999999</c:v>
                </c:pt>
                <c:pt idx="308">
                  <c:v>17.899999999999999</c:v>
                </c:pt>
                <c:pt idx="309">
                  <c:v>17.899999999999999</c:v>
                </c:pt>
                <c:pt idx="310">
                  <c:v>17.899999999999999</c:v>
                </c:pt>
                <c:pt idx="311">
                  <c:v>17.899999999999999</c:v>
                </c:pt>
                <c:pt idx="312">
                  <c:v>17.899999999999999</c:v>
                </c:pt>
                <c:pt idx="313">
                  <c:v>17.899999999999999</c:v>
                </c:pt>
                <c:pt idx="314">
                  <c:v>17.899999999999999</c:v>
                </c:pt>
                <c:pt idx="315">
                  <c:v>17.899999999999999</c:v>
                </c:pt>
                <c:pt idx="316">
                  <c:v>17.899999999999999</c:v>
                </c:pt>
                <c:pt idx="317">
                  <c:v>17.899999999999999</c:v>
                </c:pt>
                <c:pt idx="318">
                  <c:v>17.899999999999999</c:v>
                </c:pt>
                <c:pt idx="319" formatCode="General">
                  <c:v>16.8</c:v>
                </c:pt>
                <c:pt idx="320" formatCode="General">
                  <c:v>16.8</c:v>
                </c:pt>
                <c:pt idx="321" formatCode="General">
                  <c:v>16.8</c:v>
                </c:pt>
                <c:pt idx="322" formatCode="General">
                  <c:v>16.8</c:v>
                </c:pt>
                <c:pt idx="323" formatCode="General">
                  <c:v>16.8</c:v>
                </c:pt>
                <c:pt idx="324" formatCode="General">
                  <c:v>16.8</c:v>
                </c:pt>
                <c:pt idx="325" formatCode="General">
                  <c:v>16.8</c:v>
                </c:pt>
                <c:pt idx="326" formatCode="General">
                  <c:v>16.8</c:v>
                </c:pt>
                <c:pt idx="327" formatCode="General">
                  <c:v>16.8</c:v>
                </c:pt>
                <c:pt idx="328" formatCode="General">
                  <c:v>16.8</c:v>
                </c:pt>
                <c:pt idx="329" formatCode="General">
                  <c:v>16.8</c:v>
                </c:pt>
                <c:pt idx="330" formatCode="General">
                  <c:v>16.8</c:v>
                </c:pt>
                <c:pt idx="331" formatCode="General">
                  <c:v>16.8</c:v>
                </c:pt>
                <c:pt idx="332" formatCode="General">
                  <c:v>16.8</c:v>
                </c:pt>
                <c:pt idx="333" formatCode="General">
                  <c:v>16.8</c:v>
                </c:pt>
                <c:pt idx="334" formatCode="General">
                  <c:v>16.8</c:v>
                </c:pt>
                <c:pt idx="335" formatCode="General">
                  <c:v>16.8</c:v>
                </c:pt>
                <c:pt idx="336" formatCode="General">
                  <c:v>16.8</c:v>
                </c:pt>
                <c:pt idx="337" formatCode="General">
                  <c:v>16.8</c:v>
                </c:pt>
                <c:pt idx="338" formatCode="General">
                  <c:v>16.8</c:v>
                </c:pt>
                <c:pt idx="339" formatCode="General">
                  <c:v>16.8</c:v>
                </c:pt>
                <c:pt idx="340" formatCode="General">
                  <c:v>16.8</c:v>
                </c:pt>
                <c:pt idx="341" formatCode="General">
                  <c:v>16.8</c:v>
                </c:pt>
                <c:pt idx="342" formatCode="General">
                  <c:v>16.8</c:v>
                </c:pt>
                <c:pt idx="343" formatCode="General">
                  <c:v>16.8</c:v>
                </c:pt>
                <c:pt idx="344" formatCode="General">
                  <c:v>16.8</c:v>
                </c:pt>
                <c:pt idx="345" formatCode="General">
                  <c:v>16.8</c:v>
                </c:pt>
                <c:pt idx="346" formatCode="General">
                  <c:v>16.8</c:v>
                </c:pt>
                <c:pt idx="347" formatCode="General">
                  <c:v>16.8</c:v>
                </c:pt>
                <c:pt idx="348" formatCode="General">
                  <c:v>16.8</c:v>
                </c:pt>
                <c:pt idx="349" formatCode="General">
                  <c:v>16.8</c:v>
                </c:pt>
                <c:pt idx="350" formatCode="General">
                  <c:v>16.8</c:v>
                </c:pt>
                <c:pt idx="351" formatCode="General">
                  <c:v>16.8</c:v>
                </c:pt>
                <c:pt idx="352" formatCode="General">
                  <c:v>16.8</c:v>
                </c:pt>
                <c:pt idx="353" formatCode="General">
                  <c:v>16.8</c:v>
                </c:pt>
                <c:pt idx="354" formatCode="General">
                  <c:v>16.8</c:v>
                </c:pt>
                <c:pt idx="355" formatCode="General">
                  <c:v>16.8</c:v>
                </c:pt>
                <c:pt idx="356" formatCode="General">
                  <c:v>16.8</c:v>
                </c:pt>
                <c:pt idx="357" formatCode="General">
                  <c:v>16.8</c:v>
                </c:pt>
                <c:pt idx="358" formatCode="General">
                  <c:v>16.8</c:v>
                </c:pt>
                <c:pt idx="359" formatCode="General">
                  <c:v>16.8</c:v>
                </c:pt>
                <c:pt idx="360" formatCode="General">
                  <c:v>16.8</c:v>
                </c:pt>
                <c:pt idx="361" formatCode="General">
                  <c:v>16.8</c:v>
                </c:pt>
                <c:pt idx="362" formatCode="General">
                  <c:v>16.8</c:v>
                </c:pt>
                <c:pt idx="363" formatCode="General">
                  <c:v>16.8</c:v>
                </c:pt>
                <c:pt idx="364" formatCode="General">
                  <c:v>16.8</c:v>
                </c:pt>
                <c:pt idx="365" formatCode="General">
                  <c:v>16.8</c:v>
                </c:pt>
                <c:pt idx="366" formatCode="General">
                  <c:v>16.8</c:v>
                </c:pt>
                <c:pt idx="367" formatCode="General">
                  <c:v>16.8</c:v>
                </c:pt>
                <c:pt idx="368" formatCode="General">
                  <c:v>16.8</c:v>
                </c:pt>
                <c:pt idx="369" formatCode="General">
                  <c:v>16.8</c:v>
                </c:pt>
                <c:pt idx="370" formatCode="General">
                  <c:v>16.8</c:v>
                </c:pt>
                <c:pt idx="371" formatCode="General">
                  <c:v>16.8</c:v>
                </c:pt>
                <c:pt idx="372" formatCode="General">
                  <c:v>16.8</c:v>
                </c:pt>
                <c:pt idx="373" formatCode="General">
                  <c:v>16.8</c:v>
                </c:pt>
                <c:pt idx="374" formatCode="General">
                  <c:v>16.8</c:v>
                </c:pt>
                <c:pt idx="375" formatCode="General">
                  <c:v>16.8</c:v>
                </c:pt>
                <c:pt idx="376" formatCode="General">
                  <c:v>16.8</c:v>
                </c:pt>
                <c:pt idx="377" formatCode="General">
                  <c:v>16.8</c:v>
                </c:pt>
                <c:pt idx="378" formatCode="General">
                  <c:v>16.8</c:v>
                </c:pt>
                <c:pt idx="379" formatCode="General">
                  <c:v>16.8</c:v>
                </c:pt>
                <c:pt idx="380" formatCode="General">
                  <c:v>16.8</c:v>
                </c:pt>
                <c:pt idx="381" formatCode="General">
                  <c:v>16.8</c:v>
                </c:pt>
                <c:pt idx="382" formatCode="General">
                  <c:v>16.899999999999999</c:v>
                </c:pt>
              </c:numCache>
            </c:numRef>
          </c:val>
          <c:smooth val="0"/>
          <c:extLst>
            <c:ext xmlns:c16="http://schemas.microsoft.com/office/drawing/2014/chart" uri="{C3380CC4-5D6E-409C-BE32-E72D297353CC}">
              <c16:uniqueId val="{00000001-E7B1-4AC6-A8A6-E589FB534F3E}"/>
            </c:ext>
          </c:extLst>
        </c:ser>
        <c:dLbls>
          <c:showLegendKey val="0"/>
          <c:showVal val="0"/>
          <c:showCatName val="0"/>
          <c:showSerName val="0"/>
          <c:showPercent val="0"/>
          <c:showBubbleSize val="0"/>
        </c:dLbls>
        <c:marker val="1"/>
        <c:smooth val="0"/>
        <c:axId val="1333037728"/>
        <c:axId val="1333038208"/>
      </c:lineChart>
      <c:dateAx>
        <c:axId val="1333037728"/>
        <c:scaling>
          <c:orientation val="minMax"/>
          <c:min val="45658"/>
        </c:scaling>
        <c:delete val="0"/>
        <c:axPos val="b"/>
        <c:numFmt formatCode="[$-409]mmm\-yy;@" sourceLinked="0"/>
        <c:majorTickMark val="none"/>
        <c:minorTickMark val="none"/>
        <c:tickLblPos val="low"/>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1333038208"/>
        <c:crosses val="autoZero"/>
        <c:auto val="1"/>
        <c:lblOffset val="100"/>
        <c:baseTimeUnit val="days"/>
        <c:majorUnit val="2"/>
        <c:majorTimeUnit val="months"/>
      </c:dateAx>
      <c:valAx>
        <c:axId val="1333038208"/>
        <c:scaling>
          <c:orientation val="minMax"/>
        </c:scaling>
        <c:delete val="0"/>
        <c:axPos val="l"/>
        <c:majorGridlines>
          <c:spPr>
            <a:ln w="3175" cap="flat" cmpd="sng" algn="ctr">
              <a:solidFill>
                <a:srgbClr val="000000"/>
              </a:solidFill>
              <a:prstDash val="solid"/>
              <a:round/>
              <a:headEnd type="none" w="med" len="med"/>
              <a:tailEnd type="none" w="med" len="med"/>
            </a:ln>
            <a:effectLst/>
          </c:spPr>
        </c:majorGridlines>
        <c:numFmt formatCode="#,##0" sourceLinked="0"/>
        <c:majorTickMark val="none"/>
        <c:minorTickMark val="none"/>
        <c:tickLblPos val="nextTo"/>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1333037728"/>
        <c:crosses val="autoZero"/>
        <c:crossBetween val="between"/>
      </c:valAx>
      <c:valAx>
        <c:axId val="1505534367"/>
        <c:scaling>
          <c:orientation val="minMax"/>
          <c:max val="1"/>
        </c:scaling>
        <c:delete val="0"/>
        <c:axPos val="r"/>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1505531487"/>
        <c:crosses val="max"/>
        <c:crossBetween val="between"/>
      </c:valAx>
      <c:dateAx>
        <c:axId val="1505531487"/>
        <c:scaling>
          <c:orientation val="minMax"/>
        </c:scaling>
        <c:delete val="1"/>
        <c:axPos val="b"/>
        <c:numFmt formatCode="m/d/yyyy" sourceLinked="1"/>
        <c:majorTickMark val="out"/>
        <c:minorTickMark val="none"/>
        <c:tickLblPos val="nextTo"/>
        <c:crossAx val="1505534367"/>
        <c:crosses val="autoZero"/>
        <c:auto val="1"/>
        <c:lblOffset val="100"/>
        <c:baseTimeUnit val="days"/>
      </c:dateAx>
      <c:spPr>
        <a:solidFill>
          <a:srgbClr val="FFFFFF"/>
        </a:solid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00">
          <a:solidFill>
            <a:srgbClr val="000000"/>
          </a:solidFill>
          <a:latin typeface="+mn-lt"/>
          <a:ea typeface="+mn-ea"/>
        </a:defRPr>
      </a:pPr>
      <a:endParaRPr lang="en-US"/>
    </a:p>
  </c:txPr>
  <c:externalData r:id="rId4">
    <c:autoUpdate val="0"/>
  </c:externalData>
  <c:userShapes r:id="rId5"/>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4787307380373078E-2"/>
          <c:y val="0.10981235224586289"/>
          <c:w val="0.86435115377533589"/>
          <c:h val="0.71596914928463407"/>
        </c:manualLayout>
      </c:layout>
      <c:barChart>
        <c:barDir val="col"/>
        <c:grouping val="stacked"/>
        <c:varyColors val="0"/>
        <c:ser>
          <c:idx val="0"/>
          <c:order val="0"/>
          <c:tx>
            <c:strRef>
              <c:f>US!$L$2</c:f>
              <c:strCache>
                <c:ptCount val="1"/>
                <c:pt idx="0">
                  <c:v>OBBA</c:v>
                </c:pt>
              </c:strCache>
            </c:strRef>
          </c:tx>
          <c:spPr>
            <a:solidFill>
              <a:srgbClr val="8E8D83"/>
            </a:solidFill>
            <a:ln>
              <a:noFill/>
            </a:ln>
            <a:effectLst/>
          </c:spPr>
          <c:invertIfNegative val="0"/>
          <c:cat>
            <c:numRef>
              <c:f>US!$B$3:$B$6</c:f>
              <c:numCache>
                <c:formatCode>General</c:formatCode>
                <c:ptCount val="4"/>
                <c:pt idx="0">
                  <c:v>2023</c:v>
                </c:pt>
                <c:pt idx="1">
                  <c:v>2024</c:v>
                </c:pt>
                <c:pt idx="2">
                  <c:v>2025</c:v>
                </c:pt>
                <c:pt idx="3">
                  <c:v>2026</c:v>
                </c:pt>
              </c:numCache>
              <c:extLst/>
            </c:numRef>
          </c:cat>
          <c:val>
            <c:numRef>
              <c:f>US!$L$3:$L$6</c:f>
              <c:numCache>
                <c:formatCode>General</c:formatCode>
                <c:ptCount val="4"/>
                <c:pt idx="2" formatCode="0.0000">
                  <c:v>3.4765133239006533E-2</c:v>
                </c:pt>
                <c:pt idx="3" formatCode="0.0000">
                  <c:v>0.41516231281055205</c:v>
                </c:pt>
              </c:numCache>
              <c:extLst/>
            </c:numRef>
          </c:val>
          <c:extLst>
            <c:ext xmlns:c16="http://schemas.microsoft.com/office/drawing/2014/chart" uri="{C3380CC4-5D6E-409C-BE32-E72D297353CC}">
              <c16:uniqueId val="{00000000-F486-44D3-879E-C64B700EFA7B}"/>
            </c:ext>
          </c:extLst>
        </c:ser>
        <c:ser>
          <c:idx val="1"/>
          <c:order val="1"/>
          <c:tx>
            <c:strRef>
              <c:f>US!$M$2</c:f>
              <c:strCache>
                <c:ptCount val="1"/>
                <c:pt idx="0">
                  <c:v>Others</c:v>
                </c:pt>
              </c:strCache>
            </c:strRef>
          </c:tx>
          <c:spPr>
            <a:solidFill>
              <a:srgbClr val="BD000C"/>
            </a:solidFill>
            <a:ln>
              <a:noFill/>
            </a:ln>
            <a:effectLst/>
          </c:spPr>
          <c:invertIfNegative val="0"/>
          <c:cat>
            <c:numRef>
              <c:f>US!$B$3:$B$6</c:f>
              <c:numCache>
                <c:formatCode>General</c:formatCode>
                <c:ptCount val="4"/>
                <c:pt idx="0">
                  <c:v>2023</c:v>
                </c:pt>
                <c:pt idx="1">
                  <c:v>2024</c:v>
                </c:pt>
                <c:pt idx="2">
                  <c:v>2025</c:v>
                </c:pt>
                <c:pt idx="3">
                  <c:v>2026</c:v>
                </c:pt>
              </c:numCache>
              <c:extLst/>
            </c:numRef>
          </c:cat>
          <c:val>
            <c:numRef>
              <c:f>US!$M$3:$M$6</c:f>
              <c:numCache>
                <c:formatCode>0.00</c:formatCode>
                <c:ptCount val="4"/>
                <c:pt idx="0">
                  <c:v>1.1495164466380976</c:v>
                </c:pt>
                <c:pt idx="1">
                  <c:v>0.45946608655350735</c:v>
                </c:pt>
                <c:pt idx="2">
                  <c:v>-0.28049505689292242</c:v>
                </c:pt>
                <c:pt idx="3">
                  <c:v>-9.760699484065033E-2</c:v>
                </c:pt>
              </c:numCache>
              <c:extLst/>
            </c:numRef>
          </c:val>
          <c:extLst>
            <c:ext xmlns:c16="http://schemas.microsoft.com/office/drawing/2014/chart" uri="{C3380CC4-5D6E-409C-BE32-E72D297353CC}">
              <c16:uniqueId val="{00000001-F486-44D3-879E-C64B700EFA7B}"/>
            </c:ext>
          </c:extLst>
        </c:ser>
        <c:dLbls>
          <c:showLegendKey val="0"/>
          <c:showVal val="0"/>
          <c:showCatName val="0"/>
          <c:showSerName val="0"/>
          <c:showPercent val="0"/>
          <c:showBubbleSize val="0"/>
        </c:dLbls>
        <c:gapWidth val="50"/>
        <c:overlap val="100"/>
        <c:axId val="749817760"/>
        <c:axId val="1552379871"/>
      </c:barChart>
      <c:lineChart>
        <c:grouping val="standard"/>
        <c:varyColors val="0"/>
        <c:ser>
          <c:idx val="2"/>
          <c:order val="2"/>
          <c:tx>
            <c:strRef>
              <c:f>US!$N$2</c:f>
              <c:strCache>
                <c:ptCount val="1"/>
                <c:pt idx="0">
                  <c:v>Total</c:v>
                </c:pt>
              </c:strCache>
            </c:strRef>
          </c:tx>
          <c:spPr>
            <a:ln w="28575" cap="rnd" cmpd="sng" algn="ctr">
              <a:solidFill>
                <a:srgbClr val="B98E2C"/>
              </a:solidFill>
              <a:prstDash val="solid"/>
              <a:round/>
              <a:headEnd type="none" w="med" len="med"/>
              <a:tailEnd type="none" w="med" len="med"/>
            </a:ln>
            <a:effectLst/>
          </c:spPr>
          <c:marker>
            <c:symbol val="none"/>
          </c:marker>
          <c:cat>
            <c:numRef>
              <c:f>US!$B$3:$B$6</c:f>
              <c:numCache>
                <c:formatCode>General</c:formatCode>
                <c:ptCount val="4"/>
                <c:pt idx="0">
                  <c:v>2023</c:v>
                </c:pt>
                <c:pt idx="1">
                  <c:v>2024</c:v>
                </c:pt>
                <c:pt idx="2">
                  <c:v>2025</c:v>
                </c:pt>
                <c:pt idx="3">
                  <c:v>2026</c:v>
                </c:pt>
              </c:numCache>
              <c:extLst/>
            </c:numRef>
          </c:cat>
          <c:val>
            <c:numRef>
              <c:f>US!$N$3:$N$6</c:f>
              <c:numCache>
                <c:formatCode>0.00</c:formatCode>
                <c:ptCount val="4"/>
                <c:pt idx="0">
                  <c:v>1.1495164466380976</c:v>
                </c:pt>
                <c:pt idx="1">
                  <c:v>0.45946608655350735</c:v>
                </c:pt>
                <c:pt idx="2">
                  <c:v>-0.24572992365391588</c:v>
                </c:pt>
                <c:pt idx="3">
                  <c:v>0.31755531796990172</c:v>
                </c:pt>
              </c:numCache>
              <c:extLst/>
            </c:numRef>
          </c:val>
          <c:smooth val="0"/>
          <c:extLst>
            <c:ext xmlns:c16="http://schemas.microsoft.com/office/drawing/2014/chart" uri="{C3380CC4-5D6E-409C-BE32-E72D297353CC}">
              <c16:uniqueId val="{00000002-F486-44D3-879E-C64B700EFA7B}"/>
            </c:ext>
          </c:extLst>
        </c:ser>
        <c:dLbls>
          <c:showLegendKey val="0"/>
          <c:showVal val="0"/>
          <c:showCatName val="0"/>
          <c:showSerName val="0"/>
          <c:showPercent val="0"/>
          <c:showBubbleSize val="0"/>
        </c:dLbls>
        <c:marker val="1"/>
        <c:smooth val="0"/>
        <c:axId val="749817760"/>
        <c:axId val="1552379871"/>
      </c:lineChart>
      <c:catAx>
        <c:axId val="749817760"/>
        <c:scaling>
          <c:orientation val="minMax"/>
        </c:scaling>
        <c:delete val="0"/>
        <c:axPos val="b"/>
        <c:numFmt formatCode="General" sourceLinked="1"/>
        <c:majorTickMark val="none"/>
        <c:minorTickMark val="none"/>
        <c:tickLblPos val="low"/>
        <c:spPr>
          <a:noFill/>
          <a:ln w="6350" cap="flat" cmpd="sng" algn="ctr">
            <a:solidFill>
              <a:srgbClr val="ECEBE4"/>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52379871"/>
        <c:crosses val="autoZero"/>
        <c:auto val="1"/>
        <c:lblAlgn val="ctr"/>
        <c:lblOffset val="100"/>
        <c:noMultiLvlLbl val="0"/>
      </c:catAx>
      <c:valAx>
        <c:axId val="1552379871"/>
        <c:scaling>
          <c:orientation val="minMax"/>
          <c:max val="1.4"/>
          <c:min val="-0.4"/>
        </c:scaling>
        <c:delete val="0"/>
        <c:axPos val="l"/>
        <c:majorGridlines>
          <c:spPr>
            <a:ln w="6350" cap="flat" cmpd="sng" algn="ctr">
              <a:solidFill>
                <a:srgbClr val="ECEBE4"/>
              </a:solidFill>
              <a:prstDash val="dash"/>
              <a:round/>
              <a:headEnd type="none" w="med" len="med"/>
              <a:tailEnd type="none" w="med" len="me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49817760"/>
        <c:crosses val="autoZero"/>
        <c:crossBetween val="between"/>
      </c:valAx>
      <c:spPr>
        <a:noFill/>
        <a:ln>
          <a:noFill/>
        </a:ln>
        <a:effectLst/>
      </c:spPr>
    </c:plotArea>
    <c:legend>
      <c:legendPos val="b"/>
      <c:layout>
        <c:manualLayout>
          <c:xMode val="edge"/>
          <c:yMode val="edge"/>
          <c:x val="0.27606062449310625"/>
          <c:y val="0.92323345153664305"/>
          <c:w val="0.45979602595296026"/>
          <c:h val="7.6766588491619409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25400" cap="flat" cmpd="sng" algn="ctr">
      <a:noFill/>
      <a:round/>
    </a:ln>
    <a:effectLst/>
  </c:spPr>
  <c:txPr>
    <a:bodyPr/>
    <a:lstStyle/>
    <a:p>
      <a:pPr>
        <a:defRPr sz="1100" baseline="0">
          <a:solidFill>
            <a:schemeClr val="tx1"/>
          </a:solidFill>
          <a:latin typeface="+mn-lt"/>
        </a:defRPr>
      </a:pPr>
      <a:endParaRPr lang="en-US"/>
    </a:p>
  </c:txPr>
  <c:externalData r:id="rId4">
    <c:autoUpdate val="0"/>
  </c:externalData>
  <c:userShapes r:id="rId5"/>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090332458442691E-2"/>
          <c:y val="7.2928331875182273E-2"/>
          <c:w val="0.89202077865266827"/>
          <c:h val="0.81149278215223097"/>
        </c:manualLayout>
      </c:layout>
      <c:barChart>
        <c:barDir val="col"/>
        <c:grouping val="clustered"/>
        <c:varyColors val="0"/>
        <c:ser>
          <c:idx val="1"/>
          <c:order val="1"/>
          <c:spPr>
            <a:solidFill>
              <a:schemeClr val="bg1">
                <a:lumMod val="75000"/>
              </a:schemeClr>
            </a:solidFill>
            <a:ln>
              <a:solidFill>
                <a:schemeClr val="bg1">
                  <a:lumMod val="75000"/>
                </a:schemeClr>
              </a:solidFill>
            </a:ln>
            <a:effectLst/>
          </c:spPr>
          <c:invertIfNegative val="0"/>
          <c:cat>
            <c:numRef>
              <c:f>'Fig. 1'!$A$6:$A$308</c:f>
              <c:numCache>
                <c:formatCode>m/d/yyyy</c:formatCode>
                <c:ptCount val="303"/>
                <c:pt idx="0">
                  <c:v>45659</c:v>
                </c:pt>
                <c:pt idx="1">
                  <c:v>45660</c:v>
                </c:pt>
                <c:pt idx="2">
                  <c:v>45661</c:v>
                </c:pt>
                <c:pt idx="3">
                  <c:v>45662</c:v>
                </c:pt>
                <c:pt idx="4">
                  <c:v>45663</c:v>
                </c:pt>
                <c:pt idx="5">
                  <c:v>45664</c:v>
                </c:pt>
                <c:pt idx="6">
                  <c:v>45665</c:v>
                </c:pt>
                <c:pt idx="7">
                  <c:v>45666</c:v>
                </c:pt>
                <c:pt idx="8">
                  <c:v>45667</c:v>
                </c:pt>
                <c:pt idx="9">
                  <c:v>45668</c:v>
                </c:pt>
                <c:pt idx="10">
                  <c:v>45669</c:v>
                </c:pt>
                <c:pt idx="11">
                  <c:v>45670</c:v>
                </c:pt>
                <c:pt idx="12">
                  <c:v>45671</c:v>
                </c:pt>
                <c:pt idx="13">
                  <c:v>45672</c:v>
                </c:pt>
                <c:pt idx="14">
                  <c:v>45673</c:v>
                </c:pt>
                <c:pt idx="15">
                  <c:v>45674</c:v>
                </c:pt>
                <c:pt idx="16">
                  <c:v>45675</c:v>
                </c:pt>
                <c:pt idx="17">
                  <c:v>45676</c:v>
                </c:pt>
                <c:pt idx="18">
                  <c:v>45677</c:v>
                </c:pt>
                <c:pt idx="19">
                  <c:v>45678</c:v>
                </c:pt>
                <c:pt idx="20">
                  <c:v>45679</c:v>
                </c:pt>
                <c:pt idx="21">
                  <c:v>45680</c:v>
                </c:pt>
                <c:pt idx="22">
                  <c:v>45681</c:v>
                </c:pt>
                <c:pt idx="23">
                  <c:v>45682</c:v>
                </c:pt>
                <c:pt idx="24">
                  <c:v>45683</c:v>
                </c:pt>
                <c:pt idx="25">
                  <c:v>45684</c:v>
                </c:pt>
                <c:pt idx="26">
                  <c:v>45685</c:v>
                </c:pt>
                <c:pt idx="27">
                  <c:v>45686</c:v>
                </c:pt>
                <c:pt idx="28">
                  <c:v>45687</c:v>
                </c:pt>
                <c:pt idx="29">
                  <c:v>45688</c:v>
                </c:pt>
                <c:pt idx="30">
                  <c:v>45689</c:v>
                </c:pt>
                <c:pt idx="31">
                  <c:v>45690</c:v>
                </c:pt>
                <c:pt idx="32">
                  <c:v>45691</c:v>
                </c:pt>
                <c:pt idx="33">
                  <c:v>45692</c:v>
                </c:pt>
                <c:pt idx="34">
                  <c:v>45693</c:v>
                </c:pt>
                <c:pt idx="35">
                  <c:v>45694</c:v>
                </c:pt>
                <c:pt idx="36">
                  <c:v>45695</c:v>
                </c:pt>
                <c:pt idx="37">
                  <c:v>45696</c:v>
                </c:pt>
                <c:pt idx="38">
                  <c:v>45697</c:v>
                </c:pt>
                <c:pt idx="39">
                  <c:v>45698</c:v>
                </c:pt>
                <c:pt idx="40">
                  <c:v>45699</c:v>
                </c:pt>
                <c:pt idx="41">
                  <c:v>45700</c:v>
                </c:pt>
                <c:pt idx="42">
                  <c:v>45701</c:v>
                </c:pt>
                <c:pt idx="43">
                  <c:v>45702</c:v>
                </c:pt>
                <c:pt idx="44">
                  <c:v>45703</c:v>
                </c:pt>
                <c:pt idx="45">
                  <c:v>45704</c:v>
                </c:pt>
                <c:pt idx="46">
                  <c:v>45705</c:v>
                </c:pt>
                <c:pt idx="47">
                  <c:v>45706</c:v>
                </c:pt>
                <c:pt idx="48">
                  <c:v>45707</c:v>
                </c:pt>
                <c:pt idx="49">
                  <c:v>45708</c:v>
                </c:pt>
                <c:pt idx="50">
                  <c:v>45709</c:v>
                </c:pt>
                <c:pt idx="51">
                  <c:v>45710</c:v>
                </c:pt>
                <c:pt idx="52">
                  <c:v>45711</c:v>
                </c:pt>
                <c:pt idx="53">
                  <c:v>45712</c:v>
                </c:pt>
                <c:pt idx="54">
                  <c:v>45713</c:v>
                </c:pt>
                <c:pt idx="55">
                  <c:v>45714</c:v>
                </c:pt>
                <c:pt idx="56">
                  <c:v>45715</c:v>
                </c:pt>
                <c:pt idx="57">
                  <c:v>45716</c:v>
                </c:pt>
                <c:pt idx="58">
                  <c:v>45717</c:v>
                </c:pt>
                <c:pt idx="59">
                  <c:v>45718</c:v>
                </c:pt>
                <c:pt idx="60">
                  <c:v>45719</c:v>
                </c:pt>
                <c:pt idx="61">
                  <c:v>45720</c:v>
                </c:pt>
                <c:pt idx="62">
                  <c:v>45721</c:v>
                </c:pt>
                <c:pt idx="63">
                  <c:v>45722</c:v>
                </c:pt>
                <c:pt idx="64">
                  <c:v>45723</c:v>
                </c:pt>
                <c:pt idx="65">
                  <c:v>45724</c:v>
                </c:pt>
                <c:pt idx="66">
                  <c:v>45725</c:v>
                </c:pt>
                <c:pt idx="67">
                  <c:v>45726</c:v>
                </c:pt>
                <c:pt idx="68">
                  <c:v>45727</c:v>
                </c:pt>
                <c:pt idx="69">
                  <c:v>45728</c:v>
                </c:pt>
                <c:pt idx="70">
                  <c:v>45729</c:v>
                </c:pt>
                <c:pt idx="71">
                  <c:v>45730</c:v>
                </c:pt>
                <c:pt idx="72">
                  <c:v>45731</c:v>
                </c:pt>
                <c:pt idx="73">
                  <c:v>45732</c:v>
                </c:pt>
                <c:pt idx="74">
                  <c:v>45733</c:v>
                </c:pt>
                <c:pt idx="75">
                  <c:v>45734</c:v>
                </c:pt>
                <c:pt idx="76">
                  <c:v>45735</c:v>
                </c:pt>
                <c:pt idx="77">
                  <c:v>45736</c:v>
                </c:pt>
                <c:pt idx="78">
                  <c:v>45737</c:v>
                </c:pt>
                <c:pt idx="79">
                  <c:v>45738</c:v>
                </c:pt>
                <c:pt idx="80">
                  <c:v>45739</c:v>
                </c:pt>
                <c:pt idx="81">
                  <c:v>45740</c:v>
                </c:pt>
                <c:pt idx="82">
                  <c:v>45741</c:v>
                </c:pt>
                <c:pt idx="83">
                  <c:v>45742</c:v>
                </c:pt>
                <c:pt idx="84">
                  <c:v>45743</c:v>
                </c:pt>
                <c:pt idx="85">
                  <c:v>45744</c:v>
                </c:pt>
                <c:pt idx="86">
                  <c:v>45745</c:v>
                </c:pt>
                <c:pt idx="87">
                  <c:v>45746</c:v>
                </c:pt>
                <c:pt idx="88">
                  <c:v>45747</c:v>
                </c:pt>
                <c:pt idx="89">
                  <c:v>45748</c:v>
                </c:pt>
                <c:pt idx="90">
                  <c:v>45749</c:v>
                </c:pt>
                <c:pt idx="91">
                  <c:v>45750</c:v>
                </c:pt>
                <c:pt idx="92">
                  <c:v>45751</c:v>
                </c:pt>
                <c:pt idx="93">
                  <c:v>45752</c:v>
                </c:pt>
                <c:pt idx="94">
                  <c:v>45753</c:v>
                </c:pt>
                <c:pt idx="95">
                  <c:v>45754</c:v>
                </c:pt>
                <c:pt idx="96">
                  <c:v>45755</c:v>
                </c:pt>
                <c:pt idx="97">
                  <c:v>45756</c:v>
                </c:pt>
                <c:pt idx="98">
                  <c:v>45757</c:v>
                </c:pt>
                <c:pt idx="99">
                  <c:v>45758</c:v>
                </c:pt>
                <c:pt idx="100">
                  <c:v>45759</c:v>
                </c:pt>
                <c:pt idx="101">
                  <c:v>45760</c:v>
                </c:pt>
                <c:pt idx="102">
                  <c:v>45761</c:v>
                </c:pt>
                <c:pt idx="103">
                  <c:v>45762</c:v>
                </c:pt>
                <c:pt idx="104">
                  <c:v>45763</c:v>
                </c:pt>
                <c:pt idx="105">
                  <c:v>45764</c:v>
                </c:pt>
                <c:pt idx="106">
                  <c:v>45765</c:v>
                </c:pt>
                <c:pt idx="107">
                  <c:v>45766</c:v>
                </c:pt>
                <c:pt idx="108">
                  <c:v>45767</c:v>
                </c:pt>
                <c:pt idx="109">
                  <c:v>45768</c:v>
                </c:pt>
                <c:pt idx="110">
                  <c:v>45769</c:v>
                </c:pt>
                <c:pt idx="111">
                  <c:v>45770</c:v>
                </c:pt>
                <c:pt idx="112">
                  <c:v>45771</c:v>
                </c:pt>
                <c:pt idx="113">
                  <c:v>45772</c:v>
                </c:pt>
                <c:pt idx="114">
                  <c:v>45773</c:v>
                </c:pt>
                <c:pt idx="115">
                  <c:v>45774</c:v>
                </c:pt>
                <c:pt idx="116">
                  <c:v>45775</c:v>
                </c:pt>
                <c:pt idx="117">
                  <c:v>45776</c:v>
                </c:pt>
                <c:pt idx="118">
                  <c:v>45777</c:v>
                </c:pt>
                <c:pt idx="119">
                  <c:v>45778</c:v>
                </c:pt>
                <c:pt idx="120">
                  <c:v>45779</c:v>
                </c:pt>
                <c:pt idx="121">
                  <c:v>45780</c:v>
                </c:pt>
                <c:pt idx="122">
                  <c:v>45781</c:v>
                </c:pt>
                <c:pt idx="123">
                  <c:v>45782</c:v>
                </c:pt>
                <c:pt idx="124">
                  <c:v>45783</c:v>
                </c:pt>
                <c:pt idx="125">
                  <c:v>45784</c:v>
                </c:pt>
                <c:pt idx="126">
                  <c:v>45785</c:v>
                </c:pt>
                <c:pt idx="127">
                  <c:v>45786</c:v>
                </c:pt>
                <c:pt idx="128">
                  <c:v>45787</c:v>
                </c:pt>
                <c:pt idx="129">
                  <c:v>45788</c:v>
                </c:pt>
                <c:pt idx="130">
                  <c:v>45789</c:v>
                </c:pt>
                <c:pt idx="131">
                  <c:v>45790</c:v>
                </c:pt>
                <c:pt idx="132">
                  <c:v>45791</c:v>
                </c:pt>
                <c:pt idx="133">
                  <c:v>45792</c:v>
                </c:pt>
                <c:pt idx="134">
                  <c:v>45793</c:v>
                </c:pt>
                <c:pt idx="135">
                  <c:v>45794</c:v>
                </c:pt>
                <c:pt idx="136">
                  <c:v>45795</c:v>
                </c:pt>
                <c:pt idx="137">
                  <c:v>45796</c:v>
                </c:pt>
                <c:pt idx="138">
                  <c:v>45797</c:v>
                </c:pt>
                <c:pt idx="139">
                  <c:v>45798</c:v>
                </c:pt>
                <c:pt idx="140">
                  <c:v>45799</c:v>
                </c:pt>
                <c:pt idx="141">
                  <c:v>45800</c:v>
                </c:pt>
                <c:pt idx="142">
                  <c:v>45801</c:v>
                </c:pt>
                <c:pt idx="143">
                  <c:v>45802</c:v>
                </c:pt>
                <c:pt idx="144">
                  <c:v>45803</c:v>
                </c:pt>
                <c:pt idx="145">
                  <c:v>45804</c:v>
                </c:pt>
                <c:pt idx="146">
                  <c:v>45805</c:v>
                </c:pt>
                <c:pt idx="147">
                  <c:v>45806</c:v>
                </c:pt>
                <c:pt idx="148">
                  <c:v>45807</c:v>
                </c:pt>
                <c:pt idx="149">
                  <c:v>45808</c:v>
                </c:pt>
                <c:pt idx="150">
                  <c:v>45809</c:v>
                </c:pt>
                <c:pt idx="151">
                  <c:v>45810</c:v>
                </c:pt>
                <c:pt idx="152">
                  <c:v>45811</c:v>
                </c:pt>
                <c:pt idx="153">
                  <c:v>45812</c:v>
                </c:pt>
                <c:pt idx="154">
                  <c:v>45813</c:v>
                </c:pt>
                <c:pt idx="155">
                  <c:v>45814</c:v>
                </c:pt>
                <c:pt idx="156">
                  <c:v>45815</c:v>
                </c:pt>
                <c:pt idx="157">
                  <c:v>45816</c:v>
                </c:pt>
                <c:pt idx="158">
                  <c:v>45817</c:v>
                </c:pt>
                <c:pt idx="159">
                  <c:v>45818</c:v>
                </c:pt>
                <c:pt idx="160">
                  <c:v>45819</c:v>
                </c:pt>
                <c:pt idx="161">
                  <c:v>45820</c:v>
                </c:pt>
                <c:pt idx="162">
                  <c:v>45821</c:v>
                </c:pt>
                <c:pt idx="163">
                  <c:v>45822</c:v>
                </c:pt>
                <c:pt idx="164">
                  <c:v>45823</c:v>
                </c:pt>
                <c:pt idx="165">
                  <c:v>45824</c:v>
                </c:pt>
                <c:pt idx="166">
                  <c:v>45825</c:v>
                </c:pt>
                <c:pt idx="167">
                  <c:v>45826</c:v>
                </c:pt>
                <c:pt idx="168">
                  <c:v>45827</c:v>
                </c:pt>
                <c:pt idx="169">
                  <c:v>45828</c:v>
                </c:pt>
                <c:pt idx="170">
                  <c:v>45829</c:v>
                </c:pt>
                <c:pt idx="171">
                  <c:v>45830</c:v>
                </c:pt>
                <c:pt idx="172">
                  <c:v>45831</c:v>
                </c:pt>
                <c:pt idx="173">
                  <c:v>45832</c:v>
                </c:pt>
                <c:pt idx="174">
                  <c:v>45833</c:v>
                </c:pt>
                <c:pt idx="175">
                  <c:v>45834</c:v>
                </c:pt>
                <c:pt idx="176">
                  <c:v>45835</c:v>
                </c:pt>
                <c:pt idx="177">
                  <c:v>45836</c:v>
                </c:pt>
                <c:pt idx="178">
                  <c:v>45837</c:v>
                </c:pt>
                <c:pt idx="179">
                  <c:v>45838</c:v>
                </c:pt>
                <c:pt idx="180">
                  <c:v>45839</c:v>
                </c:pt>
                <c:pt idx="181">
                  <c:v>45840</c:v>
                </c:pt>
                <c:pt idx="182">
                  <c:v>45841</c:v>
                </c:pt>
                <c:pt idx="183">
                  <c:v>45842</c:v>
                </c:pt>
                <c:pt idx="184">
                  <c:v>45843</c:v>
                </c:pt>
                <c:pt idx="185">
                  <c:v>45844</c:v>
                </c:pt>
                <c:pt idx="186">
                  <c:v>45845</c:v>
                </c:pt>
                <c:pt idx="187">
                  <c:v>45846</c:v>
                </c:pt>
                <c:pt idx="188">
                  <c:v>45847</c:v>
                </c:pt>
                <c:pt idx="189">
                  <c:v>45848</c:v>
                </c:pt>
                <c:pt idx="190">
                  <c:v>45849</c:v>
                </c:pt>
                <c:pt idx="191">
                  <c:v>45850</c:v>
                </c:pt>
                <c:pt idx="192">
                  <c:v>45851</c:v>
                </c:pt>
                <c:pt idx="193">
                  <c:v>45852</c:v>
                </c:pt>
                <c:pt idx="194">
                  <c:v>45853</c:v>
                </c:pt>
                <c:pt idx="195">
                  <c:v>45854</c:v>
                </c:pt>
                <c:pt idx="196">
                  <c:v>45855</c:v>
                </c:pt>
                <c:pt idx="197">
                  <c:v>45856</c:v>
                </c:pt>
                <c:pt idx="198">
                  <c:v>45857</c:v>
                </c:pt>
                <c:pt idx="199">
                  <c:v>45858</c:v>
                </c:pt>
                <c:pt idx="200">
                  <c:v>45859</c:v>
                </c:pt>
                <c:pt idx="201">
                  <c:v>45860</c:v>
                </c:pt>
                <c:pt idx="202">
                  <c:v>45861</c:v>
                </c:pt>
                <c:pt idx="203">
                  <c:v>45862</c:v>
                </c:pt>
                <c:pt idx="204">
                  <c:v>45863</c:v>
                </c:pt>
                <c:pt idx="205">
                  <c:v>45864</c:v>
                </c:pt>
                <c:pt idx="206">
                  <c:v>45865</c:v>
                </c:pt>
                <c:pt idx="207">
                  <c:v>45866</c:v>
                </c:pt>
                <c:pt idx="208">
                  <c:v>45867</c:v>
                </c:pt>
                <c:pt idx="209">
                  <c:v>45868</c:v>
                </c:pt>
                <c:pt idx="210">
                  <c:v>45869</c:v>
                </c:pt>
                <c:pt idx="211">
                  <c:v>45870</c:v>
                </c:pt>
                <c:pt idx="212">
                  <c:v>45871</c:v>
                </c:pt>
                <c:pt idx="213">
                  <c:v>45872</c:v>
                </c:pt>
                <c:pt idx="214">
                  <c:v>45873</c:v>
                </c:pt>
                <c:pt idx="215">
                  <c:v>45874</c:v>
                </c:pt>
                <c:pt idx="216">
                  <c:v>45875</c:v>
                </c:pt>
                <c:pt idx="217">
                  <c:v>45876</c:v>
                </c:pt>
                <c:pt idx="218">
                  <c:v>45877</c:v>
                </c:pt>
                <c:pt idx="219">
                  <c:v>45878</c:v>
                </c:pt>
                <c:pt idx="220">
                  <c:v>45879</c:v>
                </c:pt>
                <c:pt idx="221">
                  <c:v>45880</c:v>
                </c:pt>
                <c:pt idx="222">
                  <c:v>45881</c:v>
                </c:pt>
                <c:pt idx="223">
                  <c:v>45882</c:v>
                </c:pt>
                <c:pt idx="224">
                  <c:v>45883</c:v>
                </c:pt>
                <c:pt idx="225">
                  <c:v>45884</c:v>
                </c:pt>
                <c:pt idx="226">
                  <c:v>45885</c:v>
                </c:pt>
                <c:pt idx="227">
                  <c:v>45886</c:v>
                </c:pt>
                <c:pt idx="228">
                  <c:v>45887</c:v>
                </c:pt>
                <c:pt idx="229">
                  <c:v>45888</c:v>
                </c:pt>
                <c:pt idx="230">
                  <c:v>45889</c:v>
                </c:pt>
                <c:pt idx="231">
                  <c:v>45890</c:v>
                </c:pt>
                <c:pt idx="232">
                  <c:v>45891</c:v>
                </c:pt>
                <c:pt idx="233">
                  <c:v>45892</c:v>
                </c:pt>
                <c:pt idx="234">
                  <c:v>45893</c:v>
                </c:pt>
                <c:pt idx="235">
                  <c:v>45894</c:v>
                </c:pt>
                <c:pt idx="236">
                  <c:v>45895</c:v>
                </c:pt>
                <c:pt idx="237">
                  <c:v>45896</c:v>
                </c:pt>
                <c:pt idx="238">
                  <c:v>45897</c:v>
                </c:pt>
                <c:pt idx="239">
                  <c:v>45898</c:v>
                </c:pt>
                <c:pt idx="240">
                  <c:v>45899</c:v>
                </c:pt>
                <c:pt idx="241">
                  <c:v>45900</c:v>
                </c:pt>
                <c:pt idx="242">
                  <c:v>45901</c:v>
                </c:pt>
                <c:pt idx="243">
                  <c:v>45902</c:v>
                </c:pt>
                <c:pt idx="244">
                  <c:v>45903</c:v>
                </c:pt>
                <c:pt idx="245">
                  <c:v>45904</c:v>
                </c:pt>
                <c:pt idx="246">
                  <c:v>45905</c:v>
                </c:pt>
                <c:pt idx="247">
                  <c:v>45906</c:v>
                </c:pt>
                <c:pt idx="248">
                  <c:v>45907</c:v>
                </c:pt>
                <c:pt idx="249">
                  <c:v>45908</c:v>
                </c:pt>
                <c:pt idx="250">
                  <c:v>45909</c:v>
                </c:pt>
                <c:pt idx="251">
                  <c:v>45910</c:v>
                </c:pt>
                <c:pt idx="252">
                  <c:v>45911</c:v>
                </c:pt>
                <c:pt idx="253">
                  <c:v>45912</c:v>
                </c:pt>
                <c:pt idx="254">
                  <c:v>45913</c:v>
                </c:pt>
                <c:pt idx="255">
                  <c:v>45914</c:v>
                </c:pt>
                <c:pt idx="256">
                  <c:v>45915</c:v>
                </c:pt>
                <c:pt idx="257">
                  <c:v>45916</c:v>
                </c:pt>
                <c:pt idx="258">
                  <c:v>45917</c:v>
                </c:pt>
                <c:pt idx="259">
                  <c:v>45918</c:v>
                </c:pt>
                <c:pt idx="260">
                  <c:v>45919</c:v>
                </c:pt>
                <c:pt idx="261">
                  <c:v>45920</c:v>
                </c:pt>
                <c:pt idx="262">
                  <c:v>45921</c:v>
                </c:pt>
                <c:pt idx="263">
                  <c:v>45922</c:v>
                </c:pt>
                <c:pt idx="264">
                  <c:v>45923</c:v>
                </c:pt>
                <c:pt idx="265">
                  <c:v>45924</c:v>
                </c:pt>
                <c:pt idx="266">
                  <c:v>45925</c:v>
                </c:pt>
                <c:pt idx="267">
                  <c:v>45926</c:v>
                </c:pt>
                <c:pt idx="268">
                  <c:v>45927</c:v>
                </c:pt>
                <c:pt idx="269">
                  <c:v>45928</c:v>
                </c:pt>
                <c:pt idx="270">
                  <c:v>45929</c:v>
                </c:pt>
                <c:pt idx="271">
                  <c:v>45930</c:v>
                </c:pt>
                <c:pt idx="272">
                  <c:v>45931</c:v>
                </c:pt>
                <c:pt idx="273">
                  <c:v>45932</c:v>
                </c:pt>
                <c:pt idx="274">
                  <c:v>45933</c:v>
                </c:pt>
                <c:pt idx="275">
                  <c:v>45934</c:v>
                </c:pt>
                <c:pt idx="276">
                  <c:v>45935</c:v>
                </c:pt>
                <c:pt idx="277">
                  <c:v>45936</c:v>
                </c:pt>
                <c:pt idx="278">
                  <c:v>45937</c:v>
                </c:pt>
                <c:pt idx="279">
                  <c:v>45938</c:v>
                </c:pt>
                <c:pt idx="280">
                  <c:v>45939</c:v>
                </c:pt>
                <c:pt idx="281">
                  <c:v>45940</c:v>
                </c:pt>
                <c:pt idx="282">
                  <c:v>45941</c:v>
                </c:pt>
                <c:pt idx="283">
                  <c:v>45942</c:v>
                </c:pt>
                <c:pt idx="284">
                  <c:v>45943</c:v>
                </c:pt>
                <c:pt idx="285">
                  <c:v>45944</c:v>
                </c:pt>
                <c:pt idx="286">
                  <c:v>45945</c:v>
                </c:pt>
                <c:pt idx="287">
                  <c:v>45946</c:v>
                </c:pt>
                <c:pt idx="288">
                  <c:v>45947</c:v>
                </c:pt>
                <c:pt idx="289">
                  <c:v>45948</c:v>
                </c:pt>
                <c:pt idx="290">
                  <c:v>45949</c:v>
                </c:pt>
                <c:pt idx="291">
                  <c:v>45950</c:v>
                </c:pt>
                <c:pt idx="292">
                  <c:v>45951</c:v>
                </c:pt>
                <c:pt idx="293">
                  <c:v>45952</c:v>
                </c:pt>
                <c:pt idx="294">
                  <c:v>45953</c:v>
                </c:pt>
                <c:pt idx="295">
                  <c:v>45954</c:v>
                </c:pt>
                <c:pt idx="296">
                  <c:v>45955</c:v>
                </c:pt>
                <c:pt idx="297">
                  <c:v>45956</c:v>
                </c:pt>
                <c:pt idx="298">
                  <c:v>45957</c:v>
                </c:pt>
                <c:pt idx="299">
                  <c:v>45958</c:v>
                </c:pt>
                <c:pt idx="300">
                  <c:v>45959</c:v>
                </c:pt>
                <c:pt idx="301">
                  <c:v>45960</c:v>
                </c:pt>
                <c:pt idx="302">
                  <c:v>45961</c:v>
                </c:pt>
              </c:numCache>
            </c:numRef>
          </c:cat>
          <c:val>
            <c:numRef>
              <c:f>'Fig. 1'!$C$6:$C$308</c:f>
              <c:numCache>
                <c:formatCode>General</c:formatCode>
                <c:ptCount val="303"/>
                <c:pt idx="147">
                  <c:v>1</c:v>
                </c:pt>
                <c:pt idx="239">
                  <c:v>1</c:v>
                </c:pt>
              </c:numCache>
            </c:numRef>
          </c:val>
          <c:extLst>
            <c:ext xmlns:c16="http://schemas.microsoft.com/office/drawing/2014/chart" uri="{C3380CC4-5D6E-409C-BE32-E72D297353CC}">
              <c16:uniqueId val="{00000000-4F9D-4E23-8129-9E62E8219B34}"/>
            </c:ext>
          </c:extLst>
        </c:ser>
        <c:dLbls>
          <c:showLegendKey val="0"/>
          <c:showVal val="0"/>
          <c:showCatName val="0"/>
          <c:showSerName val="0"/>
          <c:showPercent val="0"/>
          <c:showBubbleSize val="0"/>
        </c:dLbls>
        <c:gapWidth val="150"/>
        <c:axId val="1505531487"/>
        <c:axId val="1505534367"/>
      </c:barChart>
      <c:lineChart>
        <c:grouping val="standard"/>
        <c:varyColors val="0"/>
        <c:ser>
          <c:idx val="0"/>
          <c:order val="0"/>
          <c:spPr>
            <a:ln w="25400" cap="rnd" cmpd="sng" algn="ctr">
              <a:solidFill>
                <a:srgbClr val="FF0000"/>
              </a:solidFill>
              <a:prstDash val="solid"/>
              <a:round/>
              <a:headEnd type="none" w="med" len="med"/>
              <a:tailEnd type="none" w="med" len="med"/>
            </a:ln>
            <a:effectLst/>
          </c:spPr>
          <c:marker>
            <c:symbol val="none"/>
          </c:marker>
          <c:cat>
            <c:numRef>
              <c:f>'Fig. 1'!$A$6:$A$388</c:f>
              <c:numCache>
                <c:formatCode>m/d/yyyy</c:formatCode>
                <c:ptCount val="383"/>
                <c:pt idx="0">
                  <c:v>45659</c:v>
                </c:pt>
                <c:pt idx="1">
                  <c:v>45660</c:v>
                </c:pt>
                <c:pt idx="2">
                  <c:v>45661</c:v>
                </c:pt>
                <c:pt idx="3">
                  <c:v>45662</c:v>
                </c:pt>
                <c:pt idx="4">
                  <c:v>45663</c:v>
                </c:pt>
                <c:pt idx="5">
                  <c:v>45664</c:v>
                </c:pt>
                <c:pt idx="6">
                  <c:v>45665</c:v>
                </c:pt>
                <c:pt idx="7">
                  <c:v>45666</c:v>
                </c:pt>
                <c:pt idx="8">
                  <c:v>45667</c:v>
                </c:pt>
                <c:pt idx="9">
                  <c:v>45668</c:v>
                </c:pt>
                <c:pt idx="10">
                  <c:v>45669</c:v>
                </c:pt>
                <c:pt idx="11">
                  <c:v>45670</c:v>
                </c:pt>
                <c:pt idx="12">
                  <c:v>45671</c:v>
                </c:pt>
                <c:pt idx="13">
                  <c:v>45672</c:v>
                </c:pt>
                <c:pt idx="14">
                  <c:v>45673</c:v>
                </c:pt>
                <c:pt idx="15">
                  <c:v>45674</c:v>
                </c:pt>
                <c:pt idx="16">
                  <c:v>45675</c:v>
                </c:pt>
                <c:pt idx="17">
                  <c:v>45676</c:v>
                </c:pt>
                <c:pt idx="18">
                  <c:v>45677</c:v>
                </c:pt>
                <c:pt idx="19">
                  <c:v>45678</c:v>
                </c:pt>
                <c:pt idx="20">
                  <c:v>45679</c:v>
                </c:pt>
                <c:pt idx="21">
                  <c:v>45680</c:v>
                </c:pt>
                <c:pt idx="22">
                  <c:v>45681</c:v>
                </c:pt>
                <c:pt idx="23">
                  <c:v>45682</c:v>
                </c:pt>
                <c:pt idx="24">
                  <c:v>45683</c:v>
                </c:pt>
                <c:pt idx="25">
                  <c:v>45684</c:v>
                </c:pt>
                <c:pt idx="26">
                  <c:v>45685</c:v>
                </c:pt>
                <c:pt idx="27">
                  <c:v>45686</c:v>
                </c:pt>
                <c:pt idx="28">
                  <c:v>45687</c:v>
                </c:pt>
                <c:pt idx="29">
                  <c:v>45688</c:v>
                </c:pt>
                <c:pt idx="30">
                  <c:v>45689</c:v>
                </c:pt>
                <c:pt idx="31">
                  <c:v>45690</c:v>
                </c:pt>
                <c:pt idx="32">
                  <c:v>45691</c:v>
                </c:pt>
                <c:pt idx="33">
                  <c:v>45692</c:v>
                </c:pt>
                <c:pt idx="34">
                  <c:v>45693</c:v>
                </c:pt>
                <c:pt idx="35">
                  <c:v>45694</c:v>
                </c:pt>
                <c:pt idx="36">
                  <c:v>45695</c:v>
                </c:pt>
                <c:pt idx="37">
                  <c:v>45696</c:v>
                </c:pt>
                <c:pt idx="38">
                  <c:v>45697</c:v>
                </c:pt>
                <c:pt idx="39">
                  <c:v>45698</c:v>
                </c:pt>
                <c:pt idx="40">
                  <c:v>45699</c:v>
                </c:pt>
                <c:pt idx="41">
                  <c:v>45700</c:v>
                </c:pt>
                <c:pt idx="42">
                  <c:v>45701</c:v>
                </c:pt>
                <c:pt idx="43">
                  <c:v>45702</c:v>
                </c:pt>
                <c:pt idx="44">
                  <c:v>45703</c:v>
                </c:pt>
                <c:pt idx="45">
                  <c:v>45704</c:v>
                </c:pt>
                <c:pt idx="46">
                  <c:v>45705</c:v>
                </c:pt>
                <c:pt idx="47">
                  <c:v>45706</c:v>
                </c:pt>
                <c:pt idx="48">
                  <c:v>45707</c:v>
                </c:pt>
                <c:pt idx="49">
                  <c:v>45708</c:v>
                </c:pt>
                <c:pt idx="50">
                  <c:v>45709</c:v>
                </c:pt>
                <c:pt idx="51">
                  <c:v>45710</c:v>
                </c:pt>
                <c:pt idx="52">
                  <c:v>45711</c:v>
                </c:pt>
                <c:pt idx="53">
                  <c:v>45712</c:v>
                </c:pt>
                <c:pt idx="54">
                  <c:v>45713</c:v>
                </c:pt>
                <c:pt idx="55">
                  <c:v>45714</c:v>
                </c:pt>
                <c:pt idx="56">
                  <c:v>45715</c:v>
                </c:pt>
                <c:pt idx="57">
                  <c:v>45716</c:v>
                </c:pt>
                <c:pt idx="58">
                  <c:v>45717</c:v>
                </c:pt>
                <c:pt idx="59">
                  <c:v>45718</c:v>
                </c:pt>
                <c:pt idx="60">
                  <c:v>45719</c:v>
                </c:pt>
                <c:pt idx="61">
                  <c:v>45720</c:v>
                </c:pt>
                <c:pt idx="62">
                  <c:v>45721</c:v>
                </c:pt>
                <c:pt idx="63">
                  <c:v>45722</c:v>
                </c:pt>
                <c:pt idx="64">
                  <c:v>45723</c:v>
                </c:pt>
                <c:pt idx="65">
                  <c:v>45724</c:v>
                </c:pt>
                <c:pt idx="66">
                  <c:v>45725</c:v>
                </c:pt>
                <c:pt idx="67">
                  <c:v>45726</c:v>
                </c:pt>
                <c:pt idx="68">
                  <c:v>45727</c:v>
                </c:pt>
                <c:pt idx="69">
                  <c:v>45728</c:v>
                </c:pt>
                <c:pt idx="70">
                  <c:v>45729</c:v>
                </c:pt>
                <c:pt idx="71">
                  <c:v>45730</c:v>
                </c:pt>
                <c:pt idx="72">
                  <c:v>45731</c:v>
                </c:pt>
                <c:pt idx="73">
                  <c:v>45732</c:v>
                </c:pt>
                <c:pt idx="74">
                  <c:v>45733</c:v>
                </c:pt>
                <c:pt idx="75">
                  <c:v>45734</c:v>
                </c:pt>
                <c:pt idx="76">
                  <c:v>45735</c:v>
                </c:pt>
                <c:pt idx="77">
                  <c:v>45736</c:v>
                </c:pt>
                <c:pt idx="78">
                  <c:v>45737</c:v>
                </c:pt>
                <c:pt idx="79">
                  <c:v>45738</c:v>
                </c:pt>
                <c:pt idx="80">
                  <c:v>45739</c:v>
                </c:pt>
                <c:pt idx="81">
                  <c:v>45740</c:v>
                </c:pt>
                <c:pt idx="82">
                  <c:v>45741</c:v>
                </c:pt>
                <c:pt idx="83">
                  <c:v>45742</c:v>
                </c:pt>
                <c:pt idx="84">
                  <c:v>45743</c:v>
                </c:pt>
                <c:pt idx="85">
                  <c:v>45744</c:v>
                </c:pt>
                <c:pt idx="86">
                  <c:v>45745</c:v>
                </c:pt>
                <c:pt idx="87">
                  <c:v>45746</c:v>
                </c:pt>
                <c:pt idx="88">
                  <c:v>45747</c:v>
                </c:pt>
                <c:pt idx="89">
                  <c:v>45748</c:v>
                </c:pt>
                <c:pt idx="90">
                  <c:v>45749</c:v>
                </c:pt>
                <c:pt idx="91">
                  <c:v>45750</c:v>
                </c:pt>
                <c:pt idx="92">
                  <c:v>45751</c:v>
                </c:pt>
                <c:pt idx="93">
                  <c:v>45752</c:v>
                </c:pt>
                <c:pt idx="94">
                  <c:v>45753</c:v>
                </c:pt>
                <c:pt idx="95">
                  <c:v>45754</c:v>
                </c:pt>
                <c:pt idx="96">
                  <c:v>45755</c:v>
                </c:pt>
                <c:pt idx="97">
                  <c:v>45756</c:v>
                </c:pt>
                <c:pt idx="98">
                  <c:v>45757</c:v>
                </c:pt>
                <c:pt idx="99">
                  <c:v>45758</c:v>
                </c:pt>
                <c:pt idx="100">
                  <c:v>45759</c:v>
                </c:pt>
                <c:pt idx="101">
                  <c:v>45760</c:v>
                </c:pt>
                <c:pt idx="102">
                  <c:v>45761</c:v>
                </c:pt>
                <c:pt idx="103">
                  <c:v>45762</c:v>
                </c:pt>
                <c:pt idx="104">
                  <c:v>45763</c:v>
                </c:pt>
                <c:pt idx="105">
                  <c:v>45764</c:v>
                </c:pt>
                <c:pt idx="106">
                  <c:v>45765</c:v>
                </c:pt>
                <c:pt idx="107">
                  <c:v>45766</c:v>
                </c:pt>
                <c:pt idx="108">
                  <c:v>45767</c:v>
                </c:pt>
                <c:pt idx="109">
                  <c:v>45768</c:v>
                </c:pt>
                <c:pt idx="110">
                  <c:v>45769</c:v>
                </c:pt>
                <c:pt idx="111">
                  <c:v>45770</c:v>
                </c:pt>
                <c:pt idx="112">
                  <c:v>45771</c:v>
                </c:pt>
                <c:pt idx="113">
                  <c:v>45772</c:v>
                </c:pt>
                <c:pt idx="114">
                  <c:v>45773</c:v>
                </c:pt>
                <c:pt idx="115">
                  <c:v>45774</c:v>
                </c:pt>
                <c:pt idx="116">
                  <c:v>45775</c:v>
                </c:pt>
                <c:pt idx="117">
                  <c:v>45776</c:v>
                </c:pt>
                <c:pt idx="118">
                  <c:v>45777</c:v>
                </c:pt>
                <c:pt idx="119">
                  <c:v>45778</c:v>
                </c:pt>
                <c:pt idx="120">
                  <c:v>45779</c:v>
                </c:pt>
                <c:pt idx="121">
                  <c:v>45780</c:v>
                </c:pt>
                <c:pt idx="122">
                  <c:v>45781</c:v>
                </c:pt>
                <c:pt idx="123">
                  <c:v>45782</c:v>
                </c:pt>
                <c:pt idx="124">
                  <c:v>45783</c:v>
                </c:pt>
                <c:pt idx="125">
                  <c:v>45784</c:v>
                </c:pt>
                <c:pt idx="126">
                  <c:v>45785</c:v>
                </c:pt>
                <c:pt idx="127">
                  <c:v>45786</c:v>
                </c:pt>
                <c:pt idx="128">
                  <c:v>45787</c:v>
                </c:pt>
                <c:pt idx="129">
                  <c:v>45788</c:v>
                </c:pt>
                <c:pt idx="130">
                  <c:v>45789</c:v>
                </c:pt>
                <c:pt idx="131">
                  <c:v>45790</c:v>
                </c:pt>
                <c:pt idx="132">
                  <c:v>45791</c:v>
                </c:pt>
                <c:pt idx="133">
                  <c:v>45792</c:v>
                </c:pt>
                <c:pt idx="134">
                  <c:v>45793</c:v>
                </c:pt>
                <c:pt idx="135">
                  <c:v>45794</c:v>
                </c:pt>
                <c:pt idx="136">
                  <c:v>45795</c:v>
                </c:pt>
                <c:pt idx="137">
                  <c:v>45796</c:v>
                </c:pt>
                <c:pt idx="138">
                  <c:v>45797</c:v>
                </c:pt>
                <c:pt idx="139">
                  <c:v>45798</c:v>
                </c:pt>
                <c:pt idx="140">
                  <c:v>45799</c:v>
                </c:pt>
                <c:pt idx="141">
                  <c:v>45800</c:v>
                </c:pt>
                <c:pt idx="142">
                  <c:v>45801</c:v>
                </c:pt>
                <c:pt idx="143">
                  <c:v>45802</c:v>
                </c:pt>
                <c:pt idx="144">
                  <c:v>45803</c:v>
                </c:pt>
                <c:pt idx="145">
                  <c:v>45804</c:v>
                </c:pt>
                <c:pt idx="146">
                  <c:v>45805</c:v>
                </c:pt>
                <c:pt idx="147">
                  <c:v>45806</c:v>
                </c:pt>
                <c:pt idx="148">
                  <c:v>45807</c:v>
                </c:pt>
                <c:pt idx="149">
                  <c:v>45808</c:v>
                </c:pt>
                <c:pt idx="150">
                  <c:v>45809</c:v>
                </c:pt>
                <c:pt idx="151">
                  <c:v>45810</c:v>
                </c:pt>
                <c:pt idx="152">
                  <c:v>45811</c:v>
                </c:pt>
                <c:pt idx="153">
                  <c:v>45812</c:v>
                </c:pt>
                <c:pt idx="154">
                  <c:v>45813</c:v>
                </c:pt>
                <c:pt idx="155">
                  <c:v>45814</c:v>
                </c:pt>
                <c:pt idx="156">
                  <c:v>45815</c:v>
                </c:pt>
                <c:pt idx="157">
                  <c:v>45816</c:v>
                </c:pt>
                <c:pt idx="158">
                  <c:v>45817</c:v>
                </c:pt>
                <c:pt idx="159">
                  <c:v>45818</c:v>
                </c:pt>
                <c:pt idx="160">
                  <c:v>45819</c:v>
                </c:pt>
                <c:pt idx="161">
                  <c:v>45820</c:v>
                </c:pt>
                <c:pt idx="162">
                  <c:v>45821</c:v>
                </c:pt>
                <c:pt idx="163">
                  <c:v>45822</c:v>
                </c:pt>
                <c:pt idx="164">
                  <c:v>45823</c:v>
                </c:pt>
                <c:pt idx="165">
                  <c:v>45824</c:v>
                </c:pt>
                <c:pt idx="166">
                  <c:v>45825</c:v>
                </c:pt>
                <c:pt idx="167">
                  <c:v>45826</c:v>
                </c:pt>
                <c:pt idx="168">
                  <c:v>45827</c:v>
                </c:pt>
                <c:pt idx="169">
                  <c:v>45828</c:v>
                </c:pt>
                <c:pt idx="170">
                  <c:v>45829</c:v>
                </c:pt>
                <c:pt idx="171">
                  <c:v>45830</c:v>
                </c:pt>
                <c:pt idx="172">
                  <c:v>45831</c:v>
                </c:pt>
                <c:pt idx="173">
                  <c:v>45832</c:v>
                </c:pt>
                <c:pt idx="174">
                  <c:v>45833</c:v>
                </c:pt>
                <c:pt idx="175">
                  <c:v>45834</c:v>
                </c:pt>
                <c:pt idx="176">
                  <c:v>45835</c:v>
                </c:pt>
                <c:pt idx="177">
                  <c:v>45836</c:v>
                </c:pt>
                <c:pt idx="178">
                  <c:v>45837</c:v>
                </c:pt>
                <c:pt idx="179">
                  <c:v>45838</c:v>
                </c:pt>
                <c:pt idx="180">
                  <c:v>45839</c:v>
                </c:pt>
                <c:pt idx="181">
                  <c:v>45840</c:v>
                </c:pt>
                <c:pt idx="182">
                  <c:v>45841</c:v>
                </c:pt>
                <c:pt idx="183">
                  <c:v>45842</c:v>
                </c:pt>
                <c:pt idx="184">
                  <c:v>45843</c:v>
                </c:pt>
                <c:pt idx="185">
                  <c:v>45844</c:v>
                </c:pt>
                <c:pt idx="186">
                  <c:v>45845</c:v>
                </c:pt>
                <c:pt idx="187">
                  <c:v>45846</c:v>
                </c:pt>
                <c:pt idx="188">
                  <c:v>45847</c:v>
                </c:pt>
                <c:pt idx="189">
                  <c:v>45848</c:v>
                </c:pt>
                <c:pt idx="190">
                  <c:v>45849</c:v>
                </c:pt>
                <c:pt idx="191">
                  <c:v>45850</c:v>
                </c:pt>
                <c:pt idx="192">
                  <c:v>45851</c:v>
                </c:pt>
                <c:pt idx="193">
                  <c:v>45852</c:v>
                </c:pt>
                <c:pt idx="194">
                  <c:v>45853</c:v>
                </c:pt>
                <c:pt idx="195">
                  <c:v>45854</c:v>
                </c:pt>
                <c:pt idx="196">
                  <c:v>45855</c:v>
                </c:pt>
                <c:pt idx="197">
                  <c:v>45856</c:v>
                </c:pt>
                <c:pt idx="198">
                  <c:v>45857</c:v>
                </c:pt>
                <c:pt idx="199">
                  <c:v>45858</c:v>
                </c:pt>
                <c:pt idx="200">
                  <c:v>45859</c:v>
                </c:pt>
                <c:pt idx="201">
                  <c:v>45860</c:v>
                </c:pt>
                <c:pt idx="202">
                  <c:v>45861</c:v>
                </c:pt>
                <c:pt idx="203">
                  <c:v>45862</c:v>
                </c:pt>
                <c:pt idx="204">
                  <c:v>45863</c:v>
                </c:pt>
                <c:pt idx="205">
                  <c:v>45864</c:v>
                </c:pt>
                <c:pt idx="206">
                  <c:v>45865</c:v>
                </c:pt>
                <c:pt idx="207">
                  <c:v>45866</c:v>
                </c:pt>
                <c:pt idx="208">
                  <c:v>45867</c:v>
                </c:pt>
                <c:pt idx="209">
                  <c:v>45868</c:v>
                </c:pt>
                <c:pt idx="210">
                  <c:v>45869</c:v>
                </c:pt>
                <c:pt idx="211">
                  <c:v>45870</c:v>
                </c:pt>
                <c:pt idx="212">
                  <c:v>45871</c:v>
                </c:pt>
                <c:pt idx="213">
                  <c:v>45872</c:v>
                </c:pt>
                <c:pt idx="214">
                  <c:v>45873</c:v>
                </c:pt>
                <c:pt idx="215">
                  <c:v>45874</c:v>
                </c:pt>
                <c:pt idx="216">
                  <c:v>45875</c:v>
                </c:pt>
                <c:pt idx="217">
                  <c:v>45876</c:v>
                </c:pt>
                <c:pt idx="218">
                  <c:v>45877</c:v>
                </c:pt>
                <c:pt idx="219">
                  <c:v>45878</c:v>
                </c:pt>
                <c:pt idx="220">
                  <c:v>45879</c:v>
                </c:pt>
                <c:pt idx="221">
                  <c:v>45880</c:v>
                </c:pt>
                <c:pt idx="222">
                  <c:v>45881</c:v>
                </c:pt>
                <c:pt idx="223">
                  <c:v>45882</c:v>
                </c:pt>
                <c:pt idx="224">
                  <c:v>45883</c:v>
                </c:pt>
                <c:pt idx="225">
                  <c:v>45884</c:v>
                </c:pt>
                <c:pt idx="226">
                  <c:v>45885</c:v>
                </c:pt>
                <c:pt idx="227">
                  <c:v>45886</c:v>
                </c:pt>
                <c:pt idx="228">
                  <c:v>45887</c:v>
                </c:pt>
                <c:pt idx="229">
                  <c:v>45888</c:v>
                </c:pt>
                <c:pt idx="230">
                  <c:v>45889</c:v>
                </c:pt>
                <c:pt idx="231">
                  <c:v>45890</c:v>
                </c:pt>
                <c:pt idx="232">
                  <c:v>45891</c:v>
                </c:pt>
                <c:pt idx="233">
                  <c:v>45892</c:v>
                </c:pt>
                <c:pt idx="234">
                  <c:v>45893</c:v>
                </c:pt>
                <c:pt idx="235">
                  <c:v>45894</c:v>
                </c:pt>
                <c:pt idx="236">
                  <c:v>45895</c:v>
                </c:pt>
                <c:pt idx="237">
                  <c:v>45896</c:v>
                </c:pt>
                <c:pt idx="238">
                  <c:v>45897</c:v>
                </c:pt>
                <c:pt idx="239">
                  <c:v>45898</c:v>
                </c:pt>
                <c:pt idx="240">
                  <c:v>45899</c:v>
                </c:pt>
                <c:pt idx="241">
                  <c:v>45900</c:v>
                </c:pt>
                <c:pt idx="242">
                  <c:v>45901</c:v>
                </c:pt>
                <c:pt idx="243">
                  <c:v>45902</c:v>
                </c:pt>
                <c:pt idx="244">
                  <c:v>45903</c:v>
                </c:pt>
                <c:pt idx="245">
                  <c:v>45904</c:v>
                </c:pt>
                <c:pt idx="246">
                  <c:v>45905</c:v>
                </c:pt>
                <c:pt idx="247">
                  <c:v>45906</c:v>
                </c:pt>
                <c:pt idx="248">
                  <c:v>45907</c:v>
                </c:pt>
                <c:pt idx="249">
                  <c:v>45908</c:v>
                </c:pt>
                <c:pt idx="250">
                  <c:v>45909</c:v>
                </c:pt>
                <c:pt idx="251">
                  <c:v>45910</c:v>
                </c:pt>
                <c:pt idx="252">
                  <c:v>45911</c:v>
                </c:pt>
                <c:pt idx="253">
                  <c:v>45912</c:v>
                </c:pt>
                <c:pt idx="254">
                  <c:v>45913</c:v>
                </c:pt>
                <c:pt idx="255">
                  <c:v>45914</c:v>
                </c:pt>
                <c:pt idx="256">
                  <c:v>45915</c:v>
                </c:pt>
                <c:pt idx="257">
                  <c:v>45916</c:v>
                </c:pt>
                <c:pt idx="258">
                  <c:v>45917</c:v>
                </c:pt>
                <c:pt idx="259">
                  <c:v>45918</c:v>
                </c:pt>
                <c:pt idx="260">
                  <c:v>45919</c:v>
                </c:pt>
                <c:pt idx="261">
                  <c:v>45920</c:v>
                </c:pt>
                <c:pt idx="262">
                  <c:v>45921</c:v>
                </c:pt>
                <c:pt idx="263">
                  <c:v>45922</c:v>
                </c:pt>
                <c:pt idx="264">
                  <c:v>45923</c:v>
                </c:pt>
                <c:pt idx="265">
                  <c:v>45924</c:v>
                </c:pt>
                <c:pt idx="266">
                  <c:v>45925</c:v>
                </c:pt>
                <c:pt idx="267">
                  <c:v>45926</c:v>
                </c:pt>
                <c:pt idx="268">
                  <c:v>45927</c:v>
                </c:pt>
                <c:pt idx="269">
                  <c:v>45928</c:v>
                </c:pt>
                <c:pt idx="270">
                  <c:v>45929</c:v>
                </c:pt>
                <c:pt idx="271">
                  <c:v>45930</c:v>
                </c:pt>
                <c:pt idx="272">
                  <c:v>45931</c:v>
                </c:pt>
                <c:pt idx="273">
                  <c:v>45932</c:v>
                </c:pt>
                <c:pt idx="274">
                  <c:v>45933</c:v>
                </c:pt>
                <c:pt idx="275">
                  <c:v>45934</c:v>
                </c:pt>
                <c:pt idx="276">
                  <c:v>45935</c:v>
                </c:pt>
                <c:pt idx="277">
                  <c:v>45936</c:v>
                </c:pt>
                <c:pt idx="278">
                  <c:v>45937</c:v>
                </c:pt>
                <c:pt idx="279">
                  <c:v>45938</c:v>
                </c:pt>
                <c:pt idx="280">
                  <c:v>45939</c:v>
                </c:pt>
                <c:pt idx="281">
                  <c:v>45940</c:v>
                </c:pt>
                <c:pt idx="282">
                  <c:v>45941</c:v>
                </c:pt>
                <c:pt idx="283">
                  <c:v>45942</c:v>
                </c:pt>
                <c:pt idx="284">
                  <c:v>45943</c:v>
                </c:pt>
                <c:pt idx="285">
                  <c:v>45944</c:v>
                </c:pt>
                <c:pt idx="286">
                  <c:v>45945</c:v>
                </c:pt>
                <c:pt idx="287">
                  <c:v>45946</c:v>
                </c:pt>
                <c:pt idx="288">
                  <c:v>45947</c:v>
                </c:pt>
                <c:pt idx="289">
                  <c:v>45948</c:v>
                </c:pt>
                <c:pt idx="290">
                  <c:v>45949</c:v>
                </c:pt>
                <c:pt idx="291">
                  <c:v>45950</c:v>
                </c:pt>
                <c:pt idx="292">
                  <c:v>45951</c:v>
                </c:pt>
                <c:pt idx="293">
                  <c:v>45952</c:v>
                </c:pt>
                <c:pt idx="294">
                  <c:v>45953</c:v>
                </c:pt>
                <c:pt idx="295">
                  <c:v>45954</c:v>
                </c:pt>
                <c:pt idx="296">
                  <c:v>45955</c:v>
                </c:pt>
                <c:pt idx="297">
                  <c:v>45956</c:v>
                </c:pt>
                <c:pt idx="298">
                  <c:v>45957</c:v>
                </c:pt>
                <c:pt idx="299">
                  <c:v>45958</c:v>
                </c:pt>
                <c:pt idx="300">
                  <c:v>45959</c:v>
                </c:pt>
                <c:pt idx="301">
                  <c:v>45960</c:v>
                </c:pt>
                <c:pt idx="302">
                  <c:v>45961</c:v>
                </c:pt>
                <c:pt idx="303">
                  <c:v>45962</c:v>
                </c:pt>
                <c:pt idx="304">
                  <c:v>45963</c:v>
                </c:pt>
                <c:pt idx="305">
                  <c:v>45964</c:v>
                </c:pt>
                <c:pt idx="306">
                  <c:v>45965</c:v>
                </c:pt>
                <c:pt idx="307">
                  <c:v>45966</c:v>
                </c:pt>
                <c:pt idx="308">
                  <c:v>45967</c:v>
                </c:pt>
                <c:pt idx="309">
                  <c:v>45968</c:v>
                </c:pt>
                <c:pt idx="310">
                  <c:v>45969</c:v>
                </c:pt>
                <c:pt idx="311">
                  <c:v>45970</c:v>
                </c:pt>
                <c:pt idx="312">
                  <c:v>45971</c:v>
                </c:pt>
                <c:pt idx="313">
                  <c:v>45972</c:v>
                </c:pt>
                <c:pt idx="314">
                  <c:v>45973</c:v>
                </c:pt>
                <c:pt idx="315">
                  <c:v>45974</c:v>
                </c:pt>
                <c:pt idx="316">
                  <c:v>45975</c:v>
                </c:pt>
                <c:pt idx="317">
                  <c:v>45976</c:v>
                </c:pt>
                <c:pt idx="318">
                  <c:v>45977</c:v>
                </c:pt>
                <c:pt idx="319">
                  <c:v>45978</c:v>
                </c:pt>
                <c:pt idx="320">
                  <c:v>45979</c:v>
                </c:pt>
                <c:pt idx="321">
                  <c:v>45980</c:v>
                </c:pt>
                <c:pt idx="322">
                  <c:v>45981</c:v>
                </c:pt>
                <c:pt idx="323">
                  <c:v>45982</c:v>
                </c:pt>
                <c:pt idx="324">
                  <c:v>45983</c:v>
                </c:pt>
                <c:pt idx="325">
                  <c:v>45984</c:v>
                </c:pt>
                <c:pt idx="326">
                  <c:v>45985</c:v>
                </c:pt>
                <c:pt idx="327">
                  <c:v>45986</c:v>
                </c:pt>
                <c:pt idx="328">
                  <c:v>45987</c:v>
                </c:pt>
                <c:pt idx="329">
                  <c:v>45988</c:v>
                </c:pt>
                <c:pt idx="330">
                  <c:v>45989</c:v>
                </c:pt>
                <c:pt idx="331">
                  <c:v>45990</c:v>
                </c:pt>
                <c:pt idx="332">
                  <c:v>45991</c:v>
                </c:pt>
                <c:pt idx="333">
                  <c:v>45992</c:v>
                </c:pt>
                <c:pt idx="334">
                  <c:v>45993</c:v>
                </c:pt>
                <c:pt idx="335">
                  <c:v>45994</c:v>
                </c:pt>
                <c:pt idx="336">
                  <c:v>45995</c:v>
                </c:pt>
                <c:pt idx="337">
                  <c:v>45996</c:v>
                </c:pt>
                <c:pt idx="338">
                  <c:v>45997</c:v>
                </c:pt>
                <c:pt idx="339">
                  <c:v>45998</c:v>
                </c:pt>
                <c:pt idx="340">
                  <c:v>45999</c:v>
                </c:pt>
                <c:pt idx="341">
                  <c:v>46000</c:v>
                </c:pt>
                <c:pt idx="342">
                  <c:v>46001</c:v>
                </c:pt>
                <c:pt idx="343">
                  <c:v>46002</c:v>
                </c:pt>
                <c:pt idx="344">
                  <c:v>46003</c:v>
                </c:pt>
                <c:pt idx="345">
                  <c:v>46004</c:v>
                </c:pt>
                <c:pt idx="346">
                  <c:v>46005</c:v>
                </c:pt>
                <c:pt idx="347">
                  <c:v>46006</c:v>
                </c:pt>
                <c:pt idx="348">
                  <c:v>46007</c:v>
                </c:pt>
                <c:pt idx="349">
                  <c:v>46008</c:v>
                </c:pt>
                <c:pt idx="350">
                  <c:v>46009</c:v>
                </c:pt>
                <c:pt idx="351">
                  <c:v>46010</c:v>
                </c:pt>
                <c:pt idx="352">
                  <c:v>46011</c:v>
                </c:pt>
                <c:pt idx="353">
                  <c:v>46012</c:v>
                </c:pt>
                <c:pt idx="354">
                  <c:v>46013</c:v>
                </c:pt>
                <c:pt idx="355">
                  <c:v>46014</c:v>
                </c:pt>
                <c:pt idx="356">
                  <c:v>46015</c:v>
                </c:pt>
                <c:pt idx="357">
                  <c:v>46016</c:v>
                </c:pt>
                <c:pt idx="358">
                  <c:v>46017</c:v>
                </c:pt>
                <c:pt idx="359">
                  <c:v>46018</c:v>
                </c:pt>
                <c:pt idx="360">
                  <c:v>46019</c:v>
                </c:pt>
                <c:pt idx="361">
                  <c:v>46020</c:v>
                </c:pt>
                <c:pt idx="362">
                  <c:v>46021</c:v>
                </c:pt>
                <c:pt idx="363">
                  <c:v>46022</c:v>
                </c:pt>
                <c:pt idx="364">
                  <c:v>46023</c:v>
                </c:pt>
                <c:pt idx="365">
                  <c:v>46024</c:v>
                </c:pt>
                <c:pt idx="366">
                  <c:v>46025</c:v>
                </c:pt>
                <c:pt idx="367">
                  <c:v>46026</c:v>
                </c:pt>
                <c:pt idx="368">
                  <c:v>46027</c:v>
                </c:pt>
                <c:pt idx="369">
                  <c:v>46028</c:v>
                </c:pt>
                <c:pt idx="370">
                  <c:v>46029</c:v>
                </c:pt>
                <c:pt idx="371">
                  <c:v>46030</c:v>
                </c:pt>
                <c:pt idx="372">
                  <c:v>46031</c:v>
                </c:pt>
                <c:pt idx="373">
                  <c:v>46032</c:v>
                </c:pt>
                <c:pt idx="374">
                  <c:v>46033</c:v>
                </c:pt>
                <c:pt idx="375">
                  <c:v>46034</c:v>
                </c:pt>
                <c:pt idx="376">
                  <c:v>46035</c:v>
                </c:pt>
                <c:pt idx="377">
                  <c:v>46036</c:v>
                </c:pt>
                <c:pt idx="378">
                  <c:v>46037</c:v>
                </c:pt>
                <c:pt idx="379">
                  <c:v>46038</c:v>
                </c:pt>
                <c:pt idx="380">
                  <c:v>46039</c:v>
                </c:pt>
                <c:pt idx="381">
                  <c:v>46040</c:v>
                </c:pt>
                <c:pt idx="382">
                  <c:v>46041</c:v>
                </c:pt>
              </c:numCache>
            </c:numRef>
          </c:cat>
          <c:val>
            <c:numRef>
              <c:f>'Fig. 1'!$B$6:$B$388</c:f>
              <c:numCache>
                <c:formatCode>0.00</c:formatCode>
                <c:ptCount val="383"/>
                <c:pt idx="0">
                  <c:v>2.4</c:v>
                </c:pt>
                <c:pt idx="1">
                  <c:v>2.4</c:v>
                </c:pt>
                <c:pt idx="2">
                  <c:v>2.4</c:v>
                </c:pt>
                <c:pt idx="3">
                  <c:v>2.4</c:v>
                </c:pt>
                <c:pt idx="4">
                  <c:v>2.4</c:v>
                </c:pt>
                <c:pt idx="5">
                  <c:v>2.4</c:v>
                </c:pt>
                <c:pt idx="6">
                  <c:v>2.4</c:v>
                </c:pt>
                <c:pt idx="7">
                  <c:v>2.4</c:v>
                </c:pt>
                <c:pt idx="8">
                  <c:v>2.4</c:v>
                </c:pt>
                <c:pt idx="9">
                  <c:v>2.4</c:v>
                </c:pt>
                <c:pt idx="10">
                  <c:v>2.4</c:v>
                </c:pt>
                <c:pt idx="11">
                  <c:v>2.4</c:v>
                </c:pt>
                <c:pt idx="12">
                  <c:v>2.4</c:v>
                </c:pt>
                <c:pt idx="13">
                  <c:v>2.4</c:v>
                </c:pt>
                <c:pt idx="14">
                  <c:v>2.4</c:v>
                </c:pt>
                <c:pt idx="15">
                  <c:v>2.4</c:v>
                </c:pt>
                <c:pt idx="16">
                  <c:v>2.4</c:v>
                </c:pt>
                <c:pt idx="17">
                  <c:v>2.4</c:v>
                </c:pt>
                <c:pt idx="18">
                  <c:v>2.4</c:v>
                </c:pt>
                <c:pt idx="19">
                  <c:v>2.4</c:v>
                </c:pt>
                <c:pt idx="20">
                  <c:v>2.4</c:v>
                </c:pt>
                <c:pt idx="21">
                  <c:v>2.4</c:v>
                </c:pt>
                <c:pt idx="22">
                  <c:v>2.4</c:v>
                </c:pt>
                <c:pt idx="23">
                  <c:v>2.4</c:v>
                </c:pt>
                <c:pt idx="24">
                  <c:v>2.4</c:v>
                </c:pt>
                <c:pt idx="25">
                  <c:v>2.4</c:v>
                </c:pt>
                <c:pt idx="26">
                  <c:v>2.4</c:v>
                </c:pt>
                <c:pt idx="27">
                  <c:v>2.4</c:v>
                </c:pt>
                <c:pt idx="28">
                  <c:v>2.4</c:v>
                </c:pt>
                <c:pt idx="29">
                  <c:v>2.4</c:v>
                </c:pt>
                <c:pt idx="30">
                  <c:v>2.4</c:v>
                </c:pt>
                <c:pt idx="31">
                  <c:v>2.4</c:v>
                </c:pt>
                <c:pt idx="32">
                  <c:v>2.4</c:v>
                </c:pt>
                <c:pt idx="33">
                  <c:v>3.8</c:v>
                </c:pt>
                <c:pt idx="34">
                  <c:v>3.8</c:v>
                </c:pt>
                <c:pt idx="35">
                  <c:v>3.8</c:v>
                </c:pt>
                <c:pt idx="36">
                  <c:v>3.8</c:v>
                </c:pt>
                <c:pt idx="37">
                  <c:v>3.8</c:v>
                </c:pt>
                <c:pt idx="38">
                  <c:v>3.8</c:v>
                </c:pt>
                <c:pt idx="39">
                  <c:v>3.8</c:v>
                </c:pt>
                <c:pt idx="40">
                  <c:v>3.8</c:v>
                </c:pt>
                <c:pt idx="41">
                  <c:v>3.8</c:v>
                </c:pt>
                <c:pt idx="42">
                  <c:v>3.8</c:v>
                </c:pt>
                <c:pt idx="43">
                  <c:v>3.8</c:v>
                </c:pt>
                <c:pt idx="44">
                  <c:v>3.8</c:v>
                </c:pt>
                <c:pt idx="45">
                  <c:v>3.8</c:v>
                </c:pt>
                <c:pt idx="46">
                  <c:v>3.8</c:v>
                </c:pt>
                <c:pt idx="47">
                  <c:v>3.8</c:v>
                </c:pt>
                <c:pt idx="48">
                  <c:v>3.8</c:v>
                </c:pt>
                <c:pt idx="49">
                  <c:v>3.8</c:v>
                </c:pt>
                <c:pt idx="50">
                  <c:v>3.8</c:v>
                </c:pt>
                <c:pt idx="51">
                  <c:v>3.8</c:v>
                </c:pt>
                <c:pt idx="52">
                  <c:v>3.8</c:v>
                </c:pt>
                <c:pt idx="53">
                  <c:v>3.8</c:v>
                </c:pt>
                <c:pt idx="54">
                  <c:v>3.8</c:v>
                </c:pt>
                <c:pt idx="55">
                  <c:v>3.8</c:v>
                </c:pt>
                <c:pt idx="56">
                  <c:v>3.8</c:v>
                </c:pt>
                <c:pt idx="57">
                  <c:v>3.8</c:v>
                </c:pt>
                <c:pt idx="58">
                  <c:v>3.8</c:v>
                </c:pt>
                <c:pt idx="59">
                  <c:v>3.8</c:v>
                </c:pt>
                <c:pt idx="60">
                  <c:v>3.8</c:v>
                </c:pt>
                <c:pt idx="61">
                  <c:v>8.6</c:v>
                </c:pt>
                <c:pt idx="62">
                  <c:v>8.6</c:v>
                </c:pt>
                <c:pt idx="63">
                  <c:v>8.6</c:v>
                </c:pt>
                <c:pt idx="64">
                  <c:v>8.6</c:v>
                </c:pt>
                <c:pt idx="65">
                  <c:v>8.6</c:v>
                </c:pt>
                <c:pt idx="66">
                  <c:v>8.6</c:v>
                </c:pt>
                <c:pt idx="67">
                  <c:v>8.6</c:v>
                </c:pt>
                <c:pt idx="68">
                  <c:v>8.6</c:v>
                </c:pt>
                <c:pt idx="69">
                  <c:v>9.8000000000000007</c:v>
                </c:pt>
                <c:pt idx="70">
                  <c:v>9.8000000000000007</c:v>
                </c:pt>
                <c:pt idx="71">
                  <c:v>9.8000000000000007</c:v>
                </c:pt>
                <c:pt idx="72">
                  <c:v>9.8000000000000007</c:v>
                </c:pt>
                <c:pt idx="73">
                  <c:v>9.8000000000000007</c:v>
                </c:pt>
                <c:pt idx="74">
                  <c:v>9.8000000000000007</c:v>
                </c:pt>
                <c:pt idx="75">
                  <c:v>9.8000000000000007</c:v>
                </c:pt>
                <c:pt idx="76">
                  <c:v>9.8000000000000007</c:v>
                </c:pt>
                <c:pt idx="77">
                  <c:v>9.8000000000000007</c:v>
                </c:pt>
                <c:pt idx="78">
                  <c:v>9.8000000000000007</c:v>
                </c:pt>
                <c:pt idx="79">
                  <c:v>9.8000000000000007</c:v>
                </c:pt>
                <c:pt idx="80">
                  <c:v>9.8000000000000007</c:v>
                </c:pt>
                <c:pt idx="81">
                  <c:v>9.8000000000000007</c:v>
                </c:pt>
                <c:pt idx="82">
                  <c:v>9.8000000000000007</c:v>
                </c:pt>
                <c:pt idx="83">
                  <c:v>9.8000000000000007</c:v>
                </c:pt>
                <c:pt idx="84">
                  <c:v>9.8000000000000007</c:v>
                </c:pt>
                <c:pt idx="85">
                  <c:v>9.8000000000000007</c:v>
                </c:pt>
                <c:pt idx="86">
                  <c:v>9.8000000000000007</c:v>
                </c:pt>
                <c:pt idx="87">
                  <c:v>9.8000000000000007</c:v>
                </c:pt>
                <c:pt idx="88">
                  <c:v>9.8000000000000007</c:v>
                </c:pt>
                <c:pt idx="89">
                  <c:v>9.8000000000000007</c:v>
                </c:pt>
                <c:pt idx="90">
                  <c:v>22.44</c:v>
                </c:pt>
                <c:pt idx="91">
                  <c:v>22.44</c:v>
                </c:pt>
                <c:pt idx="92">
                  <c:v>22.44</c:v>
                </c:pt>
                <c:pt idx="93">
                  <c:v>22.44</c:v>
                </c:pt>
                <c:pt idx="94">
                  <c:v>22.44</c:v>
                </c:pt>
                <c:pt idx="95">
                  <c:v>22.44</c:v>
                </c:pt>
                <c:pt idx="96">
                  <c:v>22.44</c:v>
                </c:pt>
                <c:pt idx="97">
                  <c:v>27</c:v>
                </c:pt>
                <c:pt idx="98">
                  <c:v>27</c:v>
                </c:pt>
                <c:pt idx="99">
                  <c:v>27</c:v>
                </c:pt>
                <c:pt idx="100">
                  <c:v>27</c:v>
                </c:pt>
                <c:pt idx="101">
                  <c:v>27.99</c:v>
                </c:pt>
                <c:pt idx="102">
                  <c:v>27.99</c:v>
                </c:pt>
                <c:pt idx="103">
                  <c:v>27.99</c:v>
                </c:pt>
                <c:pt idx="104">
                  <c:v>27.99</c:v>
                </c:pt>
                <c:pt idx="105">
                  <c:v>27.99</c:v>
                </c:pt>
                <c:pt idx="106">
                  <c:v>27.99</c:v>
                </c:pt>
                <c:pt idx="107">
                  <c:v>27.99</c:v>
                </c:pt>
                <c:pt idx="108">
                  <c:v>27.99</c:v>
                </c:pt>
                <c:pt idx="109">
                  <c:v>27.99</c:v>
                </c:pt>
                <c:pt idx="110">
                  <c:v>27.99</c:v>
                </c:pt>
                <c:pt idx="111">
                  <c:v>27.99</c:v>
                </c:pt>
                <c:pt idx="112">
                  <c:v>27.99</c:v>
                </c:pt>
                <c:pt idx="113">
                  <c:v>27.99</c:v>
                </c:pt>
                <c:pt idx="114">
                  <c:v>27.99</c:v>
                </c:pt>
                <c:pt idx="115">
                  <c:v>27.99</c:v>
                </c:pt>
                <c:pt idx="116">
                  <c:v>27.99</c:v>
                </c:pt>
                <c:pt idx="117">
                  <c:v>27.99</c:v>
                </c:pt>
                <c:pt idx="118">
                  <c:v>27.99</c:v>
                </c:pt>
                <c:pt idx="119">
                  <c:v>27.99</c:v>
                </c:pt>
                <c:pt idx="120">
                  <c:v>27.99</c:v>
                </c:pt>
                <c:pt idx="121">
                  <c:v>27.99</c:v>
                </c:pt>
                <c:pt idx="122">
                  <c:v>27.99</c:v>
                </c:pt>
                <c:pt idx="123">
                  <c:v>27.99</c:v>
                </c:pt>
                <c:pt idx="124">
                  <c:v>27.99</c:v>
                </c:pt>
                <c:pt idx="125">
                  <c:v>27.99</c:v>
                </c:pt>
                <c:pt idx="126">
                  <c:v>27.62</c:v>
                </c:pt>
                <c:pt idx="127">
                  <c:v>27.62</c:v>
                </c:pt>
                <c:pt idx="128">
                  <c:v>27.62</c:v>
                </c:pt>
                <c:pt idx="129">
                  <c:v>27.62</c:v>
                </c:pt>
                <c:pt idx="130">
                  <c:v>17.829999999999998</c:v>
                </c:pt>
                <c:pt idx="131">
                  <c:v>17.829999999999998</c:v>
                </c:pt>
                <c:pt idx="132">
                  <c:v>17.829999999999998</c:v>
                </c:pt>
                <c:pt idx="133">
                  <c:v>17.829999999999998</c:v>
                </c:pt>
                <c:pt idx="134">
                  <c:v>17.829999999999998</c:v>
                </c:pt>
                <c:pt idx="135">
                  <c:v>17.829999999999998</c:v>
                </c:pt>
                <c:pt idx="136">
                  <c:v>17.829999999999998</c:v>
                </c:pt>
                <c:pt idx="137">
                  <c:v>17.829999999999998</c:v>
                </c:pt>
                <c:pt idx="138">
                  <c:v>17.829999999999998</c:v>
                </c:pt>
                <c:pt idx="139">
                  <c:v>17.829999999999998</c:v>
                </c:pt>
                <c:pt idx="140">
                  <c:v>17.829999999999998</c:v>
                </c:pt>
                <c:pt idx="141">
                  <c:v>21.87</c:v>
                </c:pt>
                <c:pt idx="142">
                  <c:v>21.87</c:v>
                </c:pt>
                <c:pt idx="143">
                  <c:v>17.829999999999998</c:v>
                </c:pt>
                <c:pt idx="144">
                  <c:v>17.829999999999998</c:v>
                </c:pt>
                <c:pt idx="145">
                  <c:v>17.829999999999998</c:v>
                </c:pt>
                <c:pt idx="146">
                  <c:v>17.829999999999998</c:v>
                </c:pt>
                <c:pt idx="147">
                  <c:v>6.94</c:v>
                </c:pt>
                <c:pt idx="148">
                  <c:v>14.4</c:v>
                </c:pt>
                <c:pt idx="149">
                  <c:v>15.6</c:v>
                </c:pt>
                <c:pt idx="150">
                  <c:v>15.6</c:v>
                </c:pt>
                <c:pt idx="151">
                  <c:v>15.6</c:v>
                </c:pt>
                <c:pt idx="152">
                  <c:v>15.6</c:v>
                </c:pt>
                <c:pt idx="153">
                  <c:v>15.6</c:v>
                </c:pt>
                <c:pt idx="154">
                  <c:v>15.6</c:v>
                </c:pt>
                <c:pt idx="155">
                  <c:v>15.6</c:v>
                </c:pt>
                <c:pt idx="156">
                  <c:v>15.6</c:v>
                </c:pt>
                <c:pt idx="157">
                  <c:v>15.6</c:v>
                </c:pt>
                <c:pt idx="158">
                  <c:v>15.6</c:v>
                </c:pt>
                <c:pt idx="159">
                  <c:v>15.6</c:v>
                </c:pt>
                <c:pt idx="160">
                  <c:v>15.6</c:v>
                </c:pt>
                <c:pt idx="161">
                  <c:v>15.6</c:v>
                </c:pt>
                <c:pt idx="162">
                  <c:v>15.6</c:v>
                </c:pt>
                <c:pt idx="163">
                  <c:v>15.6</c:v>
                </c:pt>
                <c:pt idx="164">
                  <c:v>15.6</c:v>
                </c:pt>
                <c:pt idx="165">
                  <c:v>15.6</c:v>
                </c:pt>
                <c:pt idx="166">
                  <c:v>15.6</c:v>
                </c:pt>
                <c:pt idx="167">
                  <c:v>15.6</c:v>
                </c:pt>
                <c:pt idx="168">
                  <c:v>15.6</c:v>
                </c:pt>
                <c:pt idx="169">
                  <c:v>15.6</c:v>
                </c:pt>
                <c:pt idx="170">
                  <c:v>15.6</c:v>
                </c:pt>
                <c:pt idx="171">
                  <c:v>15.6</c:v>
                </c:pt>
                <c:pt idx="172">
                  <c:v>15.8</c:v>
                </c:pt>
                <c:pt idx="173">
                  <c:v>15.8</c:v>
                </c:pt>
                <c:pt idx="174">
                  <c:v>15.8</c:v>
                </c:pt>
                <c:pt idx="175">
                  <c:v>15.8</c:v>
                </c:pt>
                <c:pt idx="176">
                  <c:v>15.8</c:v>
                </c:pt>
                <c:pt idx="177">
                  <c:v>15.8</c:v>
                </c:pt>
                <c:pt idx="178">
                  <c:v>15.8</c:v>
                </c:pt>
                <c:pt idx="179">
                  <c:v>15.8</c:v>
                </c:pt>
                <c:pt idx="180">
                  <c:v>15.8</c:v>
                </c:pt>
                <c:pt idx="181">
                  <c:v>16.600000000000001</c:v>
                </c:pt>
                <c:pt idx="182">
                  <c:v>16.600000000000001</c:v>
                </c:pt>
                <c:pt idx="183">
                  <c:v>16.600000000000001</c:v>
                </c:pt>
                <c:pt idx="184">
                  <c:v>16.600000000000001</c:v>
                </c:pt>
                <c:pt idx="185">
                  <c:v>16.600000000000001</c:v>
                </c:pt>
                <c:pt idx="186">
                  <c:v>16.600000000000001</c:v>
                </c:pt>
                <c:pt idx="187">
                  <c:v>16.600000000000001</c:v>
                </c:pt>
                <c:pt idx="188">
                  <c:v>16.600000000000001</c:v>
                </c:pt>
                <c:pt idx="189">
                  <c:v>16.600000000000001</c:v>
                </c:pt>
                <c:pt idx="190">
                  <c:v>16.600000000000001</c:v>
                </c:pt>
                <c:pt idx="191">
                  <c:v>16.600000000000001</c:v>
                </c:pt>
                <c:pt idx="192">
                  <c:v>16.600000000000001</c:v>
                </c:pt>
                <c:pt idx="193">
                  <c:v>16.600000000000001</c:v>
                </c:pt>
                <c:pt idx="194">
                  <c:v>16.600000000000001</c:v>
                </c:pt>
                <c:pt idx="195">
                  <c:v>16.600000000000001</c:v>
                </c:pt>
                <c:pt idx="196">
                  <c:v>16.600000000000001</c:v>
                </c:pt>
                <c:pt idx="197">
                  <c:v>16.600000000000001</c:v>
                </c:pt>
                <c:pt idx="198">
                  <c:v>16.600000000000001</c:v>
                </c:pt>
                <c:pt idx="199">
                  <c:v>16.600000000000001</c:v>
                </c:pt>
                <c:pt idx="200">
                  <c:v>16.600000000000001</c:v>
                </c:pt>
                <c:pt idx="201">
                  <c:v>16.600000000000001</c:v>
                </c:pt>
                <c:pt idx="202">
                  <c:v>16.600000000000001</c:v>
                </c:pt>
                <c:pt idx="203">
                  <c:v>16.600000000000001</c:v>
                </c:pt>
                <c:pt idx="204">
                  <c:v>16.600000000000001</c:v>
                </c:pt>
                <c:pt idx="205">
                  <c:v>16.600000000000001</c:v>
                </c:pt>
                <c:pt idx="206">
                  <c:v>16.600000000000001</c:v>
                </c:pt>
                <c:pt idx="207">
                  <c:v>16.600000000000001</c:v>
                </c:pt>
                <c:pt idx="208">
                  <c:v>16.600000000000001</c:v>
                </c:pt>
                <c:pt idx="209">
                  <c:v>16.600000000000001</c:v>
                </c:pt>
                <c:pt idx="210">
                  <c:v>16.600000000000001</c:v>
                </c:pt>
                <c:pt idx="211">
                  <c:v>16.600000000000001</c:v>
                </c:pt>
                <c:pt idx="212">
                  <c:v>16.600000000000001</c:v>
                </c:pt>
                <c:pt idx="213">
                  <c:v>16.600000000000001</c:v>
                </c:pt>
                <c:pt idx="214">
                  <c:v>16.600000000000001</c:v>
                </c:pt>
                <c:pt idx="215">
                  <c:v>16.600000000000001</c:v>
                </c:pt>
                <c:pt idx="216">
                  <c:v>16.600000000000001</c:v>
                </c:pt>
                <c:pt idx="217">
                  <c:v>18.600000000000001</c:v>
                </c:pt>
                <c:pt idx="218">
                  <c:v>18.600000000000001</c:v>
                </c:pt>
                <c:pt idx="219">
                  <c:v>18.600000000000001</c:v>
                </c:pt>
                <c:pt idx="220">
                  <c:v>18.600000000000001</c:v>
                </c:pt>
                <c:pt idx="221">
                  <c:v>18.600000000000001</c:v>
                </c:pt>
                <c:pt idx="222">
                  <c:v>18.600000000000001</c:v>
                </c:pt>
                <c:pt idx="223">
                  <c:v>18.600000000000001</c:v>
                </c:pt>
                <c:pt idx="224">
                  <c:v>18.600000000000001</c:v>
                </c:pt>
                <c:pt idx="225">
                  <c:v>18.600000000000001</c:v>
                </c:pt>
                <c:pt idx="226">
                  <c:v>18.600000000000001</c:v>
                </c:pt>
                <c:pt idx="227">
                  <c:v>18.600000000000001</c:v>
                </c:pt>
                <c:pt idx="228">
                  <c:v>18.600000000000001</c:v>
                </c:pt>
                <c:pt idx="229">
                  <c:v>18.600000000000001</c:v>
                </c:pt>
                <c:pt idx="230">
                  <c:v>18.600000000000001</c:v>
                </c:pt>
                <c:pt idx="231">
                  <c:v>18.600000000000001</c:v>
                </c:pt>
                <c:pt idx="232">
                  <c:v>18.600000000000001</c:v>
                </c:pt>
                <c:pt idx="233">
                  <c:v>18.600000000000001</c:v>
                </c:pt>
                <c:pt idx="234">
                  <c:v>18.600000000000001</c:v>
                </c:pt>
                <c:pt idx="235">
                  <c:v>18.600000000000001</c:v>
                </c:pt>
                <c:pt idx="236">
                  <c:v>18.600000000000001</c:v>
                </c:pt>
                <c:pt idx="237">
                  <c:v>18.600000000000001</c:v>
                </c:pt>
                <c:pt idx="238">
                  <c:v>18.600000000000001</c:v>
                </c:pt>
                <c:pt idx="239">
                  <c:v>18.600000000000001</c:v>
                </c:pt>
                <c:pt idx="240">
                  <c:v>18.600000000000001</c:v>
                </c:pt>
                <c:pt idx="241">
                  <c:v>18.600000000000001</c:v>
                </c:pt>
                <c:pt idx="242">
                  <c:v>18.600000000000001</c:v>
                </c:pt>
                <c:pt idx="243">
                  <c:v>18.600000000000001</c:v>
                </c:pt>
                <c:pt idx="244">
                  <c:v>17.399999999999999</c:v>
                </c:pt>
                <c:pt idx="245">
                  <c:v>17.399999999999999</c:v>
                </c:pt>
                <c:pt idx="246">
                  <c:v>17.399999999999999</c:v>
                </c:pt>
                <c:pt idx="247">
                  <c:v>17.399999999999999</c:v>
                </c:pt>
                <c:pt idx="248">
                  <c:v>17.399999999999999</c:v>
                </c:pt>
                <c:pt idx="249">
                  <c:v>17.399999999999999</c:v>
                </c:pt>
                <c:pt idx="250">
                  <c:v>17.399999999999999</c:v>
                </c:pt>
                <c:pt idx="251">
                  <c:v>17.399999999999999</c:v>
                </c:pt>
                <c:pt idx="252">
                  <c:v>17.399999999999999</c:v>
                </c:pt>
                <c:pt idx="253">
                  <c:v>17.399999999999999</c:v>
                </c:pt>
                <c:pt idx="254">
                  <c:v>17.399999999999999</c:v>
                </c:pt>
                <c:pt idx="255">
                  <c:v>17.399999999999999</c:v>
                </c:pt>
                <c:pt idx="256">
                  <c:v>17.399999999999999</c:v>
                </c:pt>
                <c:pt idx="257">
                  <c:v>17.399999999999999</c:v>
                </c:pt>
                <c:pt idx="258">
                  <c:v>17.399999999999999</c:v>
                </c:pt>
                <c:pt idx="259">
                  <c:v>17.399999999999999</c:v>
                </c:pt>
                <c:pt idx="260">
                  <c:v>17.399999999999999</c:v>
                </c:pt>
                <c:pt idx="261">
                  <c:v>17.399999999999999</c:v>
                </c:pt>
                <c:pt idx="262">
                  <c:v>17.399999999999999</c:v>
                </c:pt>
                <c:pt idx="263">
                  <c:v>17.399999999999999</c:v>
                </c:pt>
                <c:pt idx="264">
                  <c:v>17.399999999999999</c:v>
                </c:pt>
                <c:pt idx="265">
                  <c:v>17.399999999999999</c:v>
                </c:pt>
                <c:pt idx="266">
                  <c:v>17.399999999999999</c:v>
                </c:pt>
                <c:pt idx="267">
                  <c:v>17.399999999999999</c:v>
                </c:pt>
                <c:pt idx="268">
                  <c:v>17.399999999999999</c:v>
                </c:pt>
                <c:pt idx="269">
                  <c:v>17.399999999999999</c:v>
                </c:pt>
                <c:pt idx="270">
                  <c:v>17.399999999999999</c:v>
                </c:pt>
                <c:pt idx="271">
                  <c:v>17.399999999999999</c:v>
                </c:pt>
                <c:pt idx="272">
                  <c:v>17.399999999999999</c:v>
                </c:pt>
                <c:pt idx="273">
                  <c:v>17.399999999999999</c:v>
                </c:pt>
                <c:pt idx="274">
                  <c:v>17.399999999999999</c:v>
                </c:pt>
                <c:pt idx="275">
                  <c:v>17.399999999999999</c:v>
                </c:pt>
                <c:pt idx="276">
                  <c:v>17.399999999999999</c:v>
                </c:pt>
                <c:pt idx="277">
                  <c:v>17.399999999999999</c:v>
                </c:pt>
                <c:pt idx="278">
                  <c:v>17.399999999999999</c:v>
                </c:pt>
                <c:pt idx="279">
                  <c:v>17.399999999999999</c:v>
                </c:pt>
                <c:pt idx="280">
                  <c:v>17.399999999999999</c:v>
                </c:pt>
                <c:pt idx="281">
                  <c:v>17.399999999999999</c:v>
                </c:pt>
                <c:pt idx="282">
                  <c:v>17.399999999999999</c:v>
                </c:pt>
                <c:pt idx="283">
                  <c:v>17.399999999999999</c:v>
                </c:pt>
                <c:pt idx="284">
                  <c:v>17.399999999999999</c:v>
                </c:pt>
                <c:pt idx="285">
                  <c:v>17.975490314033927</c:v>
                </c:pt>
                <c:pt idx="286">
                  <c:v>17.975490314033927</c:v>
                </c:pt>
                <c:pt idx="287">
                  <c:v>17.975490314033927</c:v>
                </c:pt>
                <c:pt idx="288">
                  <c:v>17.975490314033927</c:v>
                </c:pt>
                <c:pt idx="289">
                  <c:v>17.975490314033927</c:v>
                </c:pt>
                <c:pt idx="290">
                  <c:v>17.975490314033927</c:v>
                </c:pt>
                <c:pt idx="291">
                  <c:v>17.975490314033927</c:v>
                </c:pt>
                <c:pt idx="292">
                  <c:v>17.975490314033927</c:v>
                </c:pt>
                <c:pt idx="293">
                  <c:v>17.975490314033927</c:v>
                </c:pt>
                <c:pt idx="294">
                  <c:v>17.975490314033927</c:v>
                </c:pt>
                <c:pt idx="295">
                  <c:v>17.975490314033927</c:v>
                </c:pt>
                <c:pt idx="296">
                  <c:v>17.975490314033927</c:v>
                </c:pt>
                <c:pt idx="297">
                  <c:v>17.975490314033927</c:v>
                </c:pt>
                <c:pt idx="298">
                  <c:v>17.975490314033927</c:v>
                </c:pt>
                <c:pt idx="299">
                  <c:v>17.975490314033927</c:v>
                </c:pt>
                <c:pt idx="300">
                  <c:v>17.975490314033927</c:v>
                </c:pt>
                <c:pt idx="301">
                  <c:v>17.899999999999999</c:v>
                </c:pt>
                <c:pt idx="302">
                  <c:v>17.899999999999999</c:v>
                </c:pt>
                <c:pt idx="303">
                  <c:v>17.899999999999999</c:v>
                </c:pt>
                <c:pt idx="304">
                  <c:v>17.899999999999999</c:v>
                </c:pt>
                <c:pt idx="305">
                  <c:v>17.899999999999999</c:v>
                </c:pt>
                <c:pt idx="306">
                  <c:v>17.899999999999999</c:v>
                </c:pt>
                <c:pt idx="307">
                  <c:v>17.899999999999999</c:v>
                </c:pt>
                <c:pt idx="308">
                  <c:v>17.899999999999999</c:v>
                </c:pt>
                <c:pt idx="309">
                  <c:v>17.899999999999999</c:v>
                </c:pt>
                <c:pt idx="310">
                  <c:v>17.899999999999999</c:v>
                </c:pt>
                <c:pt idx="311">
                  <c:v>17.899999999999999</c:v>
                </c:pt>
                <c:pt idx="312">
                  <c:v>17.899999999999999</c:v>
                </c:pt>
                <c:pt idx="313">
                  <c:v>17.899999999999999</c:v>
                </c:pt>
                <c:pt idx="314">
                  <c:v>17.899999999999999</c:v>
                </c:pt>
                <c:pt idx="315">
                  <c:v>17.899999999999999</c:v>
                </c:pt>
                <c:pt idx="316">
                  <c:v>17.899999999999999</c:v>
                </c:pt>
                <c:pt idx="317">
                  <c:v>17.899999999999999</c:v>
                </c:pt>
                <c:pt idx="318">
                  <c:v>17.899999999999999</c:v>
                </c:pt>
                <c:pt idx="319" formatCode="General">
                  <c:v>16.8</c:v>
                </c:pt>
                <c:pt idx="320" formatCode="General">
                  <c:v>16.8</c:v>
                </c:pt>
                <c:pt idx="321" formatCode="General">
                  <c:v>16.8</c:v>
                </c:pt>
                <c:pt idx="322" formatCode="General">
                  <c:v>16.8</c:v>
                </c:pt>
                <c:pt idx="323" formatCode="General">
                  <c:v>16.8</c:v>
                </c:pt>
                <c:pt idx="324" formatCode="General">
                  <c:v>16.8</c:v>
                </c:pt>
                <c:pt idx="325" formatCode="General">
                  <c:v>16.8</c:v>
                </c:pt>
                <c:pt idx="326" formatCode="General">
                  <c:v>16.8</c:v>
                </c:pt>
                <c:pt idx="327" formatCode="General">
                  <c:v>16.8</c:v>
                </c:pt>
                <c:pt idx="328" formatCode="General">
                  <c:v>16.8</c:v>
                </c:pt>
                <c:pt idx="329" formatCode="General">
                  <c:v>16.8</c:v>
                </c:pt>
                <c:pt idx="330" formatCode="General">
                  <c:v>16.8</c:v>
                </c:pt>
                <c:pt idx="331" formatCode="General">
                  <c:v>16.8</c:v>
                </c:pt>
                <c:pt idx="332" formatCode="General">
                  <c:v>16.8</c:v>
                </c:pt>
                <c:pt idx="333" formatCode="General">
                  <c:v>16.8</c:v>
                </c:pt>
                <c:pt idx="334" formatCode="General">
                  <c:v>16.8</c:v>
                </c:pt>
                <c:pt idx="335" formatCode="General">
                  <c:v>16.8</c:v>
                </c:pt>
                <c:pt idx="336" formatCode="General">
                  <c:v>16.8</c:v>
                </c:pt>
                <c:pt idx="337" formatCode="General">
                  <c:v>16.8</c:v>
                </c:pt>
                <c:pt idx="338" formatCode="General">
                  <c:v>16.8</c:v>
                </c:pt>
                <c:pt idx="339" formatCode="General">
                  <c:v>16.8</c:v>
                </c:pt>
                <c:pt idx="340" formatCode="General">
                  <c:v>16.8</c:v>
                </c:pt>
                <c:pt idx="341" formatCode="General">
                  <c:v>16.8</c:v>
                </c:pt>
                <c:pt idx="342" formatCode="General">
                  <c:v>16.8</c:v>
                </c:pt>
                <c:pt idx="343" formatCode="General">
                  <c:v>16.8</c:v>
                </c:pt>
                <c:pt idx="344" formatCode="General">
                  <c:v>16.8</c:v>
                </c:pt>
                <c:pt idx="345" formatCode="General">
                  <c:v>16.8</c:v>
                </c:pt>
                <c:pt idx="346" formatCode="General">
                  <c:v>16.8</c:v>
                </c:pt>
                <c:pt idx="347" formatCode="General">
                  <c:v>16.8</c:v>
                </c:pt>
                <c:pt idx="348" formatCode="General">
                  <c:v>16.8</c:v>
                </c:pt>
                <c:pt idx="349" formatCode="General">
                  <c:v>16.8</c:v>
                </c:pt>
                <c:pt idx="350" formatCode="General">
                  <c:v>16.8</c:v>
                </c:pt>
                <c:pt idx="351" formatCode="General">
                  <c:v>16.8</c:v>
                </c:pt>
                <c:pt idx="352" formatCode="General">
                  <c:v>16.8</c:v>
                </c:pt>
                <c:pt idx="353" formatCode="General">
                  <c:v>16.8</c:v>
                </c:pt>
                <c:pt idx="354" formatCode="General">
                  <c:v>16.8</c:v>
                </c:pt>
                <c:pt idx="355" formatCode="General">
                  <c:v>16.8</c:v>
                </c:pt>
                <c:pt idx="356" formatCode="General">
                  <c:v>16.8</c:v>
                </c:pt>
                <c:pt idx="357" formatCode="General">
                  <c:v>16.8</c:v>
                </c:pt>
                <c:pt idx="358" formatCode="General">
                  <c:v>16.8</c:v>
                </c:pt>
                <c:pt idx="359" formatCode="General">
                  <c:v>16.8</c:v>
                </c:pt>
                <c:pt idx="360" formatCode="General">
                  <c:v>16.8</c:v>
                </c:pt>
                <c:pt idx="361" formatCode="General">
                  <c:v>16.8</c:v>
                </c:pt>
                <c:pt idx="362" formatCode="General">
                  <c:v>16.8</c:v>
                </c:pt>
                <c:pt idx="363" formatCode="General">
                  <c:v>16.8</c:v>
                </c:pt>
                <c:pt idx="364" formatCode="General">
                  <c:v>16.8</c:v>
                </c:pt>
                <c:pt idx="365" formatCode="General">
                  <c:v>16.8</c:v>
                </c:pt>
                <c:pt idx="366" formatCode="General">
                  <c:v>16.8</c:v>
                </c:pt>
                <c:pt idx="367" formatCode="General">
                  <c:v>16.8</c:v>
                </c:pt>
                <c:pt idx="368" formatCode="General">
                  <c:v>16.8</c:v>
                </c:pt>
                <c:pt idx="369" formatCode="General">
                  <c:v>16.8</c:v>
                </c:pt>
                <c:pt idx="370" formatCode="General">
                  <c:v>16.8</c:v>
                </c:pt>
                <c:pt idx="371" formatCode="General">
                  <c:v>16.8</c:v>
                </c:pt>
                <c:pt idx="372" formatCode="General">
                  <c:v>16.8</c:v>
                </c:pt>
                <c:pt idx="373" formatCode="General">
                  <c:v>16.8</c:v>
                </c:pt>
                <c:pt idx="374" formatCode="General">
                  <c:v>16.8</c:v>
                </c:pt>
                <c:pt idx="375" formatCode="General">
                  <c:v>16.8</c:v>
                </c:pt>
                <c:pt idx="376" formatCode="General">
                  <c:v>16.8</c:v>
                </c:pt>
                <c:pt idx="377" formatCode="General">
                  <c:v>16.8</c:v>
                </c:pt>
                <c:pt idx="378" formatCode="General">
                  <c:v>16.8</c:v>
                </c:pt>
                <c:pt idx="379" formatCode="General">
                  <c:v>16.8</c:v>
                </c:pt>
                <c:pt idx="380" formatCode="General">
                  <c:v>16.8</c:v>
                </c:pt>
                <c:pt idx="381" formatCode="General">
                  <c:v>16.8</c:v>
                </c:pt>
                <c:pt idx="382" formatCode="General">
                  <c:v>16.899999999999999</c:v>
                </c:pt>
              </c:numCache>
            </c:numRef>
          </c:val>
          <c:smooth val="0"/>
          <c:extLst>
            <c:ext xmlns:c16="http://schemas.microsoft.com/office/drawing/2014/chart" uri="{C3380CC4-5D6E-409C-BE32-E72D297353CC}">
              <c16:uniqueId val="{00000001-4F9D-4E23-8129-9E62E8219B34}"/>
            </c:ext>
          </c:extLst>
        </c:ser>
        <c:dLbls>
          <c:showLegendKey val="0"/>
          <c:showVal val="0"/>
          <c:showCatName val="0"/>
          <c:showSerName val="0"/>
          <c:showPercent val="0"/>
          <c:showBubbleSize val="0"/>
        </c:dLbls>
        <c:marker val="1"/>
        <c:smooth val="0"/>
        <c:axId val="1333037728"/>
        <c:axId val="1333038208"/>
      </c:lineChart>
      <c:dateAx>
        <c:axId val="1333037728"/>
        <c:scaling>
          <c:orientation val="minMax"/>
          <c:max val="46387"/>
          <c:min val="45658"/>
        </c:scaling>
        <c:delete val="0"/>
        <c:axPos val="b"/>
        <c:numFmt formatCode="[$-409]mmm\-yy;@" sourceLinked="0"/>
        <c:majorTickMark val="none"/>
        <c:minorTickMark val="none"/>
        <c:tickLblPos val="low"/>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1333038208"/>
        <c:crosses val="autoZero"/>
        <c:auto val="1"/>
        <c:lblOffset val="100"/>
        <c:baseTimeUnit val="days"/>
        <c:majorUnit val="2"/>
        <c:majorTimeUnit val="months"/>
      </c:dateAx>
      <c:valAx>
        <c:axId val="1333038208"/>
        <c:scaling>
          <c:orientation val="minMax"/>
        </c:scaling>
        <c:delete val="0"/>
        <c:axPos val="l"/>
        <c:majorGridlines>
          <c:spPr>
            <a:ln w="3175" cap="flat" cmpd="sng" algn="ctr">
              <a:solidFill>
                <a:srgbClr val="000000"/>
              </a:solidFill>
              <a:prstDash val="solid"/>
              <a:round/>
              <a:headEnd type="none" w="med" len="med"/>
              <a:tailEnd type="none" w="med" len="med"/>
            </a:ln>
            <a:effectLst/>
          </c:spPr>
        </c:majorGridlines>
        <c:numFmt formatCode="#,##0" sourceLinked="0"/>
        <c:majorTickMark val="none"/>
        <c:minorTickMark val="none"/>
        <c:tickLblPos val="nextTo"/>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1333037728"/>
        <c:crosses val="autoZero"/>
        <c:crossBetween val="between"/>
      </c:valAx>
      <c:valAx>
        <c:axId val="1505534367"/>
        <c:scaling>
          <c:orientation val="minMax"/>
          <c:max val="1"/>
        </c:scaling>
        <c:delete val="0"/>
        <c:axPos val="r"/>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1505531487"/>
        <c:crosses val="max"/>
        <c:crossBetween val="between"/>
      </c:valAx>
      <c:dateAx>
        <c:axId val="1505531487"/>
        <c:scaling>
          <c:orientation val="minMax"/>
        </c:scaling>
        <c:delete val="1"/>
        <c:axPos val="b"/>
        <c:numFmt formatCode="m/d/yyyy" sourceLinked="1"/>
        <c:majorTickMark val="out"/>
        <c:minorTickMark val="none"/>
        <c:tickLblPos val="nextTo"/>
        <c:crossAx val="1505534367"/>
        <c:crosses val="autoZero"/>
        <c:auto val="1"/>
        <c:lblOffset val="100"/>
        <c:baseTimeUnit val="days"/>
      </c:dateAx>
      <c:spPr>
        <a:solidFill>
          <a:srgbClr val="FFFFFF"/>
        </a:solid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00">
          <a:solidFill>
            <a:srgbClr val="000000"/>
          </a:solidFill>
          <a:latin typeface="+mn-lt"/>
          <a:ea typeface="+mn-ea"/>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nual chart'!$D$3</c:f>
              <c:strCache>
                <c:ptCount val="1"/>
                <c:pt idx="0">
                  <c:v>S&amp;P 500 EPS</c:v>
                </c:pt>
              </c:strCache>
            </c:strRef>
          </c:tx>
          <c:spPr>
            <a:solidFill>
              <a:srgbClr val="8E8D83"/>
            </a:solidFill>
          </c:spPr>
          <c:invertIfNegative val="0"/>
          <c:dPt>
            <c:idx val="0"/>
            <c:invertIfNegative val="0"/>
            <c:bubble3D val="0"/>
            <c:extLst>
              <c:ext xmlns:c16="http://schemas.microsoft.com/office/drawing/2014/chart" uri="{C3380CC4-5D6E-409C-BE32-E72D297353CC}">
                <c16:uniqueId val="{00000001-5F28-4114-AB36-0D75CB820898}"/>
              </c:ext>
            </c:extLst>
          </c:dPt>
          <c:dPt>
            <c:idx val="1"/>
            <c:invertIfNegative val="0"/>
            <c:bubble3D val="0"/>
            <c:extLst>
              <c:ext xmlns:c16="http://schemas.microsoft.com/office/drawing/2014/chart" uri="{C3380CC4-5D6E-409C-BE32-E72D297353CC}">
                <c16:uniqueId val="{00000003-5F28-4114-AB36-0D75CB820898}"/>
              </c:ext>
            </c:extLst>
          </c:dPt>
          <c:dPt>
            <c:idx val="2"/>
            <c:invertIfNegative val="0"/>
            <c:bubble3D val="0"/>
            <c:extLst>
              <c:ext xmlns:c16="http://schemas.microsoft.com/office/drawing/2014/chart" uri="{C3380CC4-5D6E-409C-BE32-E72D297353CC}">
                <c16:uniqueId val="{00000005-5F28-4114-AB36-0D75CB820898}"/>
              </c:ext>
            </c:extLst>
          </c:dPt>
          <c:dPt>
            <c:idx val="3"/>
            <c:invertIfNegative val="0"/>
            <c:bubble3D val="0"/>
            <c:extLst>
              <c:ext xmlns:c16="http://schemas.microsoft.com/office/drawing/2014/chart" uri="{C3380CC4-5D6E-409C-BE32-E72D297353CC}">
                <c16:uniqueId val="{00000007-5F28-4114-AB36-0D75CB820898}"/>
              </c:ext>
            </c:extLst>
          </c:dPt>
          <c:dPt>
            <c:idx val="4"/>
            <c:invertIfNegative val="0"/>
            <c:bubble3D val="0"/>
            <c:spPr>
              <a:solidFill>
                <a:srgbClr val="BD000C"/>
              </a:solidFill>
            </c:spPr>
            <c:extLst>
              <c:ext xmlns:c16="http://schemas.microsoft.com/office/drawing/2014/chart" uri="{C3380CC4-5D6E-409C-BE32-E72D297353CC}">
                <c16:uniqueId val="{00000009-5F28-4114-AB36-0D75CB820898}"/>
              </c:ext>
            </c:extLst>
          </c:dPt>
          <c:dPt>
            <c:idx val="5"/>
            <c:invertIfNegative val="0"/>
            <c:bubble3D val="0"/>
            <c:spPr>
              <a:solidFill>
                <a:srgbClr val="BD000C"/>
              </a:solidFill>
            </c:spPr>
            <c:extLst>
              <c:ext xmlns:c16="http://schemas.microsoft.com/office/drawing/2014/chart" uri="{C3380CC4-5D6E-409C-BE32-E72D297353CC}">
                <c16:uniqueId val="{0000000B-5F28-4114-AB36-0D75CB820898}"/>
              </c:ext>
            </c:extLst>
          </c:dPt>
          <c:dPt>
            <c:idx val="6"/>
            <c:invertIfNegative val="0"/>
            <c:bubble3D val="0"/>
            <c:extLst>
              <c:ext xmlns:c16="http://schemas.microsoft.com/office/drawing/2014/chart" uri="{C3380CC4-5D6E-409C-BE32-E72D297353CC}">
                <c16:uniqueId val="{0000000D-5F28-4114-AB36-0D75CB820898}"/>
              </c:ext>
            </c:extLst>
          </c:dPt>
          <c:dPt>
            <c:idx val="7"/>
            <c:invertIfNegative val="0"/>
            <c:bubble3D val="0"/>
            <c:extLst>
              <c:ext xmlns:c16="http://schemas.microsoft.com/office/drawing/2014/chart" uri="{C3380CC4-5D6E-409C-BE32-E72D297353CC}">
                <c16:uniqueId val="{0000000F-5F28-4114-AB36-0D75CB820898}"/>
              </c:ext>
            </c:extLst>
          </c:dPt>
          <c:dPt>
            <c:idx val="8"/>
            <c:invertIfNegative val="0"/>
            <c:bubble3D val="0"/>
            <c:extLst>
              <c:ext xmlns:c16="http://schemas.microsoft.com/office/drawing/2014/chart" uri="{C3380CC4-5D6E-409C-BE32-E72D297353CC}">
                <c16:uniqueId val="{00000010-5F28-4114-AB36-0D75CB820898}"/>
              </c:ext>
            </c:extLst>
          </c:dPt>
          <c:dPt>
            <c:idx val="9"/>
            <c:invertIfNegative val="0"/>
            <c:bubble3D val="0"/>
            <c:extLst>
              <c:ext xmlns:c16="http://schemas.microsoft.com/office/drawing/2014/chart" uri="{C3380CC4-5D6E-409C-BE32-E72D297353CC}">
                <c16:uniqueId val="{00000011-5F28-4114-AB36-0D75CB820898}"/>
              </c:ext>
            </c:extLst>
          </c:dPt>
          <c:dLbls>
            <c:dLbl>
              <c:idx val="4"/>
              <c:tx>
                <c:rich>
                  <a:bodyPr/>
                  <a:lstStyle/>
                  <a:p>
                    <a:fld id="{13636AA9-93BA-4FF5-BF57-592CC9CBBB37}" type="VALUE">
                      <a:rPr lang="en-US">
                        <a:solidFill>
                          <a:sysClr val="windowText" lastClr="000000"/>
                        </a:solidFill>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5F28-4114-AB36-0D75CB820898}"/>
                </c:ext>
              </c:extLst>
            </c:dLbl>
            <c:dLbl>
              <c:idx val="5"/>
              <c:numFmt formatCode="#,##0" sourceLinked="0"/>
              <c:spPr/>
              <c:txPr>
                <a:bodyPr/>
                <a:lstStyle/>
                <a:p>
                  <a:pPr>
                    <a:defRPr b="1">
                      <a:solidFill>
                        <a:sysClr val="windowText" lastClr="000000"/>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B-5F28-4114-AB36-0D75CB820898}"/>
                </c:ext>
              </c:extLst>
            </c:dLbl>
            <c:dLbl>
              <c:idx val="6"/>
              <c:numFmt formatCode="#,##0" sourceLinked="0"/>
              <c:spPr/>
              <c:txPr>
                <a:bodyPr/>
                <a:lstStyle/>
                <a:p>
                  <a:pPr>
                    <a:defRPr b="1">
                      <a:solidFill>
                        <a:sysClr val="windowText" lastClr="000000"/>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D-5F28-4114-AB36-0D75CB820898}"/>
                </c:ext>
              </c:extLst>
            </c:dLbl>
            <c:dLbl>
              <c:idx val="7"/>
              <c:numFmt formatCode="#,##0" sourceLinked="0"/>
              <c:spPr/>
              <c:txPr>
                <a:bodyPr/>
                <a:lstStyle/>
                <a:p>
                  <a:pPr>
                    <a:defRPr b="1">
                      <a:solidFill>
                        <a:sysClr val="windowText" lastClr="000000"/>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F-5F28-4114-AB36-0D75CB820898}"/>
                </c:ext>
              </c:extLst>
            </c:dLbl>
            <c:numFmt formatCode="#,##0" sourceLinked="0"/>
            <c:spPr>
              <a:noFill/>
              <a:ln>
                <a:noFill/>
              </a:ln>
              <a:effectLst/>
            </c:spPr>
            <c:txPr>
              <a:bodyPr/>
              <a:lstStyle/>
              <a:p>
                <a:pPr>
                  <a:defRPr b="1">
                    <a:solidFill>
                      <a:sysClr val="windowText" lastClr="000000"/>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nnual chart'!$C$14:$C$19</c:f>
              <c:strCache>
                <c:ptCount val="6"/>
                <c:pt idx="0">
                  <c:v>2021</c:v>
                </c:pt>
                <c:pt idx="1">
                  <c:v>2022</c:v>
                </c:pt>
                <c:pt idx="2">
                  <c:v>2023</c:v>
                </c:pt>
                <c:pt idx="3">
                  <c:v>2024</c:v>
                </c:pt>
                <c:pt idx="4">
                  <c:v>2025E</c:v>
                </c:pt>
                <c:pt idx="5">
                  <c:v>2026E</c:v>
                </c:pt>
              </c:strCache>
            </c:strRef>
          </c:cat>
          <c:val>
            <c:numRef>
              <c:f>'Annual chart'!$D$14:$D$19</c:f>
              <c:numCache>
                <c:formatCode>0.00</c:formatCode>
                <c:ptCount val="6"/>
                <c:pt idx="0">
                  <c:v>211.08880888114061</c:v>
                </c:pt>
                <c:pt idx="1">
                  <c:v>219.90436536844783</c:v>
                </c:pt>
                <c:pt idx="2">
                  <c:v>227</c:v>
                </c:pt>
                <c:pt idx="3">
                  <c:v>250</c:v>
                </c:pt>
                <c:pt idx="4">
                  <c:v>277</c:v>
                </c:pt>
                <c:pt idx="5">
                  <c:v>310</c:v>
                </c:pt>
              </c:numCache>
            </c:numRef>
          </c:val>
          <c:extLst>
            <c:ext xmlns:c16="http://schemas.microsoft.com/office/drawing/2014/chart" uri="{C3380CC4-5D6E-409C-BE32-E72D297353CC}">
              <c16:uniqueId val="{00000012-5F28-4114-AB36-0D75CB820898}"/>
            </c:ext>
          </c:extLst>
        </c:ser>
        <c:dLbls>
          <c:showLegendKey val="0"/>
          <c:showVal val="1"/>
          <c:showCatName val="0"/>
          <c:showSerName val="0"/>
          <c:showPercent val="0"/>
          <c:showBubbleSize val="0"/>
        </c:dLbls>
        <c:gapWidth val="54"/>
        <c:axId val="250291328"/>
        <c:axId val="250292864"/>
      </c:barChart>
      <c:catAx>
        <c:axId val="250291328"/>
        <c:scaling>
          <c:orientation val="minMax"/>
        </c:scaling>
        <c:delete val="0"/>
        <c:axPos val="b"/>
        <c:numFmt formatCode="General" sourceLinked="0"/>
        <c:majorTickMark val="none"/>
        <c:minorTickMark val="none"/>
        <c:tickLblPos val="nextTo"/>
        <c:spPr>
          <a:ln w="19050">
            <a:solidFill>
              <a:schemeClr val="tx1"/>
            </a:solidFill>
          </a:ln>
        </c:spPr>
        <c:txPr>
          <a:bodyPr/>
          <a:lstStyle/>
          <a:p>
            <a:pPr>
              <a:defRPr sz="1200">
                <a:solidFill>
                  <a:schemeClr val="tx1">
                    <a:lumMod val="65000"/>
                    <a:lumOff val="35000"/>
                  </a:schemeClr>
                </a:solidFill>
              </a:defRPr>
            </a:pPr>
            <a:endParaRPr lang="en-US"/>
          </a:p>
        </c:txPr>
        <c:crossAx val="250292864"/>
        <c:crosses val="autoZero"/>
        <c:auto val="1"/>
        <c:lblAlgn val="ctr"/>
        <c:lblOffset val="100"/>
        <c:noMultiLvlLbl val="0"/>
      </c:catAx>
      <c:valAx>
        <c:axId val="250292864"/>
        <c:scaling>
          <c:orientation val="minMax"/>
          <c:max val="340"/>
          <c:min val="100"/>
        </c:scaling>
        <c:delete val="0"/>
        <c:axPos val="l"/>
        <c:majorGridlines>
          <c:spPr>
            <a:ln w="6350" cap="flat" cmpd="sng" algn="ctr">
              <a:solidFill>
                <a:srgbClr val="B8B3A2"/>
              </a:solidFill>
              <a:prstDash val="solid"/>
              <a:round/>
              <a:headEnd type="none" w="med" len="med"/>
              <a:tailEnd type="none" w="med" len="med"/>
            </a:ln>
          </c:spPr>
        </c:majorGridlines>
        <c:numFmt formatCode="0" sourceLinked="0"/>
        <c:majorTickMark val="none"/>
        <c:minorTickMark val="none"/>
        <c:tickLblPos val="nextTo"/>
        <c:spPr>
          <a:ln>
            <a:noFill/>
          </a:ln>
        </c:spPr>
        <c:txPr>
          <a:bodyPr/>
          <a:lstStyle/>
          <a:p>
            <a:pPr>
              <a:defRPr sz="1200">
                <a:solidFill>
                  <a:schemeClr val="tx1">
                    <a:lumMod val="65000"/>
                    <a:lumOff val="35000"/>
                  </a:schemeClr>
                </a:solidFill>
              </a:defRPr>
            </a:pPr>
            <a:endParaRPr lang="en-US"/>
          </a:p>
        </c:txPr>
        <c:crossAx val="250291328"/>
        <c:crosses val="autoZero"/>
        <c:crossBetween val="between"/>
        <c:majorUnit val="20"/>
      </c:valAx>
    </c:plotArea>
    <c:plotVisOnly val="1"/>
    <c:dispBlanksAs val="gap"/>
    <c:showDLblsOverMax val="0"/>
  </c:chart>
  <c:spPr>
    <a:ln>
      <a:noFill/>
    </a:ln>
  </c:spPr>
  <c:txPr>
    <a:bodyPr/>
    <a:lstStyle/>
    <a:p>
      <a:pPr>
        <a:defRPr sz="1400">
          <a:latin typeface="Frutiger 45 Light" panose="020B0603020202020204" pitchFamily="34" charset="0"/>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V$55</c:f>
              <c:strCache>
                <c:ptCount val="1"/>
                <c:pt idx="0">
                  <c:v>S&amp;P 493</c:v>
                </c:pt>
              </c:strCache>
            </c:strRef>
          </c:tx>
          <c:spPr>
            <a:solidFill>
              <a:srgbClr val="8E8D83"/>
            </a:solidFill>
            <a:ln>
              <a:noFill/>
            </a:ln>
            <a:effectLst/>
          </c:spPr>
          <c:invertIfNegative val="0"/>
          <c:cat>
            <c:strRef>
              <c:f>Sheet1!$BT$5:$CE$5</c:f>
              <c:strCache>
                <c:ptCount val="12"/>
                <c:pt idx="0">
                  <c:v>1Q23</c:v>
                </c:pt>
                <c:pt idx="1">
                  <c:v>2Q23</c:v>
                </c:pt>
                <c:pt idx="2">
                  <c:v>3Q23</c:v>
                </c:pt>
                <c:pt idx="3">
                  <c:v>4Q23</c:v>
                </c:pt>
                <c:pt idx="4">
                  <c:v>1Q24</c:v>
                </c:pt>
                <c:pt idx="5">
                  <c:v>2Q24</c:v>
                </c:pt>
                <c:pt idx="6">
                  <c:v>3Q24</c:v>
                </c:pt>
                <c:pt idx="7">
                  <c:v>4Q24</c:v>
                </c:pt>
                <c:pt idx="8">
                  <c:v>1Q25</c:v>
                </c:pt>
                <c:pt idx="9">
                  <c:v>2Q25</c:v>
                </c:pt>
                <c:pt idx="10">
                  <c:v>3Q25</c:v>
                </c:pt>
                <c:pt idx="11">
                  <c:v>4Q25E</c:v>
                </c:pt>
              </c:strCache>
            </c:strRef>
          </c:cat>
          <c:val>
            <c:numRef>
              <c:f>Sheet1!$BT$25:$CE$25</c:f>
              <c:numCache>
                <c:formatCode>0.0%</c:formatCode>
                <c:ptCount val="12"/>
                <c:pt idx="0">
                  <c:v>-3.2536480325329409E-2</c:v>
                </c:pt>
                <c:pt idx="1">
                  <c:v>-7.5150011870357414E-2</c:v>
                </c:pt>
                <c:pt idx="2">
                  <c:v>-6.7310886708975559E-3</c:v>
                </c:pt>
                <c:pt idx="3">
                  <c:v>1.5308074867732335E-2</c:v>
                </c:pt>
                <c:pt idx="4">
                  <c:v>2.6722366486338522E-2</c:v>
                </c:pt>
                <c:pt idx="5">
                  <c:v>7.6613730601640562E-2</c:v>
                </c:pt>
                <c:pt idx="6">
                  <c:v>2.5687390432540536E-2</c:v>
                </c:pt>
                <c:pt idx="7">
                  <c:v>6.3266922134499692E-2</c:v>
                </c:pt>
                <c:pt idx="8">
                  <c:v>5.3566788179391978E-2</c:v>
                </c:pt>
                <c:pt idx="9">
                  <c:v>4.0124972313700935E-2</c:v>
                </c:pt>
                <c:pt idx="10">
                  <c:v>0.12076374437184922</c:v>
                </c:pt>
                <c:pt idx="11">
                  <c:v>9.0584230964798174E-2</c:v>
                </c:pt>
              </c:numCache>
            </c:numRef>
          </c:val>
          <c:extLst>
            <c:ext xmlns:c16="http://schemas.microsoft.com/office/drawing/2014/chart" uri="{C3380CC4-5D6E-409C-BE32-E72D297353CC}">
              <c16:uniqueId val="{00000000-57A5-40BA-853C-AF03AB568056}"/>
            </c:ext>
          </c:extLst>
        </c:ser>
        <c:ser>
          <c:idx val="1"/>
          <c:order val="1"/>
          <c:tx>
            <c:strRef>
              <c:f>Sheet1!$BV$54</c:f>
              <c:strCache>
                <c:ptCount val="1"/>
                <c:pt idx="0">
                  <c:v>Magnificent 7</c:v>
                </c:pt>
              </c:strCache>
            </c:strRef>
          </c:tx>
          <c:spPr>
            <a:solidFill>
              <a:srgbClr val="BD000C"/>
            </a:solidFill>
            <a:ln>
              <a:noFill/>
            </a:ln>
            <a:effectLst/>
          </c:spPr>
          <c:invertIfNegative val="0"/>
          <c:cat>
            <c:strRef>
              <c:f>Sheet1!$BT$5:$CE$5</c:f>
              <c:strCache>
                <c:ptCount val="12"/>
                <c:pt idx="0">
                  <c:v>1Q23</c:v>
                </c:pt>
                <c:pt idx="1">
                  <c:v>2Q23</c:v>
                </c:pt>
                <c:pt idx="2">
                  <c:v>3Q23</c:v>
                </c:pt>
                <c:pt idx="3">
                  <c:v>4Q23</c:v>
                </c:pt>
                <c:pt idx="4">
                  <c:v>1Q24</c:v>
                </c:pt>
                <c:pt idx="5">
                  <c:v>2Q24</c:v>
                </c:pt>
                <c:pt idx="6">
                  <c:v>3Q24</c:v>
                </c:pt>
                <c:pt idx="7">
                  <c:v>4Q24</c:v>
                </c:pt>
                <c:pt idx="8">
                  <c:v>1Q25</c:v>
                </c:pt>
                <c:pt idx="9">
                  <c:v>2Q25</c:v>
                </c:pt>
                <c:pt idx="10">
                  <c:v>3Q25</c:v>
                </c:pt>
                <c:pt idx="11">
                  <c:v>4Q25E</c:v>
                </c:pt>
              </c:strCache>
            </c:strRef>
          </c:cat>
          <c:val>
            <c:numRef>
              <c:f>Sheet1!$BT$15:$CE$15</c:f>
              <c:numCache>
                <c:formatCode>0.0%</c:formatCode>
                <c:ptCount val="12"/>
                <c:pt idx="0">
                  <c:v>4.7158606971301031E-2</c:v>
                </c:pt>
                <c:pt idx="1">
                  <c:v>0.35459594666561478</c:v>
                </c:pt>
                <c:pt idx="2">
                  <c:v>0.52433677740930107</c:v>
                </c:pt>
                <c:pt idx="3">
                  <c:v>0.60296613342734995</c:v>
                </c:pt>
                <c:pt idx="4">
                  <c:v>0.50643172994107122</c:v>
                </c:pt>
                <c:pt idx="5">
                  <c:v>0.36008834412263746</c:v>
                </c:pt>
                <c:pt idx="6">
                  <c:v>0.32830760163495443</c:v>
                </c:pt>
                <c:pt idx="7">
                  <c:v>0.32377164665813507</c:v>
                </c:pt>
                <c:pt idx="8">
                  <c:v>0.29593755068725569</c:v>
                </c:pt>
                <c:pt idx="9">
                  <c:v>0.28524504695845376</c:v>
                </c:pt>
                <c:pt idx="10">
                  <c:v>0.29455792292522309</c:v>
                </c:pt>
                <c:pt idx="11">
                  <c:v>0.23400360225832495</c:v>
                </c:pt>
              </c:numCache>
            </c:numRef>
          </c:val>
          <c:extLst>
            <c:ext xmlns:c16="http://schemas.microsoft.com/office/drawing/2014/chart" uri="{C3380CC4-5D6E-409C-BE32-E72D297353CC}">
              <c16:uniqueId val="{00000001-57A5-40BA-853C-AF03AB568056}"/>
            </c:ext>
          </c:extLst>
        </c:ser>
        <c:dLbls>
          <c:showLegendKey val="0"/>
          <c:showVal val="0"/>
          <c:showCatName val="0"/>
          <c:showSerName val="0"/>
          <c:showPercent val="0"/>
          <c:showBubbleSize val="0"/>
        </c:dLbls>
        <c:gapWidth val="65"/>
        <c:overlap val="-27"/>
        <c:axId val="132457584"/>
        <c:axId val="700524031"/>
      </c:barChart>
      <c:catAx>
        <c:axId val="132457584"/>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700524031"/>
        <c:crosses val="autoZero"/>
        <c:auto val="1"/>
        <c:lblAlgn val="ctr"/>
        <c:lblOffset val="100"/>
        <c:noMultiLvlLbl val="0"/>
      </c:catAx>
      <c:valAx>
        <c:axId val="700524031"/>
        <c:scaling>
          <c:orientation val="minMax"/>
          <c:max val="0.60000000000000009"/>
          <c:min val="-0.1"/>
        </c:scaling>
        <c:delete val="0"/>
        <c:axPos val="l"/>
        <c:majorGridlines>
          <c:spPr>
            <a:ln w="6350" cap="flat" cmpd="sng" algn="ctr">
              <a:solidFill>
                <a:srgbClr val="B8B3A2"/>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32457584"/>
        <c:crosses val="autoZero"/>
        <c:crossBetween val="between"/>
        <c:majorUnit val="0.1"/>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400">
          <a:solidFill>
            <a:sysClr val="windowText" lastClr="000000"/>
          </a:solidFill>
          <a:latin typeface="Frutiger 45 Light" panose="020B0603020202020204" pitchFamily="34" charset="0"/>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USA!$TZ$3</c:f>
          <c:strCache>
            <c:ptCount val="1"/>
            <c:pt idx="0">
              <c:v>P/E ratio</c:v>
            </c:pt>
          </c:strCache>
        </c:strRef>
      </c:tx>
      <c:layout>
        <c:manualLayout>
          <c:xMode val="edge"/>
          <c:yMode val="edge"/>
          <c:x val="3.0445336320507284E-4"/>
          <c:y val="0"/>
        </c:manualLayout>
      </c:layout>
      <c:overlay val="0"/>
      <c:txPr>
        <a:bodyPr/>
        <a:lstStyle/>
        <a:p>
          <a:pPr>
            <a:defRPr>
              <a:solidFill>
                <a:schemeClr val="tx1">
                  <a:lumMod val="65000"/>
                  <a:lumOff val="35000"/>
                </a:schemeClr>
              </a:solidFill>
              <a:latin typeface="+mj-lt"/>
            </a:defRPr>
          </a:pPr>
          <a:endParaRPr lang="en-US"/>
        </a:p>
      </c:txPr>
    </c:title>
    <c:autoTitleDeleted val="0"/>
    <c:plotArea>
      <c:layout>
        <c:manualLayout>
          <c:layoutTarget val="inner"/>
          <c:xMode val="edge"/>
          <c:yMode val="edge"/>
          <c:x val="7.2310242909316036E-2"/>
          <c:y val="9.0421671208053708E-2"/>
          <c:w val="0.87999246704331435"/>
          <c:h val="0.72859138486312414"/>
        </c:manualLayout>
      </c:layout>
      <c:lineChart>
        <c:grouping val="standard"/>
        <c:varyColors val="0"/>
        <c:ser>
          <c:idx val="5"/>
          <c:order val="0"/>
          <c:tx>
            <c:strRef>
              <c:f>USA!$DQ$8</c:f>
              <c:strCache>
                <c:ptCount val="1"/>
                <c:pt idx="0">
                  <c:v>USA fwd P/E</c:v>
                </c:pt>
              </c:strCache>
            </c:strRef>
          </c:tx>
          <c:spPr>
            <a:ln w="19050" cap="rnd" cmpd="sng" algn="ctr">
              <a:solidFill>
                <a:srgbClr val="BD000C"/>
              </a:solidFill>
              <a:prstDash val="solid"/>
              <a:round/>
              <a:headEnd type="none" w="med" len="med"/>
              <a:tailEnd type="none" w="med" len="med"/>
            </a:ln>
            <a:effectLst/>
          </c:spPr>
          <c:marker>
            <c:symbol val="none"/>
          </c:marker>
          <c:cat>
            <c:numRef>
              <c:f>USA!$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USA!$DQ$9:$DQ$901</c:f>
              <c:numCache>
                <c:formatCode>0.00</c:formatCode>
                <c:ptCount val="893"/>
                <c:pt idx="0">
                  <c:v>15.49786384161167</c:v>
                </c:pt>
                <c:pt idx="1">
                  <c:v>15.35068745226026</c:v>
                </c:pt>
                <c:pt idx="2">
                  <c:v>16.100441393707264</c:v>
                </c:pt>
                <c:pt idx="3">
                  <c:v>16.207499233431164</c:v>
                </c:pt>
                <c:pt idx="4">
                  <c:v>16.551925087108014</c:v>
                </c:pt>
                <c:pt idx="5">
                  <c:v>16.77074474123102</c:v>
                </c:pt>
                <c:pt idx="6">
                  <c:v>17.028999711227979</c:v>
                </c:pt>
                <c:pt idx="7">
                  <c:v>16.720230374098477</c:v>
                </c:pt>
                <c:pt idx="8">
                  <c:v>17.246543920013309</c:v>
                </c:pt>
                <c:pt idx="9">
                  <c:v>16.993871885748206</c:v>
                </c:pt>
                <c:pt idx="10">
                  <c:v>17.280979172490913</c:v>
                </c:pt>
                <c:pt idx="11">
                  <c:v>17.237447472165663</c:v>
                </c:pt>
                <c:pt idx="12">
                  <c:v>17.090461484928884</c:v>
                </c:pt>
                <c:pt idx="13">
                  <c:v>16.674464602373479</c:v>
                </c:pt>
                <c:pt idx="14">
                  <c:v>16.545501678636693</c:v>
                </c:pt>
                <c:pt idx="15">
                  <c:v>16.724094517861271</c:v>
                </c:pt>
                <c:pt idx="16">
                  <c:v>17.26263420875188</c:v>
                </c:pt>
                <c:pt idx="17">
                  <c:v>16.990896031145603</c:v>
                </c:pt>
                <c:pt idx="18">
                  <c:v>17.06023282269722</c:v>
                </c:pt>
                <c:pt idx="19">
                  <c:v>16.79211545829963</c:v>
                </c:pt>
                <c:pt idx="20">
                  <c:v>16.518954782771633</c:v>
                </c:pt>
                <c:pt idx="21">
                  <c:v>17.395191990126715</c:v>
                </c:pt>
                <c:pt idx="22">
                  <c:v>17.261703087623118</c:v>
                </c:pt>
                <c:pt idx="23">
                  <c:v>17.434139272366714</c:v>
                </c:pt>
                <c:pt idx="24">
                  <c:v>17.626355296080067</c:v>
                </c:pt>
                <c:pt idx="25">
                  <c:v>17.518328948147648</c:v>
                </c:pt>
                <c:pt idx="26">
                  <c:v>17.523126064018069</c:v>
                </c:pt>
                <c:pt idx="27">
                  <c:v>17.44184779419777</c:v>
                </c:pt>
                <c:pt idx="28">
                  <c:v>17.515256634783778</c:v>
                </c:pt>
                <c:pt idx="29">
                  <c:v>17.278662620080762</c:v>
                </c:pt>
                <c:pt idx="30">
                  <c:v>17.291841065113378</c:v>
                </c:pt>
                <c:pt idx="31">
                  <c:v>16.917790622992936</c:v>
                </c:pt>
                <c:pt idx="32">
                  <c:v>17.020914007210575</c:v>
                </c:pt>
                <c:pt idx="33">
                  <c:v>17.446750437303002</c:v>
                </c:pt>
                <c:pt idx="34">
                  <c:v>17.349488575815801</c:v>
                </c:pt>
                <c:pt idx="35">
                  <c:v>17.019914274107297</c:v>
                </c:pt>
                <c:pt idx="36">
                  <c:v>16.820792980713517</c:v>
                </c:pt>
                <c:pt idx="37">
                  <c:v>16.899124441904195</c:v>
                </c:pt>
                <c:pt idx="38">
                  <c:v>16.71416903174708</c:v>
                </c:pt>
                <c:pt idx="39">
                  <c:v>16.184131407200997</c:v>
                </c:pt>
                <c:pt idx="40">
                  <c:v>17.09838745819259</c:v>
                </c:pt>
                <c:pt idx="41">
                  <c:v>17.03907082766198</c:v>
                </c:pt>
                <c:pt idx="42">
                  <c:v>17.317829330003615</c:v>
                </c:pt>
                <c:pt idx="43">
                  <c:v>16.910028541774778</c:v>
                </c:pt>
                <c:pt idx="44">
                  <c:v>17.750454230121235</c:v>
                </c:pt>
                <c:pt idx="45">
                  <c:v>17.348684476254331</c:v>
                </c:pt>
                <c:pt idx="46">
                  <c:v>17.485161300802442</c:v>
                </c:pt>
                <c:pt idx="47">
                  <c:v>17.190664180128689</c:v>
                </c:pt>
                <c:pt idx="48">
                  <c:v>17.592142857142857</c:v>
                </c:pt>
                <c:pt idx="49">
                  <c:v>17.503406088130006</c:v>
                </c:pt>
                <c:pt idx="50">
                  <c:v>17.451231320401511</c:v>
                </c:pt>
                <c:pt idx="51">
                  <c:v>17.770087652253103</c:v>
                </c:pt>
                <c:pt idx="52">
                  <c:v>17.56739494989208</c:v>
                </c:pt>
                <c:pt idx="53">
                  <c:v>17.76834834689787</c:v>
                </c:pt>
                <c:pt idx="54">
                  <c:v>18.129942862692413</c:v>
                </c:pt>
                <c:pt idx="55">
                  <c:v>18.142287052159848</c:v>
                </c:pt>
                <c:pt idx="56">
                  <c:v>18.346172819538232</c:v>
                </c:pt>
                <c:pt idx="57">
                  <c:v>18.033687051364968</c:v>
                </c:pt>
                <c:pt idx="58">
                  <c:v>18.290469963352223</c:v>
                </c:pt>
                <c:pt idx="59">
                  <c:v>17.89960792488835</c:v>
                </c:pt>
                <c:pt idx="60">
                  <c:v>18.024118574986186</c:v>
                </c:pt>
                <c:pt idx="61">
                  <c:v>17.698995046224717</c:v>
                </c:pt>
                <c:pt idx="62">
                  <c:v>17.49046267833215</c:v>
                </c:pt>
                <c:pt idx="63">
                  <c:v>17.664959153873475</c:v>
                </c:pt>
                <c:pt idx="64">
                  <c:v>17.941972920696323</c:v>
                </c:pt>
                <c:pt idx="65">
                  <c:v>17.843796589002068</c:v>
                </c:pt>
                <c:pt idx="66">
                  <c:v>17.824469251002004</c:v>
                </c:pt>
                <c:pt idx="67">
                  <c:v>17.414117918010135</c:v>
                </c:pt>
                <c:pt idx="68">
                  <c:v>18.022030261261826</c:v>
                </c:pt>
                <c:pt idx="69">
                  <c:v>17.982531737620199</c:v>
                </c:pt>
                <c:pt idx="70">
                  <c:v>17.991944254552234</c:v>
                </c:pt>
                <c:pt idx="71">
                  <c:v>17.963501216884463</c:v>
                </c:pt>
                <c:pt idx="72">
                  <c:v>17.99159774494316</c:v>
                </c:pt>
                <c:pt idx="73">
                  <c:v>18.052025833085743</c:v>
                </c:pt>
                <c:pt idx="74">
                  <c:v>17.749946195234436</c:v>
                </c:pt>
                <c:pt idx="75">
                  <c:v>18.144279339303978</c:v>
                </c:pt>
                <c:pt idx="76">
                  <c:v>18.248984936771635</c:v>
                </c:pt>
                <c:pt idx="77">
                  <c:v>18.1336249383933</c:v>
                </c:pt>
                <c:pt idx="78">
                  <c:v>17.991960090315494</c:v>
                </c:pt>
                <c:pt idx="79">
                  <c:v>17.70938419103641</c:v>
                </c:pt>
                <c:pt idx="80">
                  <c:v>17.645278866652912</c:v>
                </c:pt>
                <c:pt idx="81">
                  <c:v>17.696997809952553</c:v>
                </c:pt>
                <c:pt idx="82">
                  <c:v>18.094892693661301</c:v>
                </c:pt>
                <c:pt idx="83">
                  <c:v>17.818995585072837</c:v>
                </c:pt>
                <c:pt idx="84">
                  <c:v>18.061817602814511</c:v>
                </c:pt>
                <c:pt idx="85">
                  <c:v>18.090909090909093</c:v>
                </c:pt>
                <c:pt idx="86">
                  <c:v>18.259706466412545</c:v>
                </c:pt>
                <c:pt idx="87">
                  <c:v>18.271571866087758</c:v>
                </c:pt>
                <c:pt idx="88">
                  <c:v>18.307355688117617</c:v>
                </c:pt>
                <c:pt idx="89">
                  <c:v>18.424029277603687</c:v>
                </c:pt>
                <c:pt idx="90">
                  <c:v>18.382261418547941</c:v>
                </c:pt>
                <c:pt idx="91">
                  <c:v>18.35362256223835</c:v>
                </c:pt>
                <c:pt idx="92">
                  <c:v>18.292585483438977</c:v>
                </c:pt>
                <c:pt idx="93">
                  <c:v>18.150894328164132</c:v>
                </c:pt>
                <c:pt idx="94">
                  <c:v>18.390044201845203</c:v>
                </c:pt>
                <c:pt idx="95">
                  <c:v>18.665855359819531</c:v>
                </c:pt>
                <c:pt idx="96">
                  <c:v>18.625429959107748</c:v>
                </c:pt>
                <c:pt idx="97">
                  <c:v>18.779951172379203</c:v>
                </c:pt>
                <c:pt idx="98">
                  <c:v>18.750534144890931</c:v>
                </c:pt>
                <c:pt idx="99">
                  <c:v>18.66389901494092</c:v>
                </c:pt>
                <c:pt idx="100">
                  <c:v>18.973486059830798</c:v>
                </c:pt>
                <c:pt idx="101">
                  <c:v>18.844274179791892</c:v>
                </c:pt>
                <c:pt idx="102">
                  <c:v>19.005989725808398</c:v>
                </c:pt>
                <c:pt idx="103">
                  <c:v>19.049195402298849</c:v>
                </c:pt>
                <c:pt idx="104">
                  <c:v>17.931681676563425</c:v>
                </c:pt>
                <c:pt idx="105">
                  <c:v>16.795152983944259</c:v>
                </c:pt>
                <c:pt idx="106">
                  <c:v>17.76796685143216</c:v>
                </c:pt>
                <c:pt idx="107">
                  <c:v>17.500819326747507</c:v>
                </c:pt>
                <c:pt idx="108">
                  <c:v>16.893769804931718</c:v>
                </c:pt>
                <c:pt idx="109">
                  <c:v>17.681885674334985</c:v>
                </c:pt>
                <c:pt idx="110">
                  <c:v>17.373744263510961</c:v>
                </c:pt>
                <c:pt idx="111">
                  <c:v>16.404277655594907</c:v>
                </c:pt>
                <c:pt idx="112">
                  <c:v>16.687881239060093</c:v>
                </c:pt>
                <c:pt idx="113">
                  <c:v>16.564137295984409</c:v>
                </c:pt>
                <c:pt idx="114">
                  <c:v>16.600672857480127</c:v>
                </c:pt>
                <c:pt idx="115">
                  <c:v>16.775786526107723</c:v>
                </c:pt>
                <c:pt idx="116">
                  <c:v>16.68943011570855</c:v>
                </c:pt>
                <c:pt idx="117">
                  <c:v>16.294049330116522</c:v>
                </c:pt>
                <c:pt idx="118">
                  <c:v>16.932576660350204</c:v>
                </c:pt>
                <c:pt idx="119">
                  <c:v>16.725743144063575</c:v>
                </c:pt>
                <c:pt idx="120">
                  <c:v>16.729948472556316</c:v>
                </c:pt>
                <c:pt idx="121">
                  <c:v>16.969102951126839</c:v>
                </c:pt>
                <c:pt idx="122">
                  <c:v>17.065142386322673</c:v>
                </c:pt>
                <c:pt idx="123">
                  <c:v>16.844024350762709</c:v>
                </c:pt>
                <c:pt idx="124">
                  <c:v>16.793864466525324</c:v>
                </c:pt>
                <c:pt idx="125">
                  <c:v>16.360227566589085</c:v>
                </c:pt>
                <c:pt idx="126">
                  <c:v>16.612766708923829</c:v>
                </c:pt>
                <c:pt idx="127">
                  <c:v>16.736268070799341</c:v>
                </c:pt>
                <c:pt idx="128">
                  <c:v>16.872439931079317</c:v>
                </c:pt>
                <c:pt idx="129">
                  <c:v>17.04003602163835</c:v>
                </c:pt>
                <c:pt idx="130">
                  <c:v>16.798989892722638</c:v>
                </c:pt>
                <c:pt idx="131">
                  <c:v>16.767927619331299</c:v>
                </c:pt>
                <c:pt idx="132">
                  <c:v>16.727676344715046</c:v>
                </c:pt>
                <c:pt idx="133">
                  <c:v>17.003765088265581</c:v>
                </c:pt>
                <c:pt idx="134">
                  <c:v>17.247659181866922</c:v>
                </c:pt>
                <c:pt idx="135">
                  <c:v>16.783131052331395</c:v>
                </c:pt>
                <c:pt idx="136">
                  <c:v>17.03314244237902</c:v>
                </c:pt>
                <c:pt idx="137">
                  <c:v>17.165220815337097</c:v>
                </c:pt>
                <c:pt idx="138">
                  <c:v>17.017995646708975</c:v>
                </c:pt>
                <c:pt idx="139">
                  <c:v>16.771565543986078</c:v>
                </c:pt>
                <c:pt idx="140">
                  <c:v>15.562276486200517</c:v>
                </c:pt>
                <c:pt idx="141">
                  <c:v>16.055872090185936</c:v>
                </c:pt>
                <c:pt idx="142">
                  <c:v>14.950688236128849</c:v>
                </c:pt>
                <c:pt idx="143">
                  <c:v>15.909869374125273</c:v>
                </c:pt>
                <c:pt idx="144">
                  <c:v>16.420540829387715</c:v>
                </c:pt>
                <c:pt idx="145">
                  <c:v>15.718281766586681</c:v>
                </c:pt>
                <c:pt idx="146">
                  <c:v>15.341992350316286</c:v>
                </c:pt>
                <c:pt idx="147">
                  <c:v>16.413103720060302</c:v>
                </c:pt>
                <c:pt idx="148">
                  <c:v>15.243637426117443</c:v>
                </c:pt>
                <c:pt idx="149">
                  <c:v>15.188216431388449</c:v>
                </c:pt>
                <c:pt idx="150">
                  <c:v>13.880849057744145</c:v>
                </c:pt>
                <c:pt idx="151">
                  <c:v>15.249364409513856</c:v>
                </c:pt>
                <c:pt idx="152">
                  <c:v>14.747390013164742</c:v>
                </c:pt>
                <c:pt idx="153">
                  <c:v>15.318833574995972</c:v>
                </c:pt>
                <c:pt idx="154">
                  <c:v>15.776127367036459</c:v>
                </c:pt>
                <c:pt idx="155">
                  <c:v>15.809668859321274</c:v>
                </c:pt>
                <c:pt idx="156">
                  <c:v>16.364325051392026</c:v>
                </c:pt>
                <c:pt idx="157">
                  <c:v>15.987322172881713</c:v>
                </c:pt>
                <c:pt idx="158">
                  <c:v>16.49662718204489</c:v>
                </c:pt>
                <c:pt idx="159">
                  <c:v>16.609790942722924</c:v>
                </c:pt>
                <c:pt idx="160">
                  <c:v>16.681724615442196</c:v>
                </c:pt>
                <c:pt idx="161">
                  <c:v>16.11589746749646</c:v>
                </c:pt>
                <c:pt idx="162">
                  <c:v>16.809823960819099</c:v>
                </c:pt>
                <c:pt idx="163">
                  <c:v>16.52964341219668</c:v>
                </c:pt>
                <c:pt idx="164">
                  <c:v>16.707190520658752</c:v>
                </c:pt>
                <c:pt idx="165">
                  <c:v>17.000419341510494</c:v>
                </c:pt>
                <c:pt idx="166">
                  <c:v>17.163578603187972</c:v>
                </c:pt>
                <c:pt idx="167">
                  <c:v>17.024093866456763</c:v>
                </c:pt>
                <c:pt idx="168">
                  <c:v>17.209197746638079</c:v>
                </c:pt>
                <c:pt idx="169">
                  <c:v>17.017263954221427</c:v>
                </c:pt>
                <c:pt idx="170">
                  <c:v>16.757915997974091</c:v>
                </c:pt>
                <c:pt idx="171">
                  <c:v>16.757051412127137</c:v>
                </c:pt>
                <c:pt idx="172">
                  <c:v>16.42428937416128</c:v>
                </c:pt>
                <c:pt idx="173">
                  <c:v>15.944274252370532</c:v>
                </c:pt>
                <c:pt idx="174">
                  <c:v>16.918871829724136</c:v>
                </c:pt>
                <c:pt idx="175">
                  <c:v>16.844275743847192</c:v>
                </c:pt>
                <c:pt idx="176">
                  <c:v>17.332622469860212</c:v>
                </c:pt>
                <c:pt idx="177">
                  <c:v>17.24142024207833</c:v>
                </c:pt>
                <c:pt idx="178">
                  <c:v>17.546292819550029</c:v>
                </c:pt>
                <c:pt idx="179">
                  <c:v>17.637760958571963</c:v>
                </c:pt>
                <c:pt idx="180">
                  <c:v>17.288186684367258</c:v>
                </c:pt>
                <c:pt idx="181">
                  <c:v>17.816907493935595</c:v>
                </c:pt>
                <c:pt idx="182">
                  <c:v>16.850349937005308</c:v>
                </c:pt>
                <c:pt idx="183">
                  <c:v>17.0157559749812</c:v>
                </c:pt>
                <c:pt idx="184">
                  <c:v>16.325411085217535</c:v>
                </c:pt>
                <c:pt idx="185">
                  <c:v>16.744389804468412</c:v>
                </c:pt>
                <c:pt idx="186">
                  <c:v>17.160897321456055</c:v>
                </c:pt>
                <c:pt idx="187">
                  <c:v>17.461622267086863</c:v>
                </c:pt>
                <c:pt idx="188">
                  <c:v>17.548725747504232</c:v>
                </c:pt>
                <c:pt idx="189">
                  <c:v>17.345087102922104</c:v>
                </c:pt>
                <c:pt idx="190">
                  <c:v>17.281526131506816</c:v>
                </c:pt>
                <c:pt idx="191">
                  <c:v>16.698355726433764</c:v>
                </c:pt>
                <c:pt idx="192">
                  <c:v>17.304816925025857</c:v>
                </c:pt>
                <c:pt idx="193">
                  <c:v>17.26602583577392</c:v>
                </c:pt>
                <c:pt idx="194">
                  <c:v>17.595888442512184</c:v>
                </c:pt>
                <c:pt idx="195">
                  <c:v>17.908858911361811</c:v>
                </c:pt>
                <c:pt idx="196">
                  <c:v>17.878736714242333</c:v>
                </c:pt>
                <c:pt idx="197">
                  <c:v>18.089288540918332</c:v>
                </c:pt>
                <c:pt idx="198">
                  <c:v>18.018030285530177</c:v>
                </c:pt>
                <c:pt idx="199">
                  <c:v>18.319064433415541</c:v>
                </c:pt>
                <c:pt idx="200">
                  <c:v>18.340036842781693</c:v>
                </c:pt>
                <c:pt idx="201">
                  <c:v>18.411295835164296</c:v>
                </c:pt>
                <c:pt idx="202">
                  <c:v>18.676380685623823</c:v>
                </c:pt>
                <c:pt idx="203">
                  <c:v>18.803711490995521</c:v>
                </c:pt>
                <c:pt idx="204">
                  <c:v>18.612912967324998</c:v>
                </c:pt>
                <c:pt idx="205">
                  <c:v>18.916043200009725</c:v>
                </c:pt>
                <c:pt idx="206">
                  <c:v>19.245179364039878</c:v>
                </c:pt>
                <c:pt idx="207">
                  <c:v>19.035358306386172</c:v>
                </c:pt>
                <c:pt idx="208">
                  <c:v>18.593551270359878</c:v>
                </c:pt>
                <c:pt idx="209">
                  <c:v>19.292745452999139</c:v>
                </c:pt>
                <c:pt idx="210">
                  <c:v>19.581881131686497</c:v>
                </c:pt>
                <c:pt idx="211">
                  <c:v>19.289877411867113</c:v>
                </c:pt>
                <c:pt idx="212">
                  <c:v>16.992022877784468</c:v>
                </c:pt>
                <c:pt idx="213">
                  <c:v>17.841234715367932</c:v>
                </c:pt>
                <c:pt idx="214">
                  <c:v>14.929100308561571</c:v>
                </c:pt>
                <c:pt idx="215">
                  <c:v>13.621328077886714</c:v>
                </c:pt>
                <c:pt idx="216">
                  <c:v>15.505591924057446</c:v>
                </c:pt>
                <c:pt idx="217">
                  <c:v>15.489995938101915</c:v>
                </c:pt>
                <c:pt idx="218">
                  <c:v>18.10696932732737</c:v>
                </c:pt>
                <c:pt idx="219">
                  <c:v>19.467211775487151</c:v>
                </c:pt>
                <c:pt idx="220">
                  <c:v>19.834619867607923</c:v>
                </c:pt>
                <c:pt idx="221">
                  <c:v>20.243986692043698</c:v>
                </c:pt>
                <c:pt idx="222">
                  <c:v>20.95340290279448</c:v>
                </c:pt>
                <c:pt idx="223">
                  <c:v>20.692557904349339</c:v>
                </c:pt>
                <c:pt idx="224">
                  <c:v>21.441117477425653</c:v>
                </c:pt>
                <c:pt idx="225">
                  <c:v>22.153754478654282</c:v>
                </c:pt>
                <c:pt idx="226">
                  <c:v>22.856640794412787</c:v>
                </c:pt>
                <c:pt idx="227">
                  <c:v>21.814824513493495</c:v>
                </c:pt>
                <c:pt idx="228">
                  <c:v>22.263170490920515</c:v>
                </c:pt>
                <c:pt idx="229">
                  <c:v>21.639241879146439</c:v>
                </c:pt>
                <c:pt idx="230">
                  <c:v>22.030557750270678</c:v>
                </c:pt>
                <c:pt idx="231">
                  <c:v>22.505662339945502</c:v>
                </c:pt>
                <c:pt idx="232">
                  <c:v>22.746881953390329</c:v>
                </c:pt>
                <c:pt idx="233">
                  <c:v>22.482325946150045</c:v>
                </c:pt>
                <c:pt idx="234">
                  <c:v>22.76162983704516</c:v>
                </c:pt>
                <c:pt idx="235">
                  <c:v>22.608582055574622</c:v>
                </c:pt>
                <c:pt idx="236">
                  <c:v>22.759852889667251</c:v>
                </c:pt>
                <c:pt idx="237">
                  <c:v>22.932130049701861</c:v>
                </c:pt>
                <c:pt idx="238">
                  <c:v>23.630151419998604</c:v>
                </c:pt>
                <c:pt idx="239">
                  <c:v>22.723038322735867</c:v>
                </c:pt>
                <c:pt idx="240">
                  <c:v>22.126224867034068</c:v>
                </c:pt>
                <c:pt idx="241">
                  <c:v>21.999252651715132</c:v>
                </c:pt>
                <c:pt idx="242">
                  <c:v>21.859727824997091</c:v>
                </c:pt>
                <c:pt idx="243">
                  <c:v>21.87443441202452</c:v>
                </c:pt>
                <c:pt idx="244">
                  <c:v>22.719342945153311</c:v>
                </c:pt>
                <c:pt idx="245">
                  <c:v>22.703093088251098</c:v>
                </c:pt>
                <c:pt idx="246">
                  <c:v>22.506921736799786</c:v>
                </c:pt>
                <c:pt idx="247">
                  <c:v>21.102864644068475</c:v>
                </c:pt>
                <c:pt idx="248">
                  <c:v>22.229823794581407</c:v>
                </c:pt>
                <c:pt idx="249">
                  <c:v>22.558694026210532</c:v>
                </c:pt>
                <c:pt idx="250">
                  <c:v>22.489591670733692</c:v>
                </c:pt>
                <c:pt idx="251">
                  <c:v>22.938863921878443</c:v>
                </c:pt>
                <c:pt idx="252">
                  <c:v>23.145199544925728</c:v>
                </c:pt>
                <c:pt idx="253">
                  <c:v>22.907273216965283</c:v>
                </c:pt>
                <c:pt idx="254">
                  <c:v>23.230713124928023</c:v>
                </c:pt>
                <c:pt idx="255">
                  <c:v>23.149573931637573</c:v>
                </c:pt>
                <c:pt idx="256">
                  <c:v>23.399522813106053</c:v>
                </c:pt>
                <c:pt idx="257">
                  <c:v>23.43642702180756</c:v>
                </c:pt>
                <c:pt idx="258">
                  <c:v>22.991794890993724</c:v>
                </c:pt>
                <c:pt idx="259">
                  <c:v>23.261407603211648</c:v>
                </c:pt>
                <c:pt idx="260">
                  <c:v>22.186047790747416</c:v>
                </c:pt>
                <c:pt idx="261">
                  <c:v>22.773562895207558</c:v>
                </c:pt>
                <c:pt idx="262">
                  <c:v>23.002908432069038</c:v>
                </c:pt>
                <c:pt idx="263">
                  <c:v>22.809369229852884</c:v>
                </c:pt>
                <c:pt idx="264">
                  <c:v>22.091825281349287</c:v>
                </c:pt>
                <c:pt idx="265">
                  <c:v>21.932289676497732</c:v>
                </c:pt>
                <c:pt idx="266">
                  <c:v>22.47792854840128</c:v>
                </c:pt>
                <c:pt idx="267">
                  <c:v>22.244918972678875</c:v>
                </c:pt>
                <c:pt idx="268">
                  <c:v>22.506923881111327</c:v>
                </c:pt>
                <c:pt idx="269">
                  <c:v>22.460930575220733</c:v>
                </c:pt>
                <c:pt idx="270">
                  <c:v>23.01268401871036</c:v>
                </c:pt>
                <c:pt idx="271">
                  <c:v>23.17281024600905</c:v>
                </c:pt>
                <c:pt idx="272">
                  <c:v>22.936507846932614</c:v>
                </c:pt>
                <c:pt idx="273">
                  <c:v>22.452284336923114</c:v>
                </c:pt>
                <c:pt idx="274">
                  <c:v>22.128370454041843</c:v>
                </c:pt>
                <c:pt idx="275">
                  <c:v>21.741670797146735</c:v>
                </c:pt>
                <c:pt idx="276">
                  <c:v>21.611006996837194</c:v>
                </c:pt>
                <c:pt idx="277">
                  <c:v>21.814178573149256</c:v>
                </c:pt>
                <c:pt idx="278">
                  <c:v>21.809560306789937</c:v>
                </c:pt>
                <c:pt idx="279">
                  <c:v>21.901108532031639</c:v>
                </c:pt>
                <c:pt idx="280">
                  <c:v>21.516251963823194</c:v>
                </c:pt>
                <c:pt idx="281">
                  <c:v>22.072580517024964</c:v>
                </c:pt>
                <c:pt idx="282">
                  <c:v>22.177201730585907</c:v>
                </c:pt>
                <c:pt idx="283">
                  <c:v>22.25590075117125</c:v>
                </c:pt>
                <c:pt idx="284">
                  <c:v>21.947536774873591</c:v>
                </c:pt>
                <c:pt idx="285">
                  <c:v>22.330976476455675</c:v>
                </c:pt>
                <c:pt idx="286">
                  <c:v>21.905321414675104</c:v>
                </c:pt>
                <c:pt idx="287">
                  <c:v>21.795787656713706</c:v>
                </c:pt>
                <c:pt idx="288">
                  <c:v>21.878649501820032</c:v>
                </c:pt>
                <c:pt idx="289">
                  <c:v>21.690114803928957</c:v>
                </c:pt>
                <c:pt idx="290">
                  <c:v>22.016302384393068</c:v>
                </c:pt>
                <c:pt idx="291">
                  <c:v>22.169219877385633</c:v>
                </c:pt>
                <c:pt idx="292">
                  <c:v>21.751292038237313</c:v>
                </c:pt>
                <c:pt idx="293">
                  <c:v>21.632153435202493</c:v>
                </c:pt>
                <c:pt idx="294">
                  <c:v>21.685650125533893</c:v>
                </c:pt>
                <c:pt idx="295">
                  <c:v>21.246245809158619</c:v>
                </c:pt>
                <c:pt idx="296">
                  <c:v>21.215350560847615</c:v>
                </c:pt>
                <c:pt idx="297">
                  <c:v>21.610145409924833</c:v>
                </c:pt>
                <c:pt idx="298">
                  <c:v>21.88603008508764</c:v>
                </c:pt>
                <c:pt idx="299">
                  <c:v>22.106022060966513</c:v>
                </c:pt>
                <c:pt idx="300">
                  <c:v>22.341392199801099</c:v>
                </c:pt>
                <c:pt idx="301">
                  <c:v>22.258813110679458</c:v>
                </c:pt>
                <c:pt idx="302">
                  <c:v>22.257705487810828</c:v>
                </c:pt>
                <c:pt idx="303">
                  <c:v>21.71417290209364</c:v>
                </c:pt>
                <c:pt idx="304">
                  <c:v>21.342451144149717</c:v>
                </c:pt>
                <c:pt idx="305">
                  <c:v>22.106927293331452</c:v>
                </c:pt>
                <c:pt idx="306">
                  <c:v>21.627671808508058</c:v>
                </c:pt>
                <c:pt idx="307">
                  <c:v>22.112760737386179</c:v>
                </c:pt>
                <c:pt idx="308">
                  <c:v>22.268628715199171</c:v>
                </c:pt>
                <c:pt idx="309">
                  <c:v>21.541170825335893</c:v>
                </c:pt>
                <c:pt idx="310">
                  <c:v>21.427930669299073</c:v>
                </c:pt>
                <c:pt idx="311">
                  <c:v>20.182276770957589</c:v>
                </c:pt>
                <c:pt idx="312">
                  <c:v>20.27961210544688</c:v>
                </c:pt>
                <c:pt idx="313">
                  <c:v>20.324946996466434</c:v>
                </c:pt>
                <c:pt idx="314">
                  <c:v>19.999839590105541</c:v>
                </c:pt>
                <c:pt idx="315">
                  <c:v>19.602701952351147</c:v>
                </c:pt>
                <c:pt idx="316">
                  <c:v>19.786746432202435</c:v>
                </c:pt>
                <c:pt idx="317">
                  <c:v>19.375898237209473</c:v>
                </c:pt>
                <c:pt idx="318">
                  <c:v>18.743726728940565</c:v>
                </c:pt>
                <c:pt idx="319">
                  <c:v>19.866998554382636</c:v>
                </c:pt>
                <c:pt idx="320">
                  <c:v>20.186610447324551</c:v>
                </c:pt>
                <c:pt idx="321">
                  <c:v>20.218896672748293</c:v>
                </c:pt>
                <c:pt idx="322">
                  <c:v>19.729378764887109</c:v>
                </c:pt>
                <c:pt idx="323">
                  <c:v>19.383796302704003</c:v>
                </c:pt>
                <c:pt idx="324">
                  <c:v>18.703857956030951</c:v>
                </c:pt>
                <c:pt idx="325">
                  <c:v>18.083820716418732</c:v>
                </c:pt>
                <c:pt idx="326">
                  <c:v>17.94532075350892</c:v>
                </c:pt>
                <c:pt idx="327">
                  <c:v>17.482723980950034</c:v>
                </c:pt>
                <c:pt idx="328">
                  <c:v>16.938291269225502</c:v>
                </c:pt>
                <c:pt idx="329">
                  <c:v>18.03883703318461</c:v>
                </c:pt>
                <c:pt idx="330">
                  <c:v>17.674067306779072</c:v>
                </c:pt>
                <c:pt idx="331">
                  <c:v>16.755281276541915</c:v>
                </c:pt>
                <c:pt idx="332">
                  <c:v>15.761293991280724</c:v>
                </c:pt>
                <c:pt idx="333">
                  <c:v>16.824028013102904</c:v>
                </c:pt>
                <c:pt idx="334">
                  <c:v>16.472081908170431</c:v>
                </c:pt>
                <c:pt idx="335">
                  <c:v>16.720373958098673</c:v>
                </c:pt>
                <c:pt idx="336">
                  <c:v>16.603766078169858</c:v>
                </c:pt>
                <c:pt idx="337">
                  <c:v>17.088467012991721</c:v>
                </c:pt>
                <c:pt idx="338">
                  <c:v>17.975373561245739</c:v>
                </c:pt>
                <c:pt idx="339">
                  <c:v>18.055038327653474</c:v>
                </c:pt>
                <c:pt idx="340">
                  <c:v>18.704684858840398</c:v>
                </c:pt>
                <c:pt idx="341">
                  <c:v>18.456707535144751</c:v>
                </c:pt>
                <c:pt idx="342">
                  <c:v>17.729749810810191</c:v>
                </c:pt>
                <c:pt idx="343">
                  <c:v>17.001333515383216</c:v>
                </c:pt>
                <c:pt idx="344">
                  <c:v>17.68692982776237</c:v>
                </c:pt>
                <c:pt idx="345">
                  <c:v>16.845124745533717</c:v>
                </c:pt>
                <c:pt idx="346">
                  <c:v>16.052325448572383</c:v>
                </c:pt>
                <c:pt idx="347">
                  <c:v>15.61505030033808</c:v>
                </c:pt>
                <c:pt idx="348">
                  <c:v>15.858552541287342</c:v>
                </c:pt>
                <c:pt idx="349">
                  <c:v>15.618259222049424</c:v>
                </c:pt>
                <c:pt idx="350">
                  <c:v>16.43433291716001</c:v>
                </c:pt>
                <c:pt idx="351">
                  <c:v>17.30299254779537</c:v>
                </c:pt>
                <c:pt idx="352">
                  <c:v>16.803207968755867</c:v>
                </c:pt>
                <c:pt idx="353">
                  <c:v>17.9001782279054</c:v>
                </c:pt>
                <c:pt idx="354">
                  <c:v>17.760096614255321</c:v>
                </c:pt>
                <c:pt idx="355">
                  <c:v>18.008752704288682</c:v>
                </c:pt>
                <c:pt idx="356">
                  <c:v>18.114193076822161</c:v>
                </c:pt>
                <c:pt idx="357">
                  <c:v>17.485392500421639</c:v>
                </c:pt>
                <c:pt idx="358">
                  <c:v>17.168603831734426</c:v>
                </c:pt>
                <c:pt idx="359">
                  <c:v>17.177285879902353</c:v>
                </c:pt>
                <c:pt idx="360">
                  <c:v>17.168130282221551</c:v>
                </c:pt>
                <c:pt idx="361">
                  <c:v>17.288572686481878</c:v>
                </c:pt>
                <c:pt idx="362">
                  <c:v>17.834595051807995</c:v>
                </c:pt>
                <c:pt idx="363">
                  <c:v>17.819259070342977</c:v>
                </c:pt>
                <c:pt idx="364">
                  <c:v>18.375735768807203</c:v>
                </c:pt>
                <c:pt idx="365">
                  <c:v>18.61099129776769</c:v>
                </c:pt>
                <c:pt idx="366">
                  <c:v>18.509738930003525</c:v>
                </c:pt>
                <c:pt idx="367">
                  <c:v>18.489631577944234</c:v>
                </c:pt>
                <c:pt idx="368">
                  <c:v>18.018840012598186</c:v>
                </c:pt>
                <c:pt idx="369">
                  <c:v>18.289060347203087</c:v>
                </c:pt>
                <c:pt idx="370">
                  <c:v>17.418353774974111</c:v>
                </c:pt>
                <c:pt idx="371">
                  <c:v>17.691295021854</c:v>
                </c:pt>
                <c:pt idx="372">
                  <c:v>17.954181312452967</c:v>
                </c:pt>
                <c:pt idx="373">
                  <c:v>18.646158841731292</c:v>
                </c:pt>
                <c:pt idx="374">
                  <c:v>18.460221293056858</c:v>
                </c:pt>
                <c:pt idx="375">
                  <c:v>18.664958475748602</c:v>
                </c:pt>
                <c:pt idx="376">
                  <c:v>18.653850727526127</c:v>
                </c:pt>
                <c:pt idx="377">
                  <c:v>18.750912465055791</c:v>
                </c:pt>
                <c:pt idx="378">
                  <c:v>18.406563534355264</c:v>
                </c:pt>
                <c:pt idx="379">
                  <c:v>18.394267710611082</c:v>
                </c:pt>
                <c:pt idx="380">
                  <c:v>18.653122874498674</c:v>
                </c:pt>
                <c:pt idx="381">
                  <c:v>18.658870161071693</c:v>
                </c:pt>
                <c:pt idx="382">
                  <c:v>18.848473758089845</c:v>
                </c:pt>
                <c:pt idx="383">
                  <c:v>19.002499185554054</c:v>
                </c:pt>
                <c:pt idx="384">
                  <c:v>19.522400298173686</c:v>
                </c:pt>
                <c:pt idx="385">
                  <c:v>19.247632231482001</c:v>
                </c:pt>
                <c:pt idx="386">
                  <c:v>19.738538019885173</c:v>
                </c:pt>
                <c:pt idx="387">
                  <c:v>19.394822922418076</c:v>
                </c:pt>
                <c:pt idx="388">
                  <c:v>19.955607172115887</c:v>
                </c:pt>
                <c:pt idx="389">
                  <c:v>20.102755643317206</c:v>
                </c:pt>
                <c:pt idx="390">
                  <c:v>20.260587000148654</c:v>
                </c:pt>
                <c:pt idx="391">
                  <c:v>19.538673855831572</c:v>
                </c:pt>
                <c:pt idx="392">
                  <c:v>19.405999597526616</c:v>
                </c:pt>
                <c:pt idx="393">
                  <c:v>18.970016903467496</c:v>
                </c:pt>
                <c:pt idx="394">
                  <c:v>19.033452905419843</c:v>
                </c:pt>
                <c:pt idx="395">
                  <c:v>19.530425852887184</c:v>
                </c:pt>
                <c:pt idx="396">
                  <c:v>19.111152146791635</c:v>
                </c:pt>
                <c:pt idx="397">
                  <c:v>19.072991221234794</c:v>
                </c:pt>
                <c:pt idx="398">
                  <c:v>18.5016187058458</c:v>
                </c:pt>
                <c:pt idx="399">
                  <c:v>18.380540613535594</c:v>
                </c:pt>
                <c:pt idx="400">
                  <c:v>18.30185665267075</c:v>
                </c:pt>
                <c:pt idx="401">
                  <c:v>18.382988600148188</c:v>
                </c:pt>
                <c:pt idx="402">
                  <c:v>17.946992236010971</c:v>
                </c:pt>
                <c:pt idx="403">
                  <c:v>17.50509270649281</c:v>
                </c:pt>
                <c:pt idx="404">
                  <c:v>18.386897607061275</c:v>
                </c:pt>
                <c:pt idx="405">
                  <c:v>18.636744567991656</c:v>
                </c:pt>
                <c:pt idx="406">
                  <c:v>19.082259812718775</c:v>
                </c:pt>
                <c:pt idx="407">
                  <c:v>19.254971647631979</c:v>
                </c:pt>
                <c:pt idx="408">
                  <c:v>19.431885922114787</c:v>
                </c:pt>
                <c:pt idx="409">
                  <c:v>19.331394504057453</c:v>
                </c:pt>
                <c:pt idx="410">
                  <c:v>19.89429684325814</c:v>
                </c:pt>
                <c:pt idx="411">
                  <c:v>20.052230498051795</c:v>
                </c:pt>
                <c:pt idx="412">
                  <c:v>20.110568193365111</c:v>
                </c:pt>
                <c:pt idx="413">
                  <c:v>19.553603487513705</c:v>
                </c:pt>
                <c:pt idx="414">
                  <c:v>19.96079624288209</c:v>
                </c:pt>
                <c:pt idx="415">
                  <c:v>20.226516576147706</c:v>
                </c:pt>
                <c:pt idx="416">
                  <c:v>20.497843263992401</c:v>
                </c:pt>
                <c:pt idx="417">
                  <c:v>20.569012564355877</c:v>
                </c:pt>
                <c:pt idx="418">
                  <c:v>20.785682080273297</c:v>
                </c:pt>
                <c:pt idx="419">
                  <c:v>20.713838292260778</c:v>
                </c:pt>
                <c:pt idx="420">
                  <c:v>20.992052567332419</c:v>
                </c:pt>
                <c:pt idx="421">
                  <c:v>21.212047858865713</c:v>
                </c:pt>
                <c:pt idx="422">
                  <c:v>20.9233259535545</c:v>
                </c:pt>
                <c:pt idx="423">
                  <c:v>20.875577398101807</c:v>
                </c:pt>
                <c:pt idx="424">
                  <c:v>21.348954834292563</c:v>
                </c:pt>
                <c:pt idx="425">
                  <c:v>21.433967028452084</c:v>
                </c:pt>
                <c:pt idx="426">
                  <c:v>20.988031172259731</c:v>
                </c:pt>
                <c:pt idx="427">
                  <c:v>20.729027547238694</c:v>
                </c:pt>
                <c:pt idx="428">
                  <c:v>20.032855218455854</c:v>
                </c:pt>
                <c:pt idx="429">
                  <c:v>20.565567908183347</c:v>
                </c:pt>
                <c:pt idx="430">
                  <c:v>20.363110987037555</c:v>
                </c:pt>
                <c:pt idx="431">
                  <c:v>20.695871206606071</c:v>
                </c:pt>
                <c:pt idx="432">
                  <c:v>21.017842585968822</c:v>
                </c:pt>
                <c:pt idx="433">
                  <c:v>20.963963365798392</c:v>
                </c:pt>
                <c:pt idx="434">
                  <c:v>20.820190138040878</c:v>
                </c:pt>
                <c:pt idx="435">
                  <c:v>20.9308751395141</c:v>
                </c:pt>
                <c:pt idx="436">
                  <c:v>21.245204357542359</c:v>
                </c:pt>
                <c:pt idx="437">
                  <c:v>21.369373001929667</c:v>
                </c:pt>
                <c:pt idx="438">
                  <c:v>21.361232574115284</c:v>
                </c:pt>
                <c:pt idx="439">
                  <c:v>21.547495379906053</c:v>
                </c:pt>
                <c:pt idx="440">
                  <c:v>21.760432325849518</c:v>
                </c:pt>
                <c:pt idx="441">
                  <c:v>21.3258599483583</c:v>
                </c:pt>
                <c:pt idx="442">
                  <c:v>21.134389153160338</c:v>
                </c:pt>
                <c:pt idx="443">
                  <c:v>20.536099222851323</c:v>
                </c:pt>
                <c:pt idx="444">
                  <c:v>20.452625690229731</c:v>
                </c:pt>
                <c:pt idx="445">
                  <c:v>21.30468532624694</c:v>
                </c:pt>
                <c:pt idx="446">
                  <c:v>21.623562766425092</c:v>
                </c:pt>
                <c:pt idx="447">
                  <c:v>21.643312024941697</c:v>
                </c:pt>
                <c:pt idx="448">
                  <c:v>20.471225742747709</c:v>
                </c:pt>
                <c:pt idx="449">
                  <c:v>21.319565165433119</c:v>
                </c:pt>
                <c:pt idx="450">
                  <c:v>21.681257440535639</c:v>
                </c:pt>
                <c:pt idx="451">
                  <c:v>21.838144255686725</c:v>
                </c:pt>
                <c:pt idx="452">
                  <c:v>21.704801173532093</c:v>
                </c:pt>
                <c:pt idx="453">
                  <c:v>21.99817717537638</c:v>
                </c:pt>
                <c:pt idx="454">
                  <c:v>22.2043539772366</c:v>
                </c:pt>
                <c:pt idx="455">
                  <c:v>22.007275982098456</c:v>
                </c:pt>
                <c:pt idx="456">
                  <c:v>21.729529365417292</c:v>
                </c:pt>
                <c:pt idx="457">
                  <c:v>22.553096490709542</c:v>
                </c:pt>
                <c:pt idx="458">
                  <c:v>22.098271478408261</c:v>
                </c:pt>
                <c:pt idx="459">
                  <c:v>22.483396619906745</c:v>
                </c:pt>
                <c:pt idx="460">
                  <c:v>22.73366766862199</c:v>
                </c:pt>
                <c:pt idx="461">
                  <c:v>22.706893599134403</c:v>
                </c:pt>
                <c:pt idx="462">
                  <c:v>22.563753707290648</c:v>
                </c:pt>
                <c:pt idx="463">
                  <c:v>22.13341348969028</c:v>
                </c:pt>
                <c:pt idx="464">
                  <c:v>22.280824700385942</c:v>
                </c:pt>
                <c:pt idx="465">
                  <c:v>21.939756477144147</c:v>
                </c:pt>
                <c:pt idx="466">
                  <c:v>21.512692472570123</c:v>
                </c:pt>
                <c:pt idx="467">
                  <c:v>22.17353950561937</c:v>
                </c:pt>
                <c:pt idx="468">
                  <c:v>22.565200754471945</c:v>
                </c:pt>
                <c:pt idx="469">
                  <c:v>22.398977576391314</c:v>
                </c:pt>
                <c:pt idx="470">
                  <c:v>22.227938853660227</c:v>
                </c:pt>
                <c:pt idx="471">
                  <c:v>22.603702988647772</c:v>
                </c:pt>
                <c:pt idx="472">
                  <c:v>22.205636077697964</c:v>
                </c:pt>
                <c:pt idx="473">
                  <c:v>21.970443901760461</c:v>
                </c:pt>
                <c:pt idx="474">
                  <c:v>21.346395720099473</c:v>
                </c:pt>
                <c:pt idx="475">
                  <c:v>20.623539930315729</c:v>
                </c:pt>
                <c:pt idx="476">
                  <c:v>20.766818417564686</c:v>
                </c:pt>
                <c:pt idx="477">
                  <c:v>20.453120073820603</c:v>
                </c:pt>
                <c:pt idx="478">
                  <c:v>18.391979783910092</c:v>
                </c:pt>
                <c:pt idx="479">
                  <c:v>19.531924900581217</c:v>
                </c:pt>
                <c:pt idx="480">
                  <c:v>19.386626631250724</c:v>
                </c:pt>
                <c:pt idx="481">
                  <c:v>20.399555799753909</c:v>
                </c:pt>
                <c:pt idx="482">
                  <c:v>20.773233887610509</c:v>
                </c:pt>
                <c:pt idx="483">
                  <c:v>20.736457605918062</c:v>
                </c:pt>
                <c:pt idx="484">
                  <c:v>21.909582041080181</c:v>
                </c:pt>
                <c:pt idx="485">
                  <c:v>21.361757295093966</c:v>
                </c:pt>
                <c:pt idx="486">
                  <c:v>21.770305781175349</c:v>
                </c:pt>
                <c:pt idx="487">
                  <c:v>21.943411018731688</c:v>
                </c:pt>
                <c:pt idx="488">
                  <c:v>21.839068152442429</c:v>
                </c:pt>
                <c:pt idx="489">
                  <c:v>21.7990262395573</c:v>
                </c:pt>
                <c:pt idx="490">
                  <c:v>22.529338098292556</c:v>
                </c:pt>
                <c:pt idx="491">
                  <c:v>22.663628916263036</c:v>
                </c:pt>
                <c:pt idx="492">
                  <c:v>22.56355850672502</c:v>
                </c:pt>
                <c:pt idx="493">
                  <c:v>22.66982108643035</c:v>
                </c:pt>
                <c:pt idx="494">
                  <c:v>22.92555435451666</c:v>
                </c:pt>
                <c:pt idx="495">
                  <c:v>22.366404571479993</c:v>
                </c:pt>
                <c:pt idx="496">
                  <c:v>22.568473266653861</c:v>
                </c:pt>
                <c:pt idx="497">
                  <c:v>22.750009226522188</c:v>
                </c:pt>
                <c:pt idx="498">
                  <c:v>22.787274282385734</c:v>
                </c:pt>
                <c:pt idx="499">
                  <c:v>22.810924292166284</c:v>
                </c:pt>
                <c:pt idx="500">
                  <c:v>22.616642460424622</c:v>
                </c:pt>
                <c:pt idx="501">
                  <c:v>22.92813636578768</c:v>
                </c:pt>
                <c:pt idx="502">
                  <c:v>23.216739087713172</c:v>
                </c:pt>
                <c:pt idx="503">
                  <c:v>23.102282142597574</c:v>
                </c:pt>
                <c:pt idx="504">
                  <c:v>23.06813471781739</c:v>
                </c:pt>
                <c:pt idx="505">
                  <c:v>22.50101434444624</c:v>
                </c:pt>
                <c:pt idx="506">
                  <c:v>22.837118944783956</c:v>
                </c:pt>
                <c:pt idx="507">
                  <c:v>23.369564356934411</c:v>
                </c:pt>
                <c:pt idx="508">
                  <c:v>23.340260490595377</c:v>
                </c:pt>
                <c:pt idx="509">
                  <c:v>22.585148591331702</c:v>
                </c:pt>
                <c:pt idx="510">
                  <c:v>22.554701747986869</c:v>
                </c:pt>
                <c:pt idx="511">
                  <c:v>21.990396761698712</c:v>
                </c:pt>
                <c:pt idx="512">
                  <c:v>22.865343259470102</c:v>
                </c:pt>
                <c:pt idx="513">
                  <c:v>22.694111992143331</c:v>
                </c:pt>
                <c:pt idx="514">
                  <c:v>22.493069095100228</c:v>
                </c:pt>
                <c:pt idx="515">
                  <c:v>22.392235668833532</c:v>
                </c:pt>
                <c:pt idx="516">
                  <c:v>22.644665532316981</c:v>
                </c:pt>
                <c:pt idx="517">
                  <c:v>22.131885106267912</c:v>
                </c:pt>
                <c:pt idx="518">
                  <c:v>22.47724806188446</c:v>
                </c:pt>
                <c:pt idx="519">
                  <c:v>22.378862217176223</c:v>
                </c:pt>
                <c:pt idx="520">
                  <c:v>22.341075976805943</c:v>
                </c:pt>
                <c:pt idx="521">
                  <c:v>22.383925065334257</c:v>
                </c:pt>
                <c:pt idx="522">
                  <c:v>22.344149029803255</c:v>
                </c:pt>
                <c:pt idx="523">
                  <c:v>22.3501962627249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val>
          <c:smooth val="0"/>
          <c:extLst>
            <c:ext xmlns:c16="http://schemas.microsoft.com/office/drawing/2014/chart" uri="{C3380CC4-5D6E-409C-BE32-E72D297353CC}">
              <c16:uniqueId val="{00000000-7DF5-4049-9C18-76D54EAFDC14}"/>
            </c:ext>
          </c:extLst>
        </c:ser>
        <c:ser>
          <c:idx val="0"/>
          <c:order val="1"/>
          <c:tx>
            <c:strRef>
              <c:f>USA!$DY$8</c:f>
              <c:strCache>
                <c:ptCount val="1"/>
                <c:pt idx="0">
                  <c:v>Avg</c:v>
                </c:pt>
              </c:strCache>
            </c:strRef>
          </c:tx>
          <c:spPr>
            <a:ln w="19050" cap="rnd" cmpd="sng" algn="ctr">
              <a:solidFill>
                <a:sysClr val="window" lastClr="FFFFFF">
                  <a:lumMod val="65000"/>
                </a:sysClr>
              </a:solidFill>
              <a:prstDash val="solid"/>
              <a:round/>
              <a:headEnd type="none" w="med" len="med"/>
              <a:tailEnd type="none" w="med" len="med"/>
            </a:ln>
            <a:effectLst/>
          </c:spPr>
          <c:marker>
            <c:symbol val="none"/>
          </c:marker>
          <c:dPt>
            <c:idx val="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C-6564-4F45-8560-A14789827587}"/>
              </c:ext>
            </c:extLst>
          </c:dPt>
          <c:dPt>
            <c:idx val="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D-6564-4F45-8560-A14789827587}"/>
              </c:ext>
            </c:extLst>
          </c:dPt>
          <c:dPt>
            <c:idx val="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E-6564-4F45-8560-A14789827587}"/>
              </c:ext>
            </c:extLst>
          </c:dPt>
          <c:dPt>
            <c:idx val="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F-6564-4F45-8560-A14789827587}"/>
              </c:ext>
            </c:extLst>
          </c:dPt>
          <c:dPt>
            <c:idx val="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0-6564-4F45-8560-A14789827587}"/>
              </c:ext>
            </c:extLst>
          </c:dPt>
          <c:dPt>
            <c:idx val="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1-6564-4F45-8560-A14789827587}"/>
              </c:ext>
            </c:extLst>
          </c:dPt>
          <c:dPt>
            <c:idx val="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2-6564-4F45-8560-A14789827587}"/>
              </c:ext>
            </c:extLst>
          </c:dPt>
          <c:dPt>
            <c:idx val="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3-6564-4F45-8560-A14789827587}"/>
              </c:ext>
            </c:extLst>
          </c:dPt>
          <c:dPt>
            <c:idx val="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4-6564-4F45-8560-A14789827587}"/>
              </c:ext>
            </c:extLst>
          </c:dPt>
          <c:dPt>
            <c:idx val="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5-6564-4F45-8560-A14789827587}"/>
              </c:ext>
            </c:extLst>
          </c:dPt>
          <c:dPt>
            <c:idx val="1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6-6564-4F45-8560-A14789827587}"/>
              </c:ext>
            </c:extLst>
          </c:dPt>
          <c:dPt>
            <c:idx val="1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7-6564-4F45-8560-A14789827587}"/>
              </c:ext>
            </c:extLst>
          </c:dPt>
          <c:dPt>
            <c:idx val="1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8-6564-4F45-8560-A14789827587}"/>
              </c:ext>
            </c:extLst>
          </c:dPt>
          <c:dPt>
            <c:idx val="1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9-6564-4F45-8560-A14789827587}"/>
              </c:ext>
            </c:extLst>
          </c:dPt>
          <c:dPt>
            <c:idx val="1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A-6564-4F45-8560-A14789827587}"/>
              </c:ext>
            </c:extLst>
          </c:dPt>
          <c:dPt>
            <c:idx val="1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B-6564-4F45-8560-A14789827587}"/>
              </c:ext>
            </c:extLst>
          </c:dPt>
          <c:dPt>
            <c:idx val="1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C-6564-4F45-8560-A14789827587}"/>
              </c:ext>
            </c:extLst>
          </c:dPt>
          <c:dPt>
            <c:idx val="1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D-6564-4F45-8560-A14789827587}"/>
              </c:ext>
            </c:extLst>
          </c:dPt>
          <c:dPt>
            <c:idx val="1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E-6564-4F45-8560-A14789827587}"/>
              </c:ext>
            </c:extLst>
          </c:dPt>
          <c:dPt>
            <c:idx val="1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8F-6564-4F45-8560-A14789827587}"/>
              </c:ext>
            </c:extLst>
          </c:dPt>
          <c:dPt>
            <c:idx val="2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0-6564-4F45-8560-A14789827587}"/>
              </c:ext>
            </c:extLst>
          </c:dPt>
          <c:dPt>
            <c:idx val="2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1-6564-4F45-8560-A14789827587}"/>
              </c:ext>
            </c:extLst>
          </c:dPt>
          <c:dPt>
            <c:idx val="2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2-6564-4F45-8560-A14789827587}"/>
              </c:ext>
            </c:extLst>
          </c:dPt>
          <c:dPt>
            <c:idx val="2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3-6564-4F45-8560-A14789827587}"/>
              </c:ext>
            </c:extLst>
          </c:dPt>
          <c:dPt>
            <c:idx val="2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4-6564-4F45-8560-A14789827587}"/>
              </c:ext>
            </c:extLst>
          </c:dPt>
          <c:dPt>
            <c:idx val="2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5-6564-4F45-8560-A14789827587}"/>
              </c:ext>
            </c:extLst>
          </c:dPt>
          <c:dPt>
            <c:idx val="2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6-6564-4F45-8560-A14789827587}"/>
              </c:ext>
            </c:extLst>
          </c:dPt>
          <c:dPt>
            <c:idx val="2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7-6564-4F45-8560-A14789827587}"/>
              </c:ext>
            </c:extLst>
          </c:dPt>
          <c:dPt>
            <c:idx val="2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8-6564-4F45-8560-A14789827587}"/>
              </c:ext>
            </c:extLst>
          </c:dPt>
          <c:dPt>
            <c:idx val="2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9-6564-4F45-8560-A14789827587}"/>
              </c:ext>
            </c:extLst>
          </c:dPt>
          <c:dPt>
            <c:idx val="3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A-6564-4F45-8560-A14789827587}"/>
              </c:ext>
            </c:extLst>
          </c:dPt>
          <c:dPt>
            <c:idx val="3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B-6564-4F45-8560-A14789827587}"/>
              </c:ext>
            </c:extLst>
          </c:dPt>
          <c:dPt>
            <c:idx val="3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C-6564-4F45-8560-A14789827587}"/>
              </c:ext>
            </c:extLst>
          </c:dPt>
          <c:dPt>
            <c:idx val="3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D-6564-4F45-8560-A14789827587}"/>
              </c:ext>
            </c:extLst>
          </c:dPt>
          <c:dPt>
            <c:idx val="3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E-6564-4F45-8560-A14789827587}"/>
              </c:ext>
            </c:extLst>
          </c:dPt>
          <c:dPt>
            <c:idx val="3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9F-6564-4F45-8560-A14789827587}"/>
              </c:ext>
            </c:extLst>
          </c:dPt>
          <c:dPt>
            <c:idx val="3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0-6564-4F45-8560-A14789827587}"/>
              </c:ext>
            </c:extLst>
          </c:dPt>
          <c:dPt>
            <c:idx val="3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1-6564-4F45-8560-A14789827587}"/>
              </c:ext>
            </c:extLst>
          </c:dPt>
          <c:dPt>
            <c:idx val="3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2-6564-4F45-8560-A14789827587}"/>
              </c:ext>
            </c:extLst>
          </c:dPt>
          <c:dPt>
            <c:idx val="3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3-6564-4F45-8560-A14789827587}"/>
              </c:ext>
            </c:extLst>
          </c:dPt>
          <c:dPt>
            <c:idx val="4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4-6564-4F45-8560-A14789827587}"/>
              </c:ext>
            </c:extLst>
          </c:dPt>
          <c:dPt>
            <c:idx val="4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5-6564-4F45-8560-A14789827587}"/>
              </c:ext>
            </c:extLst>
          </c:dPt>
          <c:dPt>
            <c:idx val="4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6-6564-4F45-8560-A14789827587}"/>
              </c:ext>
            </c:extLst>
          </c:dPt>
          <c:dPt>
            <c:idx val="4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7-6564-4F45-8560-A14789827587}"/>
              </c:ext>
            </c:extLst>
          </c:dPt>
          <c:dPt>
            <c:idx val="4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8-6564-4F45-8560-A14789827587}"/>
              </c:ext>
            </c:extLst>
          </c:dPt>
          <c:dPt>
            <c:idx val="4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9-6564-4F45-8560-A14789827587}"/>
              </c:ext>
            </c:extLst>
          </c:dPt>
          <c:dPt>
            <c:idx val="4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A-6564-4F45-8560-A14789827587}"/>
              </c:ext>
            </c:extLst>
          </c:dPt>
          <c:dPt>
            <c:idx val="4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B-6564-4F45-8560-A14789827587}"/>
              </c:ext>
            </c:extLst>
          </c:dPt>
          <c:dPt>
            <c:idx val="4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C-6564-4F45-8560-A14789827587}"/>
              </c:ext>
            </c:extLst>
          </c:dPt>
          <c:dPt>
            <c:idx val="4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D-6564-4F45-8560-A14789827587}"/>
              </c:ext>
            </c:extLst>
          </c:dPt>
          <c:dPt>
            <c:idx val="5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E-6564-4F45-8560-A14789827587}"/>
              </c:ext>
            </c:extLst>
          </c:dPt>
          <c:dPt>
            <c:idx val="5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AF-6564-4F45-8560-A14789827587}"/>
              </c:ext>
            </c:extLst>
          </c:dPt>
          <c:dPt>
            <c:idx val="5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0-6564-4F45-8560-A14789827587}"/>
              </c:ext>
            </c:extLst>
          </c:dPt>
          <c:dPt>
            <c:idx val="5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1-6564-4F45-8560-A14789827587}"/>
              </c:ext>
            </c:extLst>
          </c:dPt>
          <c:dPt>
            <c:idx val="5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2-6564-4F45-8560-A14789827587}"/>
              </c:ext>
            </c:extLst>
          </c:dPt>
          <c:dPt>
            <c:idx val="5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3-6564-4F45-8560-A14789827587}"/>
              </c:ext>
            </c:extLst>
          </c:dPt>
          <c:dPt>
            <c:idx val="5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4-6564-4F45-8560-A14789827587}"/>
              </c:ext>
            </c:extLst>
          </c:dPt>
          <c:dPt>
            <c:idx val="5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5-6564-4F45-8560-A14789827587}"/>
              </c:ext>
            </c:extLst>
          </c:dPt>
          <c:dPt>
            <c:idx val="5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6-6564-4F45-8560-A14789827587}"/>
              </c:ext>
            </c:extLst>
          </c:dPt>
          <c:dPt>
            <c:idx val="5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7-6564-4F45-8560-A14789827587}"/>
              </c:ext>
            </c:extLst>
          </c:dPt>
          <c:dPt>
            <c:idx val="6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8-6564-4F45-8560-A14789827587}"/>
              </c:ext>
            </c:extLst>
          </c:dPt>
          <c:dPt>
            <c:idx val="6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9-6564-4F45-8560-A14789827587}"/>
              </c:ext>
            </c:extLst>
          </c:dPt>
          <c:dPt>
            <c:idx val="6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A-6564-4F45-8560-A14789827587}"/>
              </c:ext>
            </c:extLst>
          </c:dPt>
          <c:dPt>
            <c:idx val="6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B-6564-4F45-8560-A14789827587}"/>
              </c:ext>
            </c:extLst>
          </c:dPt>
          <c:dPt>
            <c:idx val="6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C-6564-4F45-8560-A14789827587}"/>
              </c:ext>
            </c:extLst>
          </c:dPt>
          <c:dPt>
            <c:idx val="6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D-6564-4F45-8560-A14789827587}"/>
              </c:ext>
            </c:extLst>
          </c:dPt>
          <c:dPt>
            <c:idx val="6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E-6564-4F45-8560-A14789827587}"/>
              </c:ext>
            </c:extLst>
          </c:dPt>
          <c:dPt>
            <c:idx val="6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BF-6564-4F45-8560-A14789827587}"/>
              </c:ext>
            </c:extLst>
          </c:dPt>
          <c:dPt>
            <c:idx val="6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0-6564-4F45-8560-A14789827587}"/>
              </c:ext>
            </c:extLst>
          </c:dPt>
          <c:dPt>
            <c:idx val="6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1-6564-4F45-8560-A14789827587}"/>
              </c:ext>
            </c:extLst>
          </c:dPt>
          <c:dPt>
            <c:idx val="7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2-6564-4F45-8560-A14789827587}"/>
              </c:ext>
            </c:extLst>
          </c:dPt>
          <c:dPt>
            <c:idx val="7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3-6564-4F45-8560-A14789827587}"/>
              </c:ext>
            </c:extLst>
          </c:dPt>
          <c:dPt>
            <c:idx val="7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4-6564-4F45-8560-A14789827587}"/>
              </c:ext>
            </c:extLst>
          </c:dPt>
          <c:dPt>
            <c:idx val="7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5-6564-4F45-8560-A14789827587}"/>
              </c:ext>
            </c:extLst>
          </c:dPt>
          <c:dPt>
            <c:idx val="7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6-6564-4F45-8560-A14789827587}"/>
              </c:ext>
            </c:extLst>
          </c:dPt>
          <c:dPt>
            <c:idx val="7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7-6564-4F45-8560-A14789827587}"/>
              </c:ext>
            </c:extLst>
          </c:dPt>
          <c:dPt>
            <c:idx val="7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8-6564-4F45-8560-A14789827587}"/>
              </c:ext>
            </c:extLst>
          </c:dPt>
          <c:dPt>
            <c:idx val="7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9-6564-4F45-8560-A14789827587}"/>
              </c:ext>
            </c:extLst>
          </c:dPt>
          <c:dPt>
            <c:idx val="7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A-6564-4F45-8560-A14789827587}"/>
              </c:ext>
            </c:extLst>
          </c:dPt>
          <c:dPt>
            <c:idx val="7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B-6564-4F45-8560-A14789827587}"/>
              </c:ext>
            </c:extLst>
          </c:dPt>
          <c:dPt>
            <c:idx val="8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C-6564-4F45-8560-A14789827587}"/>
              </c:ext>
            </c:extLst>
          </c:dPt>
          <c:dPt>
            <c:idx val="8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D-6564-4F45-8560-A14789827587}"/>
              </c:ext>
            </c:extLst>
          </c:dPt>
          <c:dPt>
            <c:idx val="8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E-6564-4F45-8560-A14789827587}"/>
              </c:ext>
            </c:extLst>
          </c:dPt>
          <c:dPt>
            <c:idx val="8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CF-6564-4F45-8560-A14789827587}"/>
              </c:ext>
            </c:extLst>
          </c:dPt>
          <c:dPt>
            <c:idx val="8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0-6564-4F45-8560-A14789827587}"/>
              </c:ext>
            </c:extLst>
          </c:dPt>
          <c:dPt>
            <c:idx val="8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1-6564-4F45-8560-A14789827587}"/>
              </c:ext>
            </c:extLst>
          </c:dPt>
          <c:dPt>
            <c:idx val="8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2-6564-4F45-8560-A14789827587}"/>
              </c:ext>
            </c:extLst>
          </c:dPt>
          <c:dPt>
            <c:idx val="8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3-6564-4F45-8560-A14789827587}"/>
              </c:ext>
            </c:extLst>
          </c:dPt>
          <c:dPt>
            <c:idx val="8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4-6564-4F45-8560-A14789827587}"/>
              </c:ext>
            </c:extLst>
          </c:dPt>
          <c:dPt>
            <c:idx val="8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5-6564-4F45-8560-A14789827587}"/>
              </c:ext>
            </c:extLst>
          </c:dPt>
          <c:dPt>
            <c:idx val="9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6-6564-4F45-8560-A14789827587}"/>
              </c:ext>
            </c:extLst>
          </c:dPt>
          <c:dPt>
            <c:idx val="9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7-6564-4F45-8560-A14789827587}"/>
              </c:ext>
            </c:extLst>
          </c:dPt>
          <c:dPt>
            <c:idx val="9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8-6564-4F45-8560-A14789827587}"/>
              </c:ext>
            </c:extLst>
          </c:dPt>
          <c:dPt>
            <c:idx val="9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9-6564-4F45-8560-A14789827587}"/>
              </c:ext>
            </c:extLst>
          </c:dPt>
          <c:dPt>
            <c:idx val="9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A-6564-4F45-8560-A14789827587}"/>
              </c:ext>
            </c:extLst>
          </c:dPt>
          <c:dPt>
            <c:idx val="9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B-6564-4F45-8560-A14789827587}"/>
              </c:ext>
            </c:extLst>
          </c:dPt>
          <c:dPt>
            <c:idx val="9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C-6564-4F45-8560-A14789827587}"/>
              </c:ext>
            </c:extLst>
          </c:dPt>
          <c:dPt>
            <c:idx val="9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D-6564-4F45-8560-A14789827587}"/>
              </c:ext>
            </c:extLst>
          </c:dPt>
          <c:dPt>
            <c:idx val="9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E-6564-4F45-8560-A14789827587}"/>
              </c:ext>
            </c:extLst>
          </c:dPt>
          <c:dPt>
            <c:idx val="9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DF-6564-4F45-8560-A14789827587}"/>
              </c:ext>
            </c:extLst>
          </c:dPt>
          <c:dPt>
            <c:idx val="10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0-6564-4F45-8560-A14789827587}"/>
              </c:ext>
            </c:extLst>
          </c:dPt>
          <c:dPt>
            <c:idx val="10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1-6564-4F45-8560-A14789827587}"/>
              </c:ext>
            </c:extLst>
          </c:dPt>
          <c:dPt>
            <c:idx val="10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2-6564-4F45-8560-A14789827587}"/>
              </c:ext>
            </c:extLst>
          </c:dPt>
          <c:dPt>
            <c:idx val="10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3-6564-4F45-8560-A14789827587}"/>
              </c:ext>
            </c:extLst>
          </c:dPt>
          <c:dPt>
            <c:idx val="10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4-6564-4F45-8560-A14789827587}"/>
              </c:ext>
            </c:extLst>
          </c:dPt>
          <c:dPt>
            <c:idx val="10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5-6564-4F45-8560-A14789827587}"/>
              </c:ext>
            </c:extLst>
          </c:dPt>
          <c:dPt>
            <c:idx val="10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6-6564-4F45-8560-A14789827587}"/>
              </c:ext>
            </c:extLst>
          </c:dPt>
          <c:dPt>
            <c:idx val="10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7-6564-4F45-8560-A14789827587}"/>
              </c:ext>
            </c:extLst>
          </c:dPt>
          <c:dPt>
            <c:idx val="10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8-6564-4F45-8560-A14789827587}"/>
              </c:ext>
            </c:extLst>
          </c:dPt>
          <c:dPt>
            <c:idx val="10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9-6564-4F45-8560-A14789827587}"/>
              </c:ext>
            </c:extLst>
          </c:dPt>
          <c:dPt>
            <c:idx val="11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A-6564-4F45-8560-A14789827587}"/>
              </c:ext>
            </c:extLst>
          </c:dPt>
          <c:dPt>
            <c:idx val="11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B-6564-4F45-8560-A14789827587}"/>
              </c:ext>
            </c:extLst>
          </c:dPt>
          <c:dPt>
            <c:idx val="11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C-6564-4F45-8560-A14789827587}"/>
              </c:ext>
            </c:extLst>
          </c:dPt>
          <c:dPt>
            <c:idx val="11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D-6564-4F45-8560-A14789827587}"/>
              </c:ext>
            </c:extLst>
          </c:dPt>
          <c:dPt>
            <c:idx val="11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E-6564-4F45-8560-A14789827587}"/>
              </c:ext>
            </c:extLst>
          </c:dPt>
          <c:dPt>
            <c:idx val="11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EF-6564-4F45-8560-A14789827587}"/>
              </c:ext>
            </c:extLst>
          </c:dPt>
          <c:dPt>
            <c:idx val="11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0-6564-4F45-8560-A14789827587}"/>
              </c:ext>
            </c:extLst>
          </c:dPt>
          <c:dPt>
            <c:idx val="11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1-6564-4F45-8560-A14789827587}"/>
              </c:ext>
            </c:extLst>
          </c:dPt>
          <c:dPt>
            <c:idx val="11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2-6564-4F45-8560-A14789827587}"/>
              </c:ext>
            </c:extLst>
          </c:dPt>
          <c:dPt>
            <c:idx val="11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3-6564-4F45-8560-A14789827587}"/>
              </c:ext>
            </c:extLst>
          </c:dPt>
          <c:dPt>
            <c:idx val="12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4-6564-4F45-8560-A14789827587}"/>
              </c:ext>
            </c:extLst>
          </c:dPt>
          <c:dPt>
            <c:idx val="12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5-6564-4F45-8560-A14789827587}"/>
              </c:ext>
            </c:extLst>
          </c:dPt>
          <c:dPt>
            <c:idx val="12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6-6564-4F45-8560-A14789827587}"/>
              </c:ext>
            </c:extLst>
          </c:dPt>
          <c:dPt>
            <c:idx val="12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7-6564-4F45-8560-A14789827587}"/>
              </c:ext>
            </c:extLst>
          </c:dPt>
          <c:dPt>
            <c:idx val="12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8-6564-4F45-8560-A14789827587}"/>
              </c:ext>
            </c:extLst>
          </c:dPt>
          <c:dPt>
            <c:idx val="12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9-6564-4F45-8560-A14789827587}"/>
              </c:ext>
            </c:extLst>
          </c:dPt>
          <c:dPt>
            <c:idx val="12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A-6564-4F45-8560-A14789827587}"/>
              </c:ext>
            </c:extLst>
          </c:dPt>
          <c:dPt>
            <c:idx val="12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B-6564-4F45-8560-A14789827587}"/>
              </c:ext>
            </c:extLst>
          </c:dPt>
          <c:dPt>
            <c:idx val="12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C-6564-4F45-8560-A14789827587}"/>
              </c:ext>
            </c:extLst>
          </c:dPt>
          <c:dPt>
            <c:idx val="12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D-6564-4F45-8560-A14789827587}"/>
              </c:ext>
            </c:extLst>
          </c:dPt>
          <c:dPt>
            <c:idx val="13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E-6564-4F45-8560-A14789827587}"/>
              </c:ext>
            </c:extLst>
          </c:dPt>
          <c:dPt>
            <c:idx val="13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FF-6564-4F45-8560-A14789827587}"/>
              </c:ext>
            </c:extLst>
          </c:dPt>
          <c:dPt>
            <c:idx val="13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0-6564-4F45-8560-A14789827587}"/>
              </c:ext>
            </c:extLst>
          </c:dPt>
          <c:dPt>
            <c:idx val="13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1-6564-4F45-8560-A14789827587}"/>
              </c:ext>
            </c:extLst>
          </c:dPt>
          <c:dPt>
            <c:idx val="13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2-6564-4F45-8560-A14789827587}"/>
              </c:ext>
            </c:extLst>
          </c:dPt>
          <c:dPt>
            <c:idx val="13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3-6564-4F45-8560-A14789827587}"/>
              </c:ext>
            </c:extLst>
          </c:dPt>
          <c:dPt>
            <c:idx val="13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4-6564-4F45-8560-A14789827587}"/>
              </c:ext>
            </c:extLst>
          </c:dPt>
          <c:dPt>
            <c:idx val="13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5-6564-4F45-8560-A14789827587}"/>
              </c:ext>
            </c:extLst>
          </c:dPt>
          <c:dPt>
            <c:idx val="13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6-6564-4F45-8560-A14789827587}"/>
              </c:ext>
            </c:extLst>
          </c:dPt>
          <c:dPt>
            <c:idx val="13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7-6564-4F45-8560-A14789827587}"/>
              </c:ext>
            </c:extLst>
          </c:dPt>
          <c:dPt>
            <c:idx val="14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8-6564-4F45-8560-A14789827587}"/>
              </c:ext>
            </c:extLst>
          </c:dPt>
          <c:dPt>
            <c:idx val="14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9-6564-4F45-8560-A14789827587}"/>
              </c:ext>
            </c:extLst>
          </c:dPt>
          <c:dPt>
            <c:idx val="14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A-6564-4F45-8560-A14789827587}"/>
              </c:ext>
            </c:extLst>
          </c:dPt>
          <c:dPt>
            <c:idx val="14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B-6564-4F45-8560-A14789827587}"/>
              </c:ext>
            </c:extLst>
          </c:dPt>
          <c:dPt>
            <c:idx val="14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C-6564-4F45-8560-A14789827587}"/>
              </c:ext>
            </c:extLst>
          </c:dPt>
          <c:dPt>
            <c:idx val="14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D-6564-4F45-8560-A14789827587}"/>
              </c:ext>
            </c:extLst>
          </c:dPt>
          <c:dPt>
            <c:idx val="14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E-6564-4F45-8560-A14789827587}"/>
              </c:ext>
            </c:extLst>
          </c:dPt>
          <c:dPt>
            <c:idx val="14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0F-6564-4F45-8560-A14789827587}"/>
              </c:ext>
            </c:extLst>
          </c:dPt>
          <c:dPt>
            <c:idx val="14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0-6564-4F45-8560-A14789827587}"/>
              </c:ext>
            </c:extLst>
          </c:dPt>
          <c:dPt>
            <c:idx val="14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1-6564-4F45-8560-A14789827587}"/>
              </c:ext>
            </c:extLst>
          </c:dPt>
          <c:dPt>
            <c:idx val="15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2-6564-4F45-8560-A14789827587}"/>
              </c:ext>
            </c:extLst>
          </c:dPt>
          <c:dPt>
            <c:idx val="15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3-6564-4F45-8560-A14789827587}"/>
              </c:ext>
            </c:extLst>
          </c:dPt>
          <c:dPt>
            <c:idx val="15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4-6564-4F45-8560-A14789827587}"/>
              </c:ext>
            </c:extLst>
          </c:dPt>
          <c:dPt>
            <c:idx val="15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5-6564-4F45-8560-A14789827587}"/>
              </c:ext>
            </c:extLst>
          </c:dPt>
          <c:dPt>
            <c:idx val="15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6-6564-4F45-8560-A14789827587}"/>
              </c:ext>
            </c:extLst>
          </c:dPt>
          <c:dPt>
            <c:idx val="15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7-6564-4F45-8560-A14789827587}"/>
              </c:ext>
            </c:extLst>
          </c:dPt>
          <c:dPt>
            <c:idx val="15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8-6564-4F45-8560-A14789827587}"/>
              </c:ext>
            </c:extLst>
          </c:dPt>
          <c:dPt>
            <c:idx val="15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9-6564-4F45-8560-A14789827587}"/>
              </c:ext>
            </c:extLst>
          </c:dPt>
          <c:dPt>
            <c:idx val="15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A-6564-4F45-8560-A14789827587}"/>
              </c:ext>
            </c:extLst>
          </c:dPt>
          <c:dPt>
            <c:idx val="15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B-6564-4F45-8560-A14789827587}"/>
              </c:ext>
            </c:extLst>
          </c:dPt>
          <c:dPt>
            <c:idx val="16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C-6564-4F45-8560-A14789827587}"/>
              </c:ext>
            </c:extLst>
          </c:dPt>
          <c:dPt>
            <c:idx val="16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D-6564-4F45-8560-A14789827587}"/>
              </c:ext>
            </c:extLst>
          </c:dPt>
          <c:dPt>
            <c:idx val="16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E-6564-4F45-8560-A14789827587}"/>
              </c:ext>
            </c:extLst>
          </c:dPt>
          <c:dPt>
            <c:idx val="16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1F-6564-4F45-8560-A14789827587}"/>
              </c:ext>
            </c:extLst>
          </c:dPt>
          <c:dPt>
            <c:idx val="16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0-6564-4F45-8560-A14789827587}"/>
              </c:ext>
            </c:extLst>
          </c:dPt>
          <c:dPt>
            <c:idx val="16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1-6564-4F45-8560-A14789827587}"/>
              </c:ext>
            </c:extLst>
          </c:dPt>
          <c:dPt>
            <c:idx val="16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2-6564-4F45-8560-A14789827587}"/>
              </c:ext>
            </c:extLst>
          </c:dPt>
          <c:dPt>
            <c:idx val="16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3-6564-4F45-8560-A14789827587}"/>
              </c:ext>
            </c:extLst>
          </c:dPt>
          <c:dPt>
            <c:idx val="16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4-6564-4F45-8560-A14789827587}"/>
              </c:ext>
            </c:extLst>
          </c:dPt>
          <c:dPt>
            <c:idx val="16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5-6564-4F45-8560-A14789827587}"/>
              </c:ext>
            </c:extLst>
          </c:dPt>
          <c:dPt>
            <c:idx val="17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6-6564-4F45-8560-A14789827587}"/>
              </c:ext>
            </c:extLst>
          </c:dPt>
          <c:dPt>
            <c:idx val="17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7-6564-4F45-8560-A14789827587}"/>
              </c:ext>
            </c:extLst>
          </c:dPt>
          <c:dPt>
            <c:idx val="17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8-6564-4F45-8560-A14789827587}"/>
              </c:ext>
            </c:extLst>
          </c:dPt>
          <c:dPt>
            <c:idx val="17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9-6564-4F45-8560-A14789827587}"/>
              </c:ext>
            </c:extLst>
          </c:dPt>
          <c:dPt>
            <c:idx val="17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A-6564-4F45-8560-A14789827587}"/>
              </c:ext>
            </c:extLst>
          </c:dPt>
          <c:dPt>
            <c:idx val="17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B-6564-4F45-8560-A14789827587}"/>
              </c:ext>
            </c:extLst>
          </c:dPt>
          <c:dPt>
            <c:idx val="17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C-6564-4F45-8560-A14789827587}"/>
              </c:ext>
            </c:extLst>
          </c:dPt>
          <c:dPt>
            <c:idx val="17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D-6564-4F45-8560-A14789827587}"/>
              </c:ext>
            </c:extLst>
          </c:dPt>
          <c:dPt>
            <c:idx val="17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E-6564-4F45-8560-A14789827587}"/>
              </c:ext>
            </c:extLst>
          </c:dPt>
          <c:dPt>
            <c:idx val="17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2F-6564-4F45-8560-A14789827587}"/>
              </c:ext>
            </c:extLst>
          </c:dPt>
          <c:dPt>
            <c:idx val="18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0-6564-4F45-8560-A14789827587}"/>
              </c:ext>
            </c:extLst>
          </c:dPt>
          <c:dPt>
            <c:idx val="18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1-6564-4F45-8560-A14789827587}"/>
              </c:ext>
            </c:extLst>
          </c:dPt>
          <c:dPt>
            <c:idx val="18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2-6564-4F45-8560-A14789827587}"/>
              </c:ext>
            </c:extLst>
          </c:dPt>
          <c:dPt>
            <c:idx val="18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3-6564-4F45-8560-A14789827587}"/>
              </c:ext>
            </c:extLst>
          </c:dPt>
          <c:dPt>
            <c:idx val="18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4-6564-4F45-8560-A14789827587}"/>
              </c:ext>
            </c:extLst>
          </c:dPt>
          <c:dPt>
            <c:idx val="18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5-6564-4F45-8560-A14789827587}"/>
              </c:ext>
            </c:extLst>
          </c:dPt>
          <c:dPt>
            <c:idx val="18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6-6564-4F45-8560-A14789827587}"/>
              </c:ext>
            </c:extLst>
          </c:dPt>
          <c:dPt>
            <c:idx val="18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7-6564-4F45-8560-A14789827587}"/>
              </c:ext>
            </c:extLst>
          </c:dPt>
          <c:dPt>
            <c:idx val="18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8-6564-4F45-8560-A14789827587}"/>
              </c:ext>
            </c:extLst>
          </c:dPt>
          <c:dPt>
            <c:idx val="18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9-6564-4F45-8560-A14789827587}"/>
              </c:ext>
            </c:extLst>
          </c:dPt>
          <c:dPt>
            <c:idx val="19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A-6564-4F45-8560-A14789827587}"/>
              </c:ext>
            </c:extLst>
          </c:dPt>
          <c:dPt>
            <c:idx val="19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B-6564-4F45-8560-A14789827587}"/>
              </c:ext>
            </c:extLst>
          </c:dPt>
          <c:dPt>
            <c:idx val="19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C-6564-4F45-8560-A14789827587}"/>
              </c:ext>
            </c:extLst>
          </c:dPt>
          <c:dPt>
            <c:idx val="19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D-6564-4F45-8560-A14789827587}"/>
              </c:ext>
            </c:extLst>
          </c:dPt>
          <c:dPt>
            <c:idx val="19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E-6564-4F45-8560-A14789827587}"/>
              </c:ext>
            </c:extLst>
          </c:dPt>
          <c:dPt>
            <c:idx val="19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3F-6564-4F45-8560-A14789827587}"/>
              </c:ext>
            </c:extLst>
          </c:dPt>
          <c:dPt>
            <c:idx val="19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0-6564-4F45-8560-A14789827587}"/>
              </c:ext>
            </c:extLst>
          </c:dPt>
          <c:dPt>
            <c:idx val="19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1-6564-4F45-8560-A14789827587}"/>
              </c:ext>
            </c:extLst>
          </c:dPt>
          <c:dPt>
            <c:idx val="19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2-6564-4F45-8560-A14789827587}"/>
              </c:ext>
            </c:extLst>
          </c:dPt>
          <c:dPt>
            <c:idx val="19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3-6564-4F45-8560-A14789827587}"/>
              </c:ext>
            </c:extLst>
          </c:dPt>
          <c:dPt>
            <c:idx val="20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4-6564-4F45-8560-A14789827587}"/>
              </c:ext>
            </c:extLst>
          </c:dPt>
          <c:dPt>
            <c:idx val="20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5-6564-4F45-8560-A14789827587}"/>
              </c:ext>
            </c:extLst>
          </c:dPt>
          <c:dPt>
            <c:idx val="20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6-6564-4F45-8560-A14789827587}"/>
              </c:ext>
            </c:extLst>
          </c:dPt>
          <c:dPt>
            <c:idx val="20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7-6564-4F45-8560-A14789827587}"/>
              </c:ext>
            </c:extLst>
          </c:dPt>
          <c:dPt>
            <c:idx val="20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8-6564-4F45-8560-A14789827587}"/>
              </c:ext>
            </c:extLst>
          </c:dPt>
          <c:dPt>
            <c:idx val="20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9-6564-4F45-8560-A14789827587}"/>
              </c:ext>
            </c:extLst>
          </c:dPt>
          <c:dPt>
            <c:idx val="20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A-6564-4F45-8560-A14789827587}"/>
              </c:ext>
            </c:extLst>
          </c:dPt>
          <c:dPt>
            <c:idx val="20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B-6564-4F45-8560-A14789827587}"/>
              </c:ext>
            </c:extLst>
          </c:dPt>
          <c:dPt>
            <c:idx val="20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C-6564-4F45-8560-A14789827587}"/>
              </c:ext>
            </c:extLst>
          </c:dPt>
          <c:dPt>
            <c:idx val="20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D-6564-4F45-8560-A14789827587}"/>
              </c:ext>
            </c:extLst>
          </c:dPt>
          <c:dPt>
            <c:idx val="21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E-6564-4F45-8560-A14789827587}"/>
              </c:ext>
            </c:extLst>
          </c:dPt>
          <c:dPt>
            <c:idx val="21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4F-6564-4F45-8560-A14789827587}"/>
              </c:ext>
            </c:extLst>
          </c:dPt>
          <c:dPt>
            <c:idx val="21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0-6564-4F45-8560-A14789827587}"/>
              </c:ext>
            </c:extLst>
          </c:dPt>
          <c:dPt>
            <c:idx val="21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1-6564-4F45-8560-A14789827587}"/>
              </c:ext>
            </c:extLst>
          </c:dPt>
          <c:dPt>
            <c:idx val="21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2-6564-4F45-8560-A14789827587}"/>
              </c:ext>
            </c:extLst>
          </c:dPt>
          <c:dPt>
            <c:idx val="21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3-6564-4F45-8560-A14789827587}"/>
              </c:ext>
            </c:extLst>
          </c:dPt>
          <c:dPt>
            <c:idx val="21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4-6564-4F45-8560-A14789827587}"/>
              </c:ext>
            </c:extLst>
          </c:dPt>
          <c:dPt>
            <c:idx val="21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5-6564-4F45-8560-A14789827587}"/>
              </c:ext>
            </c:extLst>
          </c:dPt>
          <c:dPt>
            <c:idx val="21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6-6564-4F45-8560-A14789827587}"/>
              </c:ext>
            </c:extLst>
          </c:dPt>
          <c:dPt>
            <c:idx val="21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7-6564-4F45-8560-A14789827587}"/>
              </c:ext>
            </c:extLst>
          </c:dPt>
          <c:dPt>
            <c:idx val="22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8-6564-4F45-8560-A14789827587}"/>
              </c:ext>
            </c:extLst>
          </c:dPt>
          <c:dPt>
            <c:idx val="22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9-6564-4F45-8560-A14789827587}"/>
              </c:ext>
            </c:extLst>
          </c:dPt>
          <c:dPt>
            <c:idx val="22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A-6564-4F45-8560-A14789827587}"/>
              </c:ext>
            </c:extLst>
          </c:dPt>
          <c:dPt>
            <c:idx val="22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B-6564-4F45-8560-A14789827587}"/>
              </c:ext>
            </c:extLst>
          </c:dPt>
          <c:dPt>
            <c:idx val="22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C-6564-4F45-8560-A14789827587}"/>
              </c:ext>
            </c:extLst>
          </c:dPt>
          <c:dPt>
            <c:idx val="22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D-6564-4F45-8560-A14789827587}"/>
              </c:ext>
            </c:extLst>
          </c:dPt>
          <c:dPt>
            <c:idx val="22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E-6564-4F45-8560-A14789827587}"/>
              </c:ext>
            </c:extLst>
          </c:dPt>
          <c:dPt>
            <c:idx val="22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5F-6564-4F45-8560-A14789827587}"/>
              </c:ext>
            </c:extLst>
          </c:dPt>
          <c:dPt>
            <c:idx val="22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0-6564-4F45-8560-A14789827587}"/>
              </c:ext>
            </c:extLst>
          </c:dPt>
          <c:dPt>
            <c:idx val="22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1-6564-4F45-8560-A14789827587}"/>
              </c:ext>
            </c:extLst>
          </c:dPt>
          <c:dPt>
            <c:idx val="23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2-6564-4F45-8560-A14789827587}"/>
              </c:ext>
            </c:extLst>
          </c:dPt>
          <c:dPt>
            <c:idx val="23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3-6564-4F45-8560-A14789827587}"/>
              </c:ext>
            </c:extLst>
          </c:dPt>
          <c:dPt>
            <c:idx val="23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4-6564-4F45-8560-A14789827587}"/>
              </c:ext>
            </c:extLst>
          </c:dPt>
          <c:dPt>
            <c:idx val="23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5-6564-4F45-8560-A14789827587}"/>
              </c:ext>
            </c:extLst>
          </c:dPt>
          <c:dPt>
            <c:idx val="23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6-6564-4F45-8560-A14789827587}"/>
              </c:ext>
            </c:extLst>
          </c:dPt>
          <c:dPt>
            <c:idx val="23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7-6564-4F45-8560-A14789827587}"/>
              </c:ext>
            </c:extLst>
          </c:dPt>
          <c:dPt>
            <c:idx val="23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8-6564-4F45-8560-A14789827587}"/>
              </c:ext>
            </c:extLst>
          </c:dPt>
          <c:dPt>
            <c:idx val="23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9-6564-4F45-8560-A14789827587}"/>
              </c:ext>
            </c:extLst>
          </c:dPt>
          <c:dPt>
            <c:idx val="23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A-6564-4F45-8560-A14789827587}"/>
              </c:ext>
            </c:extLst>
          </c:dPt>
          <c:dPt>
            <c:idx val="23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B-6564-4F45-8560-A14789827587}"/>
              </c:ext>
            </c:extLst>
          </c:dPt>
          <c:dPt>
            <c:idx val="24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C-6564-4F45-8560-A14789827587}"/>
              </c:ext>
            </c:extLst>
          </c:dPt>
          <c:dPt>
            <c:idx val="24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D-6564-4F45-8560-A14789827587}"/>
              </c:ext>
            </c:extLst>
          </c:dPt>
          <c:dPt>
            <c:idx val="24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E-6564-4F45-8560-A14789827587}"/>
              </c:ext>
            </c:extLst>
          </c:dPt>
          <c:dPt>
            <c:idx val="24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6F-6564-4F45-8560-A14789827587}"/>
              </c:ext>
            </c:extLst>
          </c:dPt>
          <c:dPt>
            <c:idx val="24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0-6564-4F45-8560-A14789827587}"/>
              </c:ext>
            </c:extLst>
          </c:dPt>
          <c:dPt>
            <c:idx val="24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1-6564-4F45-8560-A14789827587}"/>
              </c:ext>
            </c:extLst>
          </c:dPt>
          <c:dPt>
            <c:idx val="24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2-6564-4F45-8560-A14789827587}"/>
              </c:ext>
            </c:extLst>
          </c:dPt>
          <c:dPt>
            <c:idx val="24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3-6564-4F45-8560-A14789827587}"/>
              </c:ext>
            </c:extLst>
          </c:dPt>
          <c:dPt>
            <c:idx val="24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4-6564-4F45-8560-A14789827587}"/>
              </c:ext>
            </c:extLst>
          </c:dPt>
          <c:dPt>
            <c:idx val="24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5-6564-4F45-8560-A14789827587}"/>
              </c:ext>
            </c:extLst>
          </c:dPt>
          <c:dPt>
            <c:idx val="25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6-6564-4F45-8560-A14789827587}"/>
              </c:ext>
            </c:extLst>
          </c:dPt>
          <c:dPt>
            <c:idx val="25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7-6564-4F45-8560-A14789827587}"/>
              </c:ext>
            </c:extLst>
          </c:dPt>
          <c:dPt>
            <c:idx val="25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8-6564-4F45-8560-A14789827587}"/>
              </c:ext>
            </c:extLst>
          </c:dPt>
          <c:dPt>
            <c:idx val="25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9-6564-4F45-8560-A14789827587}"/>
              </c:ext>
            </c:extLst>
          </c:dPt>
          <c:dPt>
            <c:idx val="25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A-6564-4F45-8560-A14789827587}"/>
              </c:ext>
            </c:extLst>
          </c:dPt>
          <c:dPt>
            <c:idx val="25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B-6564-4F45-8560-A14789827587}"/>
              </c:ext>
            </c:extLst>
          </c:dPt>
          <c:dPt>
            <c:idx val="25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C-6564-4F45-8560-A14789827587}"/>
              </c:ext>
            </c:extLst>
          </c:dPt>
          <c:dPt>
            <c:idx val="25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D-6564-4F45-8560-A14789827587}"/>
              </c:ext>
            </c:extLst>
          </c:dPt>
          <c:dPt>
            <c:idx val="25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E-6564-4F45-8560-A14789827587}"/>
              </c:ext>
            </c:extLst>
          </c:dPt>
          <c:dPt>
            <c:idx val="25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7F-6564-4F45-8560-A14789827587}"/>
              </c:ext>
            </c:extLst>
          </c:dPt>
          <c:dPt>
            <c:idx val="26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0-6564-4F45-8560-A14789827587}"/>
              </c:ext>
            </c:extLst>
          </c:dPt>
          <c:dPt>
            <c:idx val="26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1-6564-4F45-8560-A14789827587}"/>
              </c:ext>
            </c:extLst>
          </c:dPt>
          <c:dPt>
            <c:idx val="26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2-6564-4F45-8560-A14789827587}"/>
              </c:ext>
            </c:extLst>
          </c:dPt>
          <c:dPt>
            <c:idx val="26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3-6564-4F45-8560-A14789827587}"/>
              </c:ext>
            </c:extLst>
          </c:dPt>
          <c:dPt>
            <c:idx val="26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4-6564-4F45-8560-A14789827587}"/>
              </c:ext>
            </c:extLst>
          </c:dPt>
          <c:dPt>
            <c:idx val="26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5-6564-4F45-8560-A14789827587}"/>
              </c:ext>
            </c:extLst>
          </c:dPt>
          <c:dPt>
            <c:idx val="26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6-6564-4F45-8560-A14789827587}"/>
              </c:ext>
            </c:extLst>
          </c:dPt>
          <c:dPt>
            <c:idx val="26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7-6564-4F45-8560-A14789827587}"/>
              </c:ext>
            </c:extLst>
          </c:dPt>
          <c:dPt>
            <c:idx val="26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8-6564-4F45-8560-A14789827587}"/>
              </c:ext>
            </c:extLst>
          </c:dPt>
          <c:dPt>
            <c:idx val="26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9-6564-4F45-8560-A14789827587}"/>
              </c:ext>
            </c:extLst>
          </c:dPt>
          <c:dPt>
            <c:idx val="27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A-6564-4F45-8560-A14789827587}"/>
              </c:ext>
            </c:extLst>
          </c:dPt>
          <c:dPt>
            <c:idx val="27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B-6564-4F45-8560-A14789827587}"/>
              </c:ext>
            </c:extLst>
          </c:dPt>
          <c:dPt>
            <c:idx val="27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C-6564-4F45-8560-A14789827587}"/>
              </c:ext>
            </c:extLst>
          </c:dPt>
          <c:dPt>
            <c:idx val="27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D-6564-4F45-8560-A14789827587}"/>
              </c:ext>
            </c:extLst>
          </c:dPt>
          <c:dPt>
            <c:idx val="27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E-6564-4F45-8560-A14789827587}"/>
              </c:ext>
            </c:extLst>
          </c:dPt>
          <c:dPt>
            <c:idx val="27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8F-6564-4F45-8560-A14789827587}"/>
              </c:ext>
            </c:extLst>
          </c:dPt>
          <c:dPt>
            <c:idx val="27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0-6564-4F45-8560-A14789827587}"/>
              </c:ext>
            </c:extLst>
          </c:dPt>
          <c:dPt>
            <c:idx val="27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1-6564-4F45-8560-A14789827587}"/>
              </c:ext>
            </c:extLst>
          </c:dPt>
          <c:dPt>
            <c:idx val="27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2-6564-4F45-8560-A14789827587}"/>
              </c:ext>
            </c:extLst>
          </c:dPt>
          <c:dPt>
            <c:idx val="27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3-6564-4F45-8560-A14789827587}"/>
              </c:ext>
            </c:extLst>
          </c:dPt>
          <c:dPt>
            <c:idx val="28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4-6564-4F45-8560-A14789827587}"/>
              </c:ext>
            </c:extLst>
          </c:dPt>
          <c:dPt>
            <c:idx val="28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5-6564-4F45-8560-A14789827587}"/>
              </c:ext>
            </c:extLst>
          </c:dPt>
          <c:dPt>
            <c:idx val="28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6-6564-4F45-8560-A14789827587}"/>
              </c:ext>
            </c:extLst>
          </c:dPt>
          <c:dPt>
            <c:idx val="28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7-6564-4F45-8560-A14789827587}"/>
              </c:ext>
            </c:extLst>
          </c:dPt>
          <c:dPt>
            <c:idx val="28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8-6564-4F45-8560-A14789827587}"/>
              </c:ext>
            </c:extLst>
          </c:dPt>
          <c:dPt>
            <c:idx val="28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9-6564-4F45-8560-A14789827587}"/>
              </c:ext>
            </c:extLst>
          </c:dPt>
          <c:dPt>
            <c:idx val="28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A-6564-4F45-8560-A14789827587}"/>
              </c:ext>
            </c:extLst>
          </c:dPt>
          <c:dPt>
            <c:idx val="28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B-6564-4F45-8560-A14789827587}"/>
              </c:ext>
            </c:extLst>
          </c:dPt>
          <c:dPt>
            <c:idx val="28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C-6564-4F45-8560-A14789827587}"/>
              </c:ext>
            </c:extLst>
          </c:dPt>
          <c:dPt>
            <c:idx val="28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D-6564-4F45-8560-A14789827587}"/>
              </c:ext>
            </c:extLst>
          </c:dPt>
          <c:dPt>
            <c:idx val="29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E-6564-4F45-8560-A14789827587}"/>
              </c:ext>
            </c:extLst>
          </c:dPt>
          <c:dPt>
            <c:idx val="29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9F-6564-4F45-8560-A14789827587}"/>
              </c:ext>
            </c:extLst>
          </c:dPt>
          <c:dPt>
            <c:idx val="29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0-6564-4F45-8560-A14789827587}"/>
              </c:ext>
            </c:extLst>
          </c:dPt>
          <c:dPt>
            <c:idx val="29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1-6564-4F45-8560-A14789827587}"/>
              </c:ext>
            </c:extLst>
          </c:dPt>
          <c:dPt>
            <c:idx val="29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2-6564-4F45-8560-A14789827587}"/>
              </c:ext>
            </c:extLst>
          </c:dPt>
          <c:dPt>
            <c:idx val="29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3-6564-4F45-8560-A14789827587}"/>
              </c:ext>
            </c:extLst>
          </c:dPt>
          <c:dPt>
            <c:idx val="29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4-6564-4F45-8560-A14789827587}"/>
              </c:ext>
            </c:extLst>
          </c:dPt>
          <c:dPt>
            <c:idx val="29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5-6564-4F45-8560-A14789827587}"/>
              </c:ext>
            </c:extLst>
          </c:dPt>
          <c:dPt>
            <c:idx val="29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6-6564-4F45-8560-A14789827587}"/>
              </c:ext>
            </c:extLst>
          </c:dPt>
          <c:dPt>
            <c:idx val="29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7-6564-4F45-8560-A14789827587}"/>
              </c:ext>
            </c:extLst>
          </c:dPt>
          <c:dPt>
            <c:idx val="30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8-6564-4F45-8560-A14789827587}"/>
              </c:ext>
            </c:extLst>
          </c:dPt>
          <c:dPt>
            <c:idx val="30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9-6564-4F45-8560-A14789827587}"/>
              </c:ext>
            </c:extLst>
          </c:dPt>
          <c:dPt>
            <c:idx val="30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A-6564-4F45-8560-A14789827587}"/>
              </c:ext>
            </c:extLst>
          </c:dPt>
          <c:dPt>
            <c:idx val="30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B-6564-4F45-8560-A14789827587}"/>
              </c:ext>
            </c:extLst>
          </c:dPt>
          <c:dPt>
            <c:idx val="30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C-6564-4F45-8560-A14789827587}"/>
              </c:ext>
            </c:extLst>
          </c:dPt>
          <c:dPt>
            <c:idx val="30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D-6564-4F45-8560-A14789827587}"/>
              </c:ext>
            </c:extLst>
          </c:dPt>
          <c:dPt>
            <c:idx val="30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E-6564-4F45-8560-A14789827587}"/>
              </c:ext>
            </c:extLst>
          </c:dPt>
          <c:dPt>
            <c:idx val="30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AF-6564-4F45-8560-A14789827587}"/>
              </c:ext>
            </c:extLst>
          </c:dPt>
          <c:dPt>
            <c:idx val="30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0-6564-4F45-8560-A14789827587}"/>
              </c:ext>
            </c:extLst>
          </c:dPt>
          <c:dPt>
            <c:idx val="30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1-6564-4F45-8560-A14789827587}"/>
              </c:ext>
            </c:extLst>
          </c:dPt>
          <c:dPt>
            <c:idx val="31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2-6564-4F45-8560-A14789827587}"/>
              </c:ext>
            </c:extLst>
          </c:dPt>
          <c:dPt>
            <c:idx val="31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3-6564-4F45-8560-A14789827587}"/>
              </c:ext>
            </c:extLst>
          </c:dPt>
          <c:dPt>
            <c:idx val="31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4-6564-4F45-8560-A14789827587}"/>
              </c:ext>
            </c:extLst>
          </c:dPt>
          <c:dPt>
            <c:idx val="31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5-6564-4F45-8560-A14789827587}"/>
              </c:ext>
            </c:extLst>
          </c:dPt>
          <c:dPt>
            <c:idx val="31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6-6564-4F45-8560-A14789827587}"/>
              </c:ext>
            </c:extLst>
          </c:dPt>
          <c:dPt>
            <c:idx val="31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7-6564-4F45-8560-A14789827587}"/>
              </c:ext>
            </c:extLst>
          </c:dPt>
          <c:dPt>
            <c:idx val="31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8-6564-4F45-8560-A14789827587}"/>
              </c:ext>
            </c:extLst>
          </c:dPt>
          <c:dPt>
            <c:idx val="31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9-6564-4F45-8560-A14789827587}"/>
              </c:ext>
            </c:extLst>
          </c:dPt>
          <c:dPt>
            <c:idx val="31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A-6564-4F45-8560-A14789827587}"/>
              </c:ext>
            </c:extLst>
          </c:dPt>
          <c:dPt>
            <c:idx val="31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B-6564-4F45-8560-A14789827587}"/>
              </c:ext>
            </c:extLst>
          </c:dPt>
          <c:dPt>
            <c:idx val="32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C-6564-4F45-8560-A14789827587}"/>
              </c:ext>
            </c:extLst>
          </c:dPt>
          <c:dPt>
            <c:idx val="32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D-6564-4F45-8560-A14789827587}"/>
              </c:ext>
            </c:extLst>
          </c:dPt>
          <c:dPt>
            <c:idx val="32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E-6564-4F45-8560-A14789827587}"/>
              </c:ext>
            </c:extLst>
          </c:dPt>
          <c:dPt>
            <c:idx val="32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BF-6564-4F45-8560-A14789827587}"/>
              </c:ext>
            </c:extLst>
          </c:dPt>
          <c:dPt>
            <c:idx val="32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0-6564-4F45-8560-A14789827587}"/>
              </c:ext>
            </c:extLst>
          </c:dPt>
          <c:dPt>
            <c:idx val="32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1-6564-4F45-8560-A14789827587}"/>
              </c:ext>
            </c:extLst>
          </c:dPt>
          <c:dPt>
            <c:idx val="32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2-6564-4F45-8560-A14789827587}"/>
              </c:ext>
            </c:extLst>
          </c:dPt>
          <c:dPt>
            <c:idx val="32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3-6564-4F45-8560-A14789827587}"/>
              </c:ext>
            </c:extLst>
          </c:dPt>
          <c:dPt>
            <c:idx val="32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4-6564-4F45-8560-A14789827587}"/>
              </c:ext>
            </c:extLst>
          </c:dPt>
          <c:dPt>
            <c:idx val="32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5-6564-4F45-8560-A14789827587}"/>
              </c:ext>
            </c:extLst>
          </c:dPt>
          <c:dPt>
            <c:idx val="33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6-6564-4F45-8560-A14789827587}"/>
              </c:ext>
            </c:extLst>
          </c:dPt>
          <c:dPt>
            <c:idx val="33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7-6564-4F45-8560-A14789827587}"/>
              </c:ext>
            </c:extLst>
          </c:dPt>
          <c:dPt>
            <c:idx val="33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8-6564-4F45-8560-A14789827587}"/>
              </c:ext>
            </c:extLst>
          </c:dPt>
          <c:dPt>
            <c:idx val="33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9-6564-4F45-8560-A14789827587}"/>
              </c:ext>
            </c:extLst>
          </c:dPt>
          <c:dPt>
            <c:idx val="33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A-6564-4F45-8560-A14789827587}"/>
              </c:ext>
            </c:extLst>
          </c:dPt>
          <c:dPt>
            <c:idx val="33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B-6564-4F45-8560-A14789827587}"/>
              </c:ext>
            </c:extLst>
          </c:dPt>
          <c:dPt>
            <c:idx val="33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C-6564-4F45-8560-A14789827587}"/>
              </c:ext>
            </c:extLst>
          </c:dPt>
          <c:dPt>
            <c:idx val="33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D-6564-4F45-8560-A14789827587}"/>
              </c:ext>
            </c:extLst>
          </c:dPt>
          <c:dPt>
            <c:idx val="33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E-6564-4F45-8560-A14789827587}"/>
              </c:ext>
            </c:extLst>
          </c:dPt>
          <c:dPt>
            <c:idx val="33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CF-6564-4F45-8560-A14789827587}"/>
              </c:ext>
            </c:extLst>
          </c:dPt>
          <c:dPt>
            <c:idx val="34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0-6564-4F45-8560-A14789827587}"/>
              </c:ext>
            </c:extLst>
          </c:dPt>
          <c:dPt>
            <c:idx val="34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1-6564-4F45-8560-A14789827587}"/>
              </c:ext>
            </c:extLst>
          </c:dPt>
          <c:dPt>
            <c:idx val="34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2-6564-4F45-8560-A14789827587}"/>
              </c:ext>
            </c:extLst>
          </c:dPt>
          <c:dPt>
            <c:idx val="34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3-6564-4F45-8560-A14789827587}"/>
              </c:ext>
            </c:extLst>
          </c:dPt>
          <c:dPt>
            <c:idx val="34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4-6564-4F45-8560-A14789827587}"/>
              </c:ext>
            </c:extLst>
          </c:dPt>
          <c:dPt>
            <c:idx val="34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5-6564-4F45-8560-A14789827587}"/>
              </c:ext>
            </c:extLst>
          </c:dPt>
          <c:dPt>
            <c:idx val="34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6-6564-4F45-8560-A14789827587}"/>
              </c:ext>
            </c:extLst>
          </c:dPt>
          <c:dPt>
            <c:idx val="34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7-6564-4F45-8560-A14789827587}"/>
              </c:ext>
            </c:extLst>
          </c:dPt>
          <c:dPt>
            <c:idx val="34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8-6564-4F45-8560-A14789827587}"/>
              </c:ext>
            </c:extLst>
          </c:dPt>
          <c:dPt>
            <c:idx val="34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9-6564-4F45-8560-A14789827587}"/>
              </c:ext>
            </c:extLst>
          </c:dPt>
          <c:dPt>
            <c:idx val="35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A-6564-4F45-8560-A14789827587}"/>
              </c:ext>
            </c:extLst>
          </c:dPt>
          <c:dPt>
            <c:idx val="35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B-6564-4F45-8560-A14789827587}"/>
              </c:ext>
            </c:extLst>
          </c:dPt>
          <c:dPt>
            <c:idx val="35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C-6564-4F45-8560-A14789827587}"/>
              </c:ext>
            </c:extLst>
          </c:dPt>
          <c:dPt>
            <c:idx val="35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D-6564-4F45-8560-A14789827587}"/>
              </c:ext>
            </c:extLst>
          </c:dPt>
          <c:dPt>
            <c:idx val="35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E-6564-4F45-8560-A14789827587}"/>
              </c:ext>
            </c:extLst>
          </c:dPt>
          <c:dPt>
            <c:idx val="35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DF-6564-4F45-8560-A14789827587}"/>
              </c:ext>
            </c:extLst>
          </c:dPt>
          <c:dPt>
            <c:idx val="35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0-6564-4F45-8560-A14789827587}"/>
              </c:ext>
            </c:extLst>
          </c:dPt>
          <c:dPt>
            <c:idx val="35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1-6564-4F45-8560-A14789827587}"/>
              </c:ext>
            </c:extLst>
          </c:dPt>
          <c:dPt>
            <c:idx val="35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2-6564-4F45-8560-A14789827587}"/>
              </c:ext>
            </c:extLst>
          </c:dPt>
          <c:dPt>
            <c:idx val="35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3-6564-4F45-8560-A14789827587}"/>
              </c:ext>
            </c:extLst>
          </c:dPt>
          <c:dPt>
            <c:idx val="36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4-6564-4F45-8560-A14789827587}"/>
              </c:ext>
            </c:extLst>
          </c:dPt>
          <c:dPt>
            <c:idx val="36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5-6564-4F45-8560-A14789827587}"/>
              </c:ext>
            </c:extLst>
          </c:dPt>
          <c:dPt>
            <c:idx val="36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6-6564-4F45-8560-A14789827587}"/>
              </c:ext>
            </c:extLst>
          </c:dPt>
          <c:dPt>
            <c:idx val="36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7-6564-4F45-8560-A14789827587}"/>
              </c:ext>
            </c:extLst>
          </c:dPt>
          <c:dPt>
            <c:idx val="36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8-6564-4F45-8560-A14789827587}"/>
              </c:ext>
            </c:extLst>
          </c:dPt>
          <c:dPt>
            <c:idx val="36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9-6564-4F45-8560-A14789827587}"/>
              </c:ext>
            </c:extLst>
          </c:dPt>
          <c:dPt>
            <c:idx val="36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A-6564-4F45-8560-A14789827587}"/>
              </c:ext>
            </c:extLst>
          </c:dPt>
          <c:dPt>
            <c:idx val="36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B-6564-4F45-8560-A14789827587}"/>
              </c:ext>
            </c:extLst>
          </c:dPt>
          <c:dPt>
            <c:idx val="36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C-6564-4F45-8560-A14789827587}"/>
              </c:ext>
            </c:extLst>
          </c:dPt>
          <c:dPt>
            <c:idx val="36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D-6564-4F45-8560-A14789827587}"/>
              </c:ext>
            </c:extLst>
          </c:dPt>
          <c:dPt>
            <c:idx val="37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E-6564-4F45-8560-A14789827587}"/>
              </c:ext>
            </c:extLst>
          </c:dPt>
          <c:dPt>
            <c:idx val="37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EF-6564-4F45-8560-A14789827587}"/>
              </c:ext>
            </c:extLst>
          </c:dPt>
          <c:dPt>
            <c:idx val="37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0-6564-4F45-8560-A14789827587}"/>
              </c:ext>
            </c:extLst>
          </c:dPt>
          <c:dPt>
            <c:idx val="37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1-6564-4F45-8560-A14789827587}"/>
              </c:ext>
            </c:extLst>
          </c:dPt>
          <c:dPt>
            <c:idx val="37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2-6564-4F45-8560-A14789827587}"/>
              </c:ext>
            </c:extLst>
          </c:dPt>
          <c:dPt>
            <c:idx val="37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3-6564-4F45-8560-A14789827587}"/>
              </c:ext>
            </c:extLst>
          </c:dPt>
          <c:dPt>
            <c:idx val="37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4-6564-4F45-8560-A14789827587}"/>
              </c:ext>
            </c:extLst>
          </c:dPt>
          <c:dPt>
            <c:idx val="37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5-6564-4F45-8560-A14789827587}"/>
              </c:ext>
            </c:extLst>
          </c:dPt>
          <c:dPt>
            <c:idx val="37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6-6564-4F45-8560-A14789827587}"/>
              </c:ext>
            </c:extLst>
          </c:dPt>
          <c:dPt>
            <c:idx val="37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7-6564-4F45-8560-A14789827587}"/>
              </c:ext>
            </c:extLst>
          </c:dPt>
          <c:dPt>
            <c:idx val="38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8-6564-4F45-8560-A14789827587}"/>
              </c:ext>
            </c:extLst>
          </c:dPt>
          <c:dPt>
            <c:idx val="38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9-6564-4F45-8560-A14789827587}"/>
              </c:ext>
            </c:extLst>
          </c:dPt>
          <c:dPt>
            <c:idx val="38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A-6564-4F45-8560-A14789827587}"/>
              </c:ext>
            </c:extLst>
          </c:dPt>
          <c:dPt>
            <c:idx val="38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B-6564-4F45-8560-A14789827587}"/>
              </c:ext>
            </c:extLst>
          </c:dPt>
          <c:dPt>
            <c:idx val="38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C-6564-4F45-8560-A14789827587}"/>
              </c:ext>
            </c:extLst>
          </c:dPt>
          <c:dPt>
            <c:idx val="38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D-6564-4F45-8560-A14789827587}"/>
              </c:ext>
            </c:extLst>
          </c:dPt>
          <c:dPt>
            <c:idx val="38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E-6564-4F45-8560-A14789827587}"/>
              </c:ext>
            </c:extLst>
          </c:dPt>
          <c:dPt>
            <c:idx val="38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4FF-6564-4F45-8560-A14789827587}"/>
              </c:ext>
            </c:extLst>
          </c:dPt>
          <c:dPt>
            <c:idx val="38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0-6564-4F45-8560-A14789827587}"/>
              </c:ext>
            </c:extLst>
          </c:dPt>
          <c:dPt>
            <c:idx val="38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1-6564-4F45-8560-A14789827587}"/>
              </c:ext>
            </c:extLst>
          </c:dPt>
          <c:dPt>
            <c:idx val="39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2-6564-4F45-8560-A14789827587}"/>
              </c:ext>
            </c:extLst>
          </c:dPt>
          <c:dPt>
            <c:idx val="39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3-6564-4F45-8560-A14789827587}"/>
              </c:ext>
            </c:extLst>
          </c:dPt>
          <c:dPt>
            <c:idx val="39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4-6564-4F45-8560-A14789827587}"/>
              </c:ext>
            </c:extLst>
          </c:dPt>
          <c:dPt>
            <c:idx val="39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5-6564-4F45-8560-A14789827587}"/>
              </c:ext>
            </c:extLst>
          </c:dPt>
          <c:dPt>
            <c:idx val="39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6-6564-4F45-8560-A14789827587}"/>
              </c:ext>
            </c:extLst>
          </c:dPt>
          <c:dPt>
            <c:idx val="39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7-6564-4F45-8560-A14789827587}"/>
              </c:ext>
            </c:extLst>
          </c:dPt>
          <c:dPt>
            <c:idx val="39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8-6564-4F45-8560-A14789827587}"/>
              </c:ext>
            </c:extLst>
          </c:dPt>
          <c:dPt>
            <c:idx val="39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9-6564-4F45-8560-A14789827587}"/>
              </c:ext>
            </c:extLst>
          </c:dPt>
          <c:dPt>
            <c:idx val="39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A-6564-4F45-8560-A14789827587}"/>
              </c:ext>
            </c:extLst>
          </c:dPt>
          <c:dPt>
            <c:idx val="39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B-6564-4F45-8560-A14789827587}"/>
              </c:ext>
            </c:extLst>
          </c:dPt>
          <c:dPt>
            <c:idx val="40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C-6564-4F45-8560-A14789827587}"/>
              </c:ext>
            </c:extLst>
          </c:dPt>
          <c:dPt>
            <c:idx val="40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D-6564-4F45-8560-A14789827587}"/>
              </c:ext>
            </c:extLst>
          </c:dPt>
          <c:dPt>
            <c:idx val="40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E-6564-4F45-8560-A14789827587}"/>
              </c:ext>
            </c:extLst>
          </c:dPt>
          <c:dPt>
            <c:idx val="40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0F-6564-4F45-8560-A14789827587}"/>
              </c:ext>
            </c:extLst>
          </c:dPt>
          <c:dPt>
            <c:idx val="40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0-6564-4F45-8560-A14789827587}"/>
              </c:ext>
            </c:extLst>
          </c:dPt>
          <c:dPt>
            <c:idx val="40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1-6564-4F45-8560-A14789827587}"/>
              </c:ext>
            </c:extLst>
          </c:dPt>
          <c:dPt>
            <c:idx val="40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2-6564-4F45-8560-A14789827587}"/>
              </c:ext>
            </c:extLst>
          </c:dPt>
          <c:dPt>
            <c:idx val="40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3-6564-4F45-8560-A14789827587}"/>
              </c:ext>
            </c:extLst>
          </c:dPt>
          <c:dPt>
            <c:idx val="40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4-6564-4F45-8560-A14789827587}"/>
              </c:ext>
            </c:extLst>
          </c:dPt>
          <c:dPt>
            <c:idx val="40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5-6564-4F45-8560-A14789827587}"/>
              </c:ext>
            </c:extLst>
          </c:dPt>
          <c:dPt>
            <c:idx val="41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6-6564-4F45-8560-A14789827587}"/>
              </c:ext>
            </c:extLst>
          </c:dPt>
          <c:dPt>
            <c:idx val="41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7-6564-4F45-8560-A14789827587}"/>
              </c:ext>
            </c:extLst>
          </c:dPt>
          <c:dPt>
            <c:idx val="41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8-6564-4F45-8560-A14789827587}"/>
              </c:ext>
            </c:extLst>
          </c:dPt>
          <c:dPt>
            <c:idx val="41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9-6564-4F45-8560-A14789827587}"/>
              </c:ext>
            </c:extLst>
          </c:dPt>
          <c:dPt>
            <c:idx val="41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A-6564-4F45-8560-A14789827587}"/>
              </c:ext>
            </c:extLst>
          </c:dPt>
          <c:dPt>
            <c:idx val="41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B-6564-4F45-8560-A14789827587}"/>
              </c:ext>
            </c:extLst>
          </c:dPt>
          <c:dPt>
            <c:idx val="41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C-6564-4F45-8560-A14789827587}"/>
              </c:ext>
            </c:extLst>
          </c:dPt>
          <c:dPt>
            <c:idx val="41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D-6564-4F45-8560-A14789827587}"/>
              </c:ext>
            </c:extLst>
          </c:dPt>
          <c:dPt>
            <c:idx val="41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E-6564-4F45-8560-A14789827587}"/>
              </c:ext>
            </c:extLst>
          </c:dPt>
          <c:dPt>
            <c:idx val="41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1F-6564-4F45-8560-A14789827587}"/>
              </c:ext>
            </c:extLst>
          </c:dPt>
          <c:dPt>
            <c:idx val="42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0-6564-4F45-8560-A14789827587}"/>
              </c:ext>
            </c:extLst>
          </c:dPt>
          <c:dPt>
            <c:idx val="42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1-6564-4F45-8560-A14789827587}"/>
              </c:ext>
            </c:extLst>
          </c:dPt>
          <c:dPt>
            <c:idx val="42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2-6564-4F45-8560-A14789827587}"/>
              </c:ext>
            </c:extLst>
          </c:dPt>
          <c:dPt>
            <c:idx val="42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3-6564-4F45-8560-A14789827587}"/>
              </c:ext>
            </c:extLst>
          </c:dPt>
          <c:dPt>
            <c:idx val="42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4-6564-4F45-8560-A14789827587}"/>
              </c:ext>
            </c:extLst>
          </c:dPt>
          <c:dPt>
            <c:idx val="42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5-6564-4F45-8560-A14789827587}"/>
              </c:ext>
            </c:extLst>
          </c:dPt>
          <c:dPt>
            <c:idx val="42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6-6564-4F45-8560-A14789827587}"/>
              </c:ext>
            </c:extLst>
          </c:dPt>
          <c:dPt>
            <c:idx val="42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7-6564-4F45-8560-A14789827587}"/>
              </c:ext>
            </c:extLst>
          </c:dPt>
          <c:dPt>
            <c:idx val="42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8-6564-4F45-8560-A14789827587}"/>
              </c:ext>
            </c:extLst>
          </c:dPt>
          <c:dPt>
            <c:idx val="42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9-6564-4F45-8560-A14789827587}"/>
              </c:ext>
            </c:extLst>
          </c:dPt>
          <c:dPt>
            <c:idx val="43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A-6564-4F45-8560-A14789827587}"/>
              </c:ext>
            </c:extLst>
          </c:dPt>
          <c:dPt>
            <c:idx val="43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B-6564-4F45-8560-A14789827587}"/>
              </c:ext>
            </c:extLst>
          </c:dPt>
          <c:dPt>
            <c:idx val="43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C-6564-4F45-8560-A14789827587}"/>
              </c:ext>
            </c:extLst>
          </c:dPt>
          <c:dPt>
            <c:idx val="43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D-6564-4F45-8560-A14789827587}"/>
              </c:ext>
            </c:extLst>
          </c:dPt>
          <c:dPt>
            <c:idx val="43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E-6564-4F45-8560-A14789827587}"/>
              </c:ext>
            </c:extLst>
          </c:dPt>
          <c:dPt>
            <c:idx val="43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2F-6564-4F45-8560-A14789827587}"/>
              </c:ext>
            </c:extLst>
          </c:dPt>
          <c:dPt>
            <c:idx val="43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0-6564-4F45-8560-A14789827587}"/>
              </c:ext>
            </c:extLst>
          </c:dPt>
          <c:dPt>
            <c:idx val="43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1-6564-4F45-8560-A14789827587}"/>
              </c:ext>
            </c:extLst>
          </c:dPt>
          <c:dPt>
            <c:idx val="43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2-6564-4F45-8560-A14789827587}"/>
              </c:ext>
            </c:extLst>
          </c:dPt>
          <c:dPt>
            <c:idx val="43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3-6564-4F45-8560-A14789827587}"/>
              </c:ext>
            </c:extLst>
          </c:dPt>
          <c:dPt>
            <c:idx val="44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4-6564-4F45-8560-A14789827587}"/>
              </c:ext>
            </c:extLst>
          </c:dPt>
          <c:dPt>
            <c:idx val="44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5-6564-4F45-8560-A14789827587}"/>
              </c:ext>
            </c:extLst>
          </c:dPt>
          <c:dPt>
            <c:idx val="44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6-6564-4F45-8560-A14789827587}"/>
              </c:ext>
            </c:extLst>
          </c:dPt>
          <c:dPt>
            <c:idx val="44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7-6564-4F45-8560-A14789827587}"/>
              </c:ext>
            </c:extLst>
          </c:dPt>
          <c:dPt>
            <c:idx val="44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8-6564-4F45-8560-A14789827587}"/>
              </c:ext>
            </c:extLst>
          </c:dPt>
          <c:dPt>
            <c:idx val="44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9-6564-4F45-8560-A14789827587}"/>
              </c:ext>
            </c:extLst>
          </c:dPt>
          <c:dPt>
            <c:idx val="44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A-6564-4F45-8560-A14789827587}"/>
              </c:ext>
            </c:extLst>
          </c:dPt>
          <c:dPt>
            <c:idx val="44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B-6564-4F45-8560-A14789827587}"/>
              </c:ext>
            </c:extLst>
          </c:dPt>
          <c:dPt>
            <c:idx val="44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C-6564-4F45-8560-A14789827587}"/>
              </c:ext>
            </c:extLst>
          </c:dPt>
          <c:dPt>
            <c:idx val="44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D-6564-4F45-8560-A14789827587}"/>
              </c:ext>
            </c:extLst>
          </c:dPt>
          <c:dPt>
            <c:idx val="45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E-6564-4F45-8560-A14789827587}"/>
              </c:ext>
            </c:extLst>
          </c:dPt>
          <c:dPt>
            <c:idx val="45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3F-6564-4F45-8560-A14789827587}"/>
              </c:ext>
            </c:extLst>
          </c:dPt>
          <c:dPt>
            <c:idx val="45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0-6564-4F45-8560-A14789827587}"/>
              </c:ext>
            </c:extLst>
          </c:dPt>
          <c:dPt>
            <c:idx val="45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1-6564-4F45-8560-A14789827587}"/>
              </c:ext>
            </c:extLst>
          </c:dPt>
          <c:dPt>
            <c:idx val="45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2-6564-4F45-8560-A14789827587}"/>
              </c:ext>
            </c:extLst>
          </c:dPt>
          <c:dPt>
            <c:idx val="45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3-6564-4F45-8560-A14789827587}"/>
              </c:ext>
            </c:extLst>
          </c:dPt>
          <c:dPt>
            <c:idx val="45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4-6564-4F45-8560-A14789827587}"/>
              </c:ext>
            </c:extLst>
          </c:dPt>
          <c:dPt>
            <c:idx val="45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5-6564-4F45-8560-A14789827587}"/>
              </c:ext>
            </c:extLst>
          </c:dPt>
          <c:dPt>
            <c:idx val="45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6-6564-4F45-8560-A14789827587}"/>
              </c:ext>
            </c:extLst>
          </c:dPt>
          <c:dPt>
            <c:idx val="45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7-6564-4F45-8560-A14789827587}"/>
              </c:ext>
            </c:extLst>
          </c:dPt>
          <c:dPt>
            <c:idx val="46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8-6564-4F45-8560-A14789827587}"/>
              </c:ext>
            </c:extLst>
          </c:dPt>
          <c:dPt>
            <c:idx val="46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9-6564-4F45-8560-A14789827587}"/>
              </c:ext>
            </c:extLst>
          </c:dPt>
          <c:dPt>
            <c:idx val="46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A-6564-4F45-8560-A14789827587}"/>
              </c:ext>
            </c:extLst>
          </c:dPt>
          <c:dPt>
            <c:idx val="46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B-6564-4F45-8560-A14789827587}"/>
              </c:ext>
            </c:extLst>
          </c:dPt>
          <c:dPt>
            <c:idx val="46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C-6564-4F45-8560-A14789827587}"/>
              </c:ext>
            </c:extLst>
          </c:dPt>
          <c:dPt>
            <c:idx val="46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D-6564-4F45-8560-A14789827587}"/>
              </c:ext>
            </c:extLst>
          </c:dPt>
          <c:dPt>
            <c:idx val="46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E-6564-4F45-8560-A14789827587}"/>
              </c:ext>
            </c:extLst>
          </c:dPt>
          <c:dPt>
            <c:idx val="46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4F-6564-4F45-8560-A14789827587}"/>
              </c:ext>
            </c:extLst>
          </c:dPt>
          <c:dPt>
            <c:idx val="46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0-6564-4F45-8560-A14789827587}"/>
              </c:ext>
            </c:extLst>
          </c:dPt>
          <c:dPt>
            <c:idx val="46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1-6564-4F45-8560-A14789827587}"/>
              </c:ext>
            </c:extLst>
          </c:dPt>
          <c:dPt>
            <c:idx val="47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2-6564-4F45-8560-A14789827587}"/>
              </c:ext>
            </c:extLst>
          </c:dPt>
          <c:dPt>
            <c:idx val="47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3-6564-4F45-8560-A14789827587}"/>
              </c:ext>
            </c:extLst>
          </c:dPt>
          <c:dPt>
            <c:idx val="47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4-6564-4F45-8560-A14789827587}"/>
              </c:ext>
            </c:extLst>
          </c:dPt>
          <c:dPt>
            <c:idx val="47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5-6564-4F45-8560-A14789827587}"/>
              </c:ext>
            </c:extLst>
          </c:dPt>
          <c:dPt>
            <c:idx val="47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6-6564-4F45-8560-A14789827587}"/>
              </c:ext>
            </c:extLst>
          </c:dPt>
          <c:dPt>
            <c:idx val="47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7-6564-4F45-8560-A14789827587}"/>
              </c:ext>
            </c:extLst>
          </c:dPt>
          <c:dPt>
            <c:idx val="47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8-6564-4F45-8560-A14789827587}"/>
              </c:ext>
            </c:extLst>
          </c:dPt>
          <c:dPt>
            <c:idx val="47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9-6564-4F45-8560-A14789827587}"/>
              </c:ext>
            </c:extLst>
          </c:dPt>
          <c:dPt>
            <c:idx val="47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A-6564-4F45-8560-A14789827587}"/>
              </c:ext>
            </c:extLst>
          </c:dPt>
          <c:dPt>
            <c:idx val="47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B-6564-4F45-8560-A14789827587}"/>
              </c:ext>
            </c:extLst>
          </c:dPt>
          <c:dPt>
            <c:idx val="48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C-6564-4F45-8560-A14789827587}"/>
              </c:ext>
            </c:extLst>
          </c:dPt>
          <c:dPt>
            <c:idx val="48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D-6564-4F45-8560-A14789827587}"/>
              </c:ext>
            </c:extLst>
          </c:dPt>
          <c:dPt>
            <c:idx val="48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E-6564-4F45-8560-A14789827587}"/>
              </c:ext>
            </c:extLst>
          </c:dPt>
          <c:dPt>
            <c:idx val="48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5F-6564-4F45-8560-A14789827587}"/>
              </c:ext>
            </c:extLst>
          </c:dPt>
          <c:dPt>
            <c:idx val="48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0-6564-4F45-8560-A14789827587}"/>
              </c:ext>
            </c:extLst>
          </c:dPt>
          <c:dPt>
            <c:idx val="48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1-6564-4F45-8560-A14789827587}"/>
              </c:ext>
            </c:extLst>
          </c:dPt>
          <c:dPt>
            <c:idx val="48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2-6564-4F45-8560-A14789827587}"/>
              </c:ext>
            </c:extLst>
          </c:dPt>
          <c:dPt>
            <c:idx val="48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3-6564-4F45-8560-A14789827587}"/>
              </c:ext>
            </c:extLst>
          </c:dPt>
          <c:dPt>
            <c:idx val="48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4-6564-4F45-8560-A14789827587}"/>
              </c:ext>
            </c:extLst>
          </c:dPt>
          <c:dPt>
            <c:idx val="48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5-6564-4F45-8560-A14789827587}"/>
              </c:ext>
            </c:extLst>
          </c:dPt>
          <c:dPt>
            <c:idx val="49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6-6564-4F45-8560-A14789827587}"/>
              </c:ext>
            </c:extLst>
          </c:dPt>
          <c:dPt>
            <c:idx val="49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7-6564-4F45-8560-A14789827587}"/>
              </c:ext>
            </c:extLst>
          </c:dPt>
          <c:dPt>
            <c:idx val="49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8-6564-4F45-8560-A14789827587}"/>
              </c:ext>
            </c:extLst>
          </c:dPt>
          <c:dPt>
            <c:idx val="49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9-6564-4F45-8560-A14789827587}"/>
              </c:ext>
            </c:extLst>
          </c:dPt>
          <c:dPt>
            <c:idx val="49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A-6564-4F45-8560-A14789827587}"/>
              </c:ext>
            </c:extLst>
          </c:dPt>
          <c:dPt>
            <c:idx val="49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B-6564-4F45-8560-A14789827587}"/>
              </c:ext>
            </c:extLst>
          </c:dPt>
          <c:dPt>
            <c:idx val="49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C-6564-4F45-8560-A14789827587}"/>
              </c:ext>
            </c:extLst>
          </c:dPt>
          <c:dPt>
            <c:idx val="49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D-6564-4F45-8560-A14789827587}"/>
              </c:ext>
            </c:extLst>
          </c:dPt>
          <c:dPt>
            <c:idx val="49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E-6564-4F45-8560-A14789827587}"/>
              </c:ext>
            </c:extLst>
          </c:dPt>
          <c:dPt>
            <c:idx val="49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6F-6564-4F45-8560-A14789827587}"/>
              </c:ext>
            </c:extLst>
          </c:dPt>
          <c:dPt>
            <c:idx val="50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0-6564-4F45-8560-A14789827587}"/>
              </c:ext>
            </c:extLst>
          </c:dPt>
          <c:dPt>
            <c:idx val="50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1-6564-4F45-8560-A14789827587}"/>
              </c:ext>
            </c:extLst>
          </c:dPt>
          <c:dPt>
            <c:idx val="50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2-6564-4F45-8560-A14789827587}"/>
              </c:ext>
            </c:extLst>
          </c:dPt>
          <c:dPt>
            <c:idx val="50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3-6564-4F45-8560-A14789827587}"/>
              </c:ext>
            </c:extLst>
          </c:dPt>
          <c:dPt>
            <c:idx val="50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4-6564-4F45-8560-A14789827587}"/>
              </c:ext>
            </c:extLst>
          </c:dPt>
          <c:dPt>
            <c:idx val="50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5-6564-4F45-8560-A14789827587}"/>
              </c:ext>
            </c:extLst>
          </c:dPt>
          <c:dPt>
            <c:idx val="50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6-6564-4F45-8560-A14789827587}"/>
              </c:ext>
            </c:extLst>
          </c:dPt>
          <c:dPt>
            <c:idx val="50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7-6564-4F45-8560-A14789827587}"/>
              </c:ext>
            </c:extLst>
          </c:dPt>
          <c:dPt>
            <c:idx val="50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8-6564-4F45-8560-A14789827587}"/>
              </c:ext>
            </c:extLst>
          </c:dPt>
          <c:dPt>
            <c:idx val="50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9-6564-4F45-8560-A14789827587}"/>
              </c:ext>
            </c:extLst>
          </c:dPt>
          <c:dPt>
            <c:idx val="51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A-6564-4F45-8560-A14789827587}"/>
              </c:ext>
            </c:extLst>
          </c:dPt>
          <c:dPt>
            <c:idx val="51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B-6564-4F45-8560-A14789827587}"/>
              </c:ext>
            </c:extLst>
          </c:dPt>
          <c:dPt>
            <c:idx val="51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C-6564-4F45-8560-A14789827587}"/>
              </c:ext>
            </c:extLst>
          </c:dPt>
          <c:dPt>
            <c:idx val="51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D-6564-4F45-8560-A14789827587}"/>
              </c:ext>
            </c:extLst>
          </c:dPt>
          <c:dPt>
            <c:idx val="51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E-6564-4F45-8560-A14789827587}"/>
              </c:ext>
            </c:extLst>
          </c:dPt>
          <c:dPt>
            <c:idx val="51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7F-6564-4F45-8560-A14789827587}"/>
              </c:ext>
            </c:extLst>
          </c:dPt>
          <c:dPt>
            <c:idx val="51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0-6564-4F45-8560-A14789827587}"/>
              </c:ext>
            </c:extLst>
          </c:dPt>
          <c:dPt>
            <c:idx val="51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1-6564-4F45-8560-A14789827587}"/>
              </c:ext>
            </c:extLst>
          </c:dPt>
          <c:dPt>
            <c:idx val="51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2-6564-4F45-8560-A14789827587}"/>
              </c:ext>
            </c:extLst>
          </c:dPt>
          <c:dPt>
            <c:idx val="51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3-6564-4F45-8560-A14789827587}"/>
              </c:ext>
            </c:extLst>
          </c:dPt>
          <c:dPt>
            <c:idx val="52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4-6564-4F45-8560-A14789827587}"/>
              </c:ext>
            </c:extLst>
          </c:dPt>
          <c:dPt>
            <c:idx val="52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5-6564-4F45-8560-A14789827587}"/>
              </c:ext>
            </c:extLst>
          </c:dPt>
          <c:dPt>
            <c:idx val="52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6-6564-4F45-8560-A14789827587}"/>
              </c:ext>
            </c:extLst>
          </c:dPt>
          <c:dPt>
            <c:idx val="52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7-6564-4F45-8560-A14789827587}"/>
              </c:ext>
            </c:extLst>
          </c:dPt>
          <c:dPt>
            <c:idx val="52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8-6564-4F45-8560-A14789827587}"/>
              </c:ext>
            </c:extLst>
          </c:dPt>
          <c:dPt>
            <c:idx val="52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9-6564-4F45-8560-A14789827587}"/>
              </c:ext>
            </c:extLst>
          </c:dPt>
          <c:dPt>
            <c:idx val="52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A-6564-4F45-8560-A14789827587}"/>
              </c:ext>
            </c:extLst>
          </c:dPt>
          <c:dPt>
            <c:idx val="52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B-6564-4F45-8560-A14789827587}"/>
              </c:ext>
            </c:extLst>
          </c:dPt>
          <c:dPt>
            <c:idx val="52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C-6564-4F45-8560-A14789827587}"/>
              </c:ext>
            </c:extLst>
          </c:dPt>
          <c:dPt>
            <c:idx val="52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D-6564-4F45-8560-A14789827587}"/>
              </c:ext>
            </c:extLst>
          </c:dPt>
          <c:dPt>
            <c:idx val="53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E-6564-4F45-8560-A14789827587}"/>
              </c:ext>
            </c:extLst>
          </c:dPt>
          <c:dPt>
            <c:idx val="53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8F-6564-4F45-8560-A14789827587}"/>
              </c:ext>
            </c:extLst>
          </c:dPt>
          <c:dPt>
            <c:idx val="53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0-6564-4F45-8560-A14789827587}"/>
              </c:ext>
            </c:extLst>
          </c:dPt>
          <c:dPt>
            <c:idx val="53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1-6564-4F45-8560-A14789827587}"/>
              </c:ext>
            </c:extLst>
          </c:dPt>
          <c:dPt>
            <c:idx val="53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2-6564-4F45-8560-A14789827587}"/>
              </c:ext>
            </c:extLst>
          </c:dPt>
          <c:dPt>
            <c:idx val="53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3-6564-4F45-8560-A14789827587}"/>
              </c:ext>
            </c:extLst>
          </c:dPt>
          <c:dPt>
            <c:idx val="53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4-6564-4F45-8560-A14789827587}"/>
              </c:ext>
            </c:extLst>
          </c:dPt>
          <c:dPt>
            <c:idx val="53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5-6564-4F45-8560-A14789827587}"/>
              </c:ext>
            </c:extLst>
          </c:dPt>
          <c:dPt>
            <c:idx val="53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6-6564-4F45-8560-A14789827587}"/>
              </c:ext>
            </c:extLst>
          </c:dPt>
          <c:dPt>
            <c:idx val="53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7-6564-4F45-8560-A14789827587}"/>
              </c:ext>
            </c:extLst>
          </c:dPt>
          <c:dPt>
            <c:idx val="54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8-6564-4F45-8560-A14789827587}"/>
              </c:ext>
            </c:extLst>
          </c:dPt>
          <c:dPt>
            <c:idx val="54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9-6564-4F45-8560-A14789827587}"/>
              </c:ext>
            </c:extLst>
          </c:dPt>
          <c:dPt>
            <c:idx val="54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A-6564-4F45-8560-A14789827587}"/>
              </c:ext>
            </c:extLst>
          </c:dPt>
          <c:dPt>
            <c:idx val="54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B-6564-4F45-8560-A14789827587}"/>
              </c:ext>
            </c:extLst>
          </c:dPt>
          <c:dPt>
            <c:idx val="54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C-6564-4F45-8560-A14789827587}"/>
              </c:ext>
            </c:extLst>
          </c:dPt>
          <c:dPt>
            <c:idx val="54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D-6564-4F45-8560-A14789827587}"/>
              </c:ext>
            </c:extLst>
          </c:dPt>
          <c:dPt>
            <c:idx val="54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E-6564-4F45-8560-A14789827587}"/>
              </c:ext>
            </c:extLst>
          </c:dPt>
          <c:dPt>
            <c:idx val="54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9F-6564-4F45-8560-A14789827587}"/>
              </c:ext>
            </c:extLst>
          </c:dPt>
          <c:dPt>
            <c:idx val="54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0-6564-4F45-8560-A14789827587}"/>
              </c:ext>
            </c:extLst>
          </c:dPt>
          <c:dPt>
            <c:idx val="54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1-6564-4F45-8560-A14789827587}"/>
              </c:ext>
            </c:extLst>
          </c:dPt>
          <c:dPt>
            <c:idx val="55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2-6564-4F45-8560-A14789827587}"/>
              </c:ext>
            </c:extLst>
          </c:dPt>
          <c:dPt>
            <c:idx val="55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3-6564-4F45-8560-A14789827587}"/>
              </c:ext>
            </c:extLst>
          </c:dPt>
          <c:dPt>
            <c:idx val="55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4-6564-4F45-8560-A14789827587}"/>
              </c:ext>
            </c:extLst>
          </c:dPt>
          <c:dPt>
            <c:idx val="55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5-6564-4F45-8560-A14789827587}"/>
              </c:ext>
            </c:extLst>
          </c:dPt>
          <c:dPt>
            <c:idx val="55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6-6564-4F45-8560-A14789827587}"/>
              </c:ext>
            </c:extLst>
          </c:dPt>
          <c:dPt>
            <c:idx val="55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7-6564-4F45-8560-A14789827587}"/>
              </c:ext>
            </c:extLst>
          </c:dPt>
          <c:dPt>
            <c:idx val="55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8-6564-4F45-8560-A14789827587}"/>
              </c:ext>
            </c:extLst>
          </c:dPt>
          <c:dPt>
            <c:idx val="55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9-6564-4F45-8560-A14789827587}"/>
              </c:ext>
            </c:extLst>
          </c:dPt>
          <c:dPt>
            <c:idx val="55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A-6564-4F45-8560-A14789827587}"/>
              </c:ext>
            </c:extLst>
          </c:dPt>
          <c:dPt>
            <c:idx val="55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B-6564-4F45-8560-A14789827587}"/>
              </c:ext>
            </c:extLst>
          </c:dPt>
          <c:dPt>
            <c:idx val="56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C-6564-4F45-8560-A14789827587}"/>
              </c:ext>
            </c:extLst>
          </c:dPt>
          <c:dPt>
            <c:idx val="56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D-6564-4F45-8560-A14789827587}"/>
              </c:ext>
            </c:extLst>
          </c:dPt>
          <c:dPt>
            <c:idx val="56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E-6564-4F45-8560-A14789827587}"/>
              </c:ext>
            </c:extLst>
          </c:dPt>
          <c:dPt>
            <c:idx val="56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AF-6564-4F45-8560-A14789827587}"/>
              </c:ext>
            </c:extLst>
          </c:dPt>
          <c:dPt>
            <c:idx val="56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0-6564-4F45-8560-A14789827587}"/>
              </c:ext>
            </c:extLst>
          </c:dPt>
          <c:dPt>
            <c:idx val="56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1-6564-4F45-8560-A14789827587}"/>
              </c:ext>
            </c:extLst>
          </c:dPt>
          <c:dPt>
            <c:idx val="56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2-6564-4F45-8560-A14789827587}"/>
              </c:ext>
            </c:extLst>
          </c:dPt>
          <c:dPt>
            <c:idx val="56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3-6564-4F45-8560-A14789827587}"/>
              </c:ext>
            </c:extLst>
          </c:dPt>
          <c:dPt>
            <c:idx val="56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4-6564-4F45-8560-A14789827587}"/>
              </c:ext>
            </c:extLst>
          </c:dPt>
          <c:dPt>
            <c:idx val="56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5-6564-4F45-8560-A14789827587}"/>
              </c:ext>
            </c:extLst>
          </c:dPt>
          <c:dPt>
            <c:idx val="57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6-6564-4F45-8560-A14789827587}"/>
              </c:ext>
            </c:extLst>
          </c:dPt>
          <c:dPt>
            <c:idx val="57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7-6564-4F45-8560-A14789827587}"/>
              </c:ext>
            </c:extLst>
          </c:dPt>
          <c:dPt>
            <c:idx val="57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8-6564-4F45-8560-A14789827587}"/>
              </c:ext>
            </c:extLst>
          </c:dPt>
          <c:dPt>
            <c:idx val="57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9-6564-4F45-8560-A14789827587}"/>
              </c:ext>
            </c:extLst>
          </c:dPt>
          <c:dPt>
            <c:idx val="57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A-6564-4F45-8560-A14789827587}"/>
              </c:ext>
            </c:extLst>
          </c:dPt>
          <c:dPt>
            <c:idx val="57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B-6564-4F45-8560-A14789827587}"/>
              </c:ext>
            </c:extLst>
          </c:dPt>
          <c:dPt>
            <c:idx val="57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C-6564-4F45-8560-A14789827587}"/>
              </c:ext>
            </c:extLst>
          </c:dPt>
          <c:dPt>
            <c:idx val="57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D-6564-4F45-8560-A14789827587}"/>
              </c:ext>
            </c:extLst>
          </c:dPt>
          <c:dPt>
            <c:idx val="57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E-6564-4F45-8560-A14789827587}"/>
              </c:ext>
            </c:extLst>
          </c:dPt>
          <c:dPt>
            <c:idx val="57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BF-6564-4F45-8560-A14789827587}"/>
              </c:ext>
            </c:extLst>
          </c:dPt>
          <c:dPt>
            <c:idx val="58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0-6564-4F45-8560-A14789827587}"/>
              </c:ext>
            </c:extLst>
          </c:dPt>
          <c:dPt>
            <c:idx val="58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1-6564-4F45-8560-A14789827587}"/>
              </c:ext>
            </c:extLst>
          </c:dPt>
          <c:dPt>
            <c:idx val="58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2-6564-4F45-8560-A14789827587}"/>
              </c:ext>
            </c:extLst>
          </c:dPt>
          <c:dPt>
            <c:idx val="58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3-6564-4F45-8560-A14789827587}"/>
              </c:ext>
            </c:extLst>
          </c:dPt>
          <c:dPt>
            <c:idx val="58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4-6564-4F45-8560-A14789827587}"/>
              </c:ext>
            </c:extLst>
          </c:dPt>
          <c:dPt>
            <c:idx val="58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5-6564-4F45-8560-A14789827587}"/>
              </c:ext>
            </c:extLst>
          </c:dPt>
          <c:dPt>
            <c:idx val="58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6-6564-4F45-8560-A14789827587}"/>
              </c:ext>
            </c:extLst>
          </c:dPt>
          <c:dPt>
            <c:idx val="58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7-6564-4F45-8560-A14789827587}"/>
              </c:ext>
            </c:extLst>
          </c:dPt>
          <c:dPt>
            <c:idx val="58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8-6564-4F45-8560-A14789827587}"/>
              </c:ext>
            </c:extLst>
          </c:dPt>
          <c:dPt>
            <c:idx val="58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9-6564-4F45-8560-A14789827587}"/>
              </c:ext>
            </c:extLst>
          </c:dPt>
          <c:dPt>
            <c:idx val="59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A-6564-4F45-8560-A14789827587}"/>
              </c:ext>
            </c:extLst>
          </c:dPt>
          <c:dPt>
            <c:idx val="59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B-6564-4F45-8560-A14789827587}"/>
              </c:ext>
            </c:extLst>
          </c:dPt>
          <c:dPt>
            <c:idx val="59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C-6564-4F45-8560-A14789827587}"/>
              </c:ext>
            </c:extLst>
          </c:dPt>
          <c:dPt>
            <c:idx val="59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D-6564-4F45-8560-A14789827587}"/>
              </c:ext>
            </c:extLst>
          </c:dPt>
          <c:dPt>
            <c:idx val="59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E-6564-4F45-8560-A14789827587}"/>
              </c:ext>
            </c:extLst>
          </c:dPt>
          <c:dPt>
            <c:idx val="59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CF-6564-4F45-8560-A14789827587}"/>
              </c:ext>
            </c:extLst>
          </c:dPt>
          <c:dPt>
            <c:idx val="59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0-6564-4F45-8560-A14789827587}"/>
              </c:ext>
            </c:extLst>
          </c:dPt>
          <c:dPt>
            <c:idx val="59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1-6564-4F45-8560-A14789827587}"/>
              </c:ext>
            </c:extLst>
          </c:dPt>
          <c:dPt>
            <c:idx val="59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2-6564-4F45-8560-A14789827587}"/>
              </c:ext>
            </c:extLst>
          </c:dPt>
          <c:dPt>
            <c:idx val="59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3-6564-4F45-8560-A14789827587}"/>
              </c:ext>
            </c:extLst>
          </c:dPt>
          <c:dPt>
            <c:idx val="60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4-6564-4F45-8560-A14789827587}"/>
              </c:ext>
            </c:extLst>
          </c:dPt>
          <c:dPt>
            <c:idx val="60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5-6564-4F45-8560-A14789827587}"/>
              </c:ext>
            </c:extLst>
          </c:dPt>
          <c:dPt>
            <c:idx val="60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6-6564-4F45-8560-A14789827587}"/>
              </c:ext>
            </c:extLst>
          </c:dPt>
          <c:dPt>
            <c:idx val="60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7-6564-4F45-8560-A14789827587}"/>
              </c:ext>
            </c:extLst>
          </c:dPt>
          <c:dPt>
            <c:idx val="60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8-6564-4F45-8560-A14789827587}"/>
              </c:ext>
            </c:extLst>
          </c:dPt>
          <c:dPt>
            <c:idx val="60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9-6564-4F45-8560-A14789827587}"/>
              </c:ext>
            </c:extLst>
          </c:dPt>
          <c:dPt>
            <c:idx val="60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A-6564-4F45-8560-A14789827587}"/>
              </c:ext>
            </c:extLst>
          </c:dPt>
          <c:dPt>
            <c:idx val="60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B-6564-4F45-8560-A14789827587}"/>
              </c:ext>
            </c:extLst>
          </c:dPt>
          <c:dPt>
            <c:idx val="60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C-6564-4F45-8560-A14789827587}"/>
              </c:ext>
            </c:extLst>
          </c:dPt>
          <c:dPt>
            <c:idx val="60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D-6564-4F45-8560-A14789827587}"/>
              </c:ext>
            </c:extLst>
          </c:dPt>
          <c:dPt>
            <c:idx val="61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E-6564-4F45-8560-A14789827587}"/>
              </c:ext>
            </c:extLst>
          </c:dPt>
          <c:dPt>
            <c:idx val="61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DF-6564-4F45-8560-A14789827587}"/>
              </c:ext>
            </c:extLst>
          </c:dPt>
          <c:dPt>
            <c:idx val="61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0-6564-4F45-8560-A14789827587}"/>
              </c:ext>
            </c:extLst>
          </c:dPt>
          <c:dPt>
            <c:idx val="61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1-6564-4F45-8560-A14789827587}"/>
              </c:ext>
            </c:extLst>
          </c:dPt>
          <c:dPt>
            <c:idx val="61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2-6564-4F45-8560-A14789827587}"/>
              </c:ext>
            </c:extLst>
          </c:dPt>
          <c:dPt>
            <c:idx val="61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3-6564-4F45-8560-A14789827587}"/>
              </c:ext>
            </c:extLst>
          </c:dPt>
          <c:dPt>
            <c:idx val="61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4-6564-4F45-8560-A14789827587}"/>
              </c:ext>
            </c:extLst>
          </c:dPt>
          <c:dPt>
            <c:idx val="61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5-6564-4F45-8560-A14789827587}"/>
              </c:ext>
            </c:extLst>
          </c:dPt>
          <c:dPt>
            <c:idx val="61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6-6564-4F45-8560-A14789827587}"/>
              </c:ext>
            </c:extLst>
          </c:dPt>
          <c:dPt>
            <c:idx val="61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7-6564-4F45-8560-A14789827587}"/>
              </c:ext>
            </c:extLst>
          </c:dPt>
          <c:dPt>
            <c:idx val="62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8-6564-4F45-8560-A14789827587}"/>
              </c:ext>
            </c:extLst>
          </c:dPt>
          <c:dPt>
            <c:idx val="62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9-6564-4F45-8560-A14789827587}"/>
              </c:ext>
            </c:extLst>
          </c:dPt>
          <c:dPt>
            <c:idx val="62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A-6564-4F45-8560-A14789827587}"/>
              </c:ext>
            </c:extLst>
          </c:dPt>
          <c:dPt>
            <c:idx val="62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B-6564-4F45-8560-A14789827587}"/>
              </c:ext>
            </c:extLst>
          </c:dPt>
          <c:dPt>
            <c:idx val="62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C-6564-4F45-8560-A14789827587}"/>
              </c:ext>
            </c:extLst>
          </c:dPt>
          <c:dPt>
            <c:idx val="62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D-6564-4F45-8560-A14789827587}"/>
              </c:ext>
            </c:extLst>
          </c:dPt>
          <c:dPt>
            <c:idx val="62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E-6564-4F45-8560-A14789827587}"/>
              </c:ext>
            </c:extLst>
          </c:dPt>
          <c:dPt>
            <c:idx val="62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EF-6564-4F45-8560-A14789827587}"/>
              </c:ext>
            </c:extLst>
          </c:dPt>
          <c:dPt>
            <c:idx val="62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0-6564-4F45-8560-A14789827587}"/>
              </c:ext>
            </c:extLst>
          </c:dPt>
          <c:dPt>
            <c:idx val="62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1-6564-4F45-8560-A14789827587}"/>
              </c:ext>
            </c:extLst>
          </c:dPt>
          <c:dPt>
            <c:idx val="63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2-6564-4F45-8560-A14789827587}"/>
              </c:ext>
            </c:extLst>
          </c:dPt>
          <c:dPt>
            <c:idx val="63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3-6564-4F45-8560-A14789827587}"/>
              </c:ext>
            </c:extLst>
          </c:dPt>
          <c:dPt>
            <c:idx val="63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4-6564-4F45-8560-A14789827587}"/>
              </c:ext>
            </c:extLst>
          </c:dPt>
          <c:dPt>
            <c:idx val="63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5-6564-4F45-8560-A14789827587}"/>
              </c:ext>
            </c:extLst>
          </c:dPt>
          <c:dPt>
            <c:idx val="63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6-6564-4F45-8560-A14789827587}"/>
              </c:ext>
            </c:extLst>
          </c:dPt>
          <c:dPt>
            <c:idx val="63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7-6564-4F45-8560-A14789827587}"/>
              </c:ext>
            </c:extLst>
          </c:dPt>
          <c:dPt>
            <c:idx val="63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8-6564-4F45-8560-A14789827587}"/>
              </c:ext>
            </c:extLst>
          </c:dPt>
          <c:dPt>
            <c:idx val="63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9-6564-4F45-8560-A14789827587}"/>
              </c:ext>
            </c:extLst>
          </c:dPt>
          <c:dPt>
            <c:idx val="63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A-6564-4F45-8560-A14789827587}"/>
              </c:ext>
            </c:extLst>
          </c:dPt>
          <c:dPt>
            <c:idx val="63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B-6564-4F45-8560-A14789827587}"/>
              </c:ext>
            </c:extLst>
          </c:dPt>
          <c:dPt>
            <c:idx val="64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C-6564-4F45-8560-A14789827587}"/>
              </c:ext>
            </c:extLst>
          </c:dPt>
          <c:dPt>
            <c:idx val="64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D-6564-4F45-8560-A14789827587}"/>
              </c:ext>
            </c:extLst>
          </c:dPt>
          <c:dPt>
            <c:idx val="64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E-6564-4F45-8560-A14789827587}"/>
              </c:ext>
            </c:extLst>
          </c:dPt>
          <c:dPt>
            <c:idx val="64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5FF-6564-4F45-8560-A14789827587}"/>
              </c:ext>
            </c:extLst>
          </c:dPt>
          <c:dPt>
            <c:idx val="64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0-6564-4F45-8560-A14789827587}"/>
              </c:ext>
            </c:extLst>
          </c:dPt>
          <c:dPt>
            <c:idx val="64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1-6564-4F45-8560-A14789827587}"/>
              </c:ext>
            </c:extLst>
          </c:dPt>
          <c:dPt>
            <c:idx val="64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2-6564-4F45-8560-A14789827587}"/>
              </c:ext>
            </c:extLst>
          </c:dPt>
          <c:dPt>
            <c:idx val="64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3-6564-4F45-8560-A14789827587}"/>
              </c:ext>
            </c:extLst>
          </c:dPt>
          <c:dPt>
            <c:idx val="64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4-6564-4F45-8560-A14789827587}"/>
              </c:ext>
            </c:extLst>
          </c:dPt>
          <c:dPt>
            <c:idx val="64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5-6564-4F45-8560-A14789827587}"/>
              </c:ext>
            </c:extLst>
          </c:dPt>
          <c:dPt>
            <c:idx val="65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6-6564-4F45-8560-A14789827587}"/>
              </c:ext>
            </c:extLst>
          </c:dPt>
          <c:dPt>
            <c:idx val="65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7-6564-4F45-8560-A14789827587}"/>
              </c:ext>
            </c:extLst>
          </c:dPt>
          <c:dPt>
            <c:idx val="65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8-6564-4F45-8560-A14789827587}"/>
              </c:ext>
            </c:extLst>
          </c:dPt>
          <c:dPt>
            <c:idx val="65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9-6564-4F45-8560-A14789827587}"/>
              </c:ext>
            </c:extLst>
          </c:dPt>
          <c:dPt>
            <c:idx val="65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A-6564-4F45-8560-A14789827587}"/>
              </c:ext>
            </c:extLst>
          </c:dPt>
          <c:dPt>
            <c:idx val="65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B-6564-4F45-8560-A14789827587}"/>
              </c:ext>
            </c:extLst>
          </c:dPt>
          <c:dPt>
            <c:idx val="65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C-6564-4F45-8560-A14789827587}"/>
              </c:ext>
            </c:extLst>
          </c:dPt>
          <c:dPt>
            <c:idx val="65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D-6564-4F45-8560-A14789827587}"/>
              </c:ext>
            </c:extLst>
          </c:dPt>
          <c:dPt>
            <c:idx val="65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E-6564-4F45-8560-A14789827587}"/>
              </c:ext>
            </c:extLst>
          </c:dPt>
          <c:dPt>
            <c:idx val="65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0F-6564-4F45-8560-A14789827587}"/>
              </c:ext>
            </c:extLst>
          </c:dPt>
          <c:dPt>
            <c:idx val="66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0-6564-4F45-8560-A14789827587}"/>
              </c:ext>
            </c:extLst>
          </c:dPt>
          <c:dPt>
            <c:idx val="66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1-6564-4F45-8560-A14789827587}"/>
              </c:ext>
            </c:extLst>
          </c:dPt>
          <c:dPt>
            <c:idx val="66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2-6564-4F45-8560-A14789827587}"/>
              </c:ext>
            </c:extLst>
          </c:dPt>
          <c:dPt>
            <c:idx val="66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3-6564-4F45-8560-A14789827587}"/>
              </c:ext>
            </c:extLst>
          </c:dPt>
          <c:dPt>
            <c:idx val="66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4-6564-4F45-8560-A14789827587}"/>
              </c:ext>
            </c:extLst>
          </c:dPt>
          <c:dPt>
            <c:idx val="66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5-6564-4F45-8560-A14789827587}"/>
              </c:ext>
            </c:extLst>
          </c:dPt>
          <c:dPt>
            <c:idx val="66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6-6564-4F45-8560-A14789827587}"/>
              </c:ext>
            </c:extLst>
          </c:dPt>
          <c:dPt>
            <c:idx val="66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7-6564-4F45-8560-A14789827587}"/>
              </c:ext>
            </c:extLst>
          </c:dPt>
          <c:dPt>
            <c:idx val="66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8-6564-4F45-8560-A14789827587}"/>
              </c:ext>
            </c:extLst>
          </c:dPt>
          <c:dPt>
            <c:idx val="66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9-6564-4F45-8560-A14789827587}"/>
              </c:ext>
            </c:extLst>
          </c:dPt>
          <c:dPt>
            <c:idx val="67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A-6564-4F45-8560-A14789827587}"/>
              </c:ext>
            </c:extLst>
          </c:dPt>
          <c:dPt>
            <c:idx val="67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B-6564-4F45-8560-A14789827587}"/>
              </c:ext>
            </c:extLst>
          </c:dPt>
          <c:dPt>
            <c:idx val="67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C-6564-4F45-8560-A14789827587}"/>
              </c:ext>
            </c:extLst>
          </c:dPt>
          <c:dPt>
            <c:idx val="67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D-6564-4F45-8560-A14789827587}"/>
              </c:ext>
            </c:extLst>
          </c:dPt>
          <c:dPt>
            <c:idx val="67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E-6564-4F45-8560-A14789827587}"/>
              </c:ext>
            </c:extLst>
          </c:dPt>
          <c:dPt>
            <c:idx val="67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1F-6564-4F45-8560-A14789827587}"/>
              </c:ext>
            </c:extLst>
          </c:dPt>
          <c:dPt>
            <c:idx val="67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0-6564-4F45-8560-A14789827587}"/>
              </c:ext>
            </c:extLst>
          </c:dPt>
          <c:dPt>
            <c:idx val="67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1-6564-4F45-8560-A14789827587}"/>
              </c:ext>
            </c:extLst>
          </c:dPt>
          <c:dPt>
            <c:idx val="67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2-6564-4F45-8560-A14789827587}"/>
              </c:ext>
            </c:extLst>
          </c:dPt>
          <c:dPt>
            <c:idx val="67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3-6564-4F45-8560-A14789827587}"/>
              </c:ext>
            </c:extLst>
          </c:dPt>
          <c:dPt>
            <c:idx val="68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4-6564-4F45-8560-A14789827587}"/>
              </c:ext>
            </c:extLst>
          </c:dPt>
          <c:dPt>
            <c:idx val="68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5-6564-4F45-8560-A14789827587}"/>
              </c:ext>
            </c:extLst>
          </c:dPt>
          <c:dPt>
            <c:idx val="68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6-6564-4F45-8560-A14789827587}"/>
              </c:ext>
            </c:extLst>
          </c:dPt>
          <c:dPt>
            <c:idx val="68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7-6564-4F45-8560-A14789827587}"/>
              </c:ext>
            </c:extLst>
          </c:dPt>
          <c:dPt>
            <c:idx val="68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8-6564-4F45-8560-A14789827587}"/>
              </c:ext>
            </c:extLst>
          </c:dPt>
          <c:dPt>
            <c:idx val="68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9-6564-4F45-8560-A14789827587}"/>
              </c:ext>
            </c:extLst>
          </c:dPt>
          <c:dPt>
            <c:idx val="68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A-6564-4F45-8560-A14789827587}"/>
              </c:ext>
            </c:extLst>
          </c:dPt>
          <c:dPt>
            <c:idx val="68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B-6564-4F45-8560-A14789827587}"/>
              </c:ext>
            </c:extLst>
          </c:dPt>
          <c:dPt>
            <c:idx val="68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C-6564-4F45-8560-A14789827587}"/>
              </c:ext>
            </c:extLst>
          </c:dPt>
          <c:dPt>
            <c:idx val="68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D-6564-4F45-8560-A14789827587}"/>
              </c:ext>
            </c:extLst>
          </c:dPt>
          <c:dPt>
            <c:idx val="69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E-6564-4F45-8560-A14789827587}"/>
              </c:ext>
            </c:extLst>
          </c:dPt>
          <c:dPt>
            <c:idx val="69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2F-6564-4F45-8560-A14789827587}"/>
              </c:ext>
            </c:extLst>
          </c:dPt>
          <c:dPt>
            <c:idx val="69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0-6564-4F45-8560-A14789827587}"/>
              </c:ext>
            </c:extLst>
          </c:dPt>
          <c:dPt>
            <c:idx val="69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1-6564-4F45-8560-A14789827587}"/>
              </c:ext>
            </c:extLst>
          </c:dPt>
          <c:dPt>
            <c:idx val="69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2-6564-4F45-8560-A14789827587}"/>
              </c:ext>
            </c:extLst>
          </c:dPt>
          <c:dPt>
            <c:idx val="69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3-6564-4F45-8560-A14789827587}"/>
              </c:ext>
            </c:extLst>
          </c:dPt>
          <c:dPt>
            <c:idx val="69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4-6564-4F45-8560-A14789827587}"/>
              </c:ext>
            </c:extLst>
          </c:dPt>
          <c:dPt>
            <c:idx val="69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5-6564-4F45-8560-A14789827587}"/>
              </c:ext>
            </c:extLst>
          </c:dPt>
          <c:dPt>
            <c:idx val="69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6-6564-4F45-8560-A14789827587}"/>
              </c:ext>
            </c:extLst>
          </c:dPt>
          <c:dPt>
            <c:idx val="69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7-6564-4F45-8560-A14789827587}"/>
              </c:ext>
            </c:extLst>
          </c:dPt>
          <c:dPt>
            <c:idx val="70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8-6564-4F45-8560-A14789827587}"/>
              </c:ext>
            </c:extLst>
          </c:dPt>
          <c:dPt>
            <c:idx val="70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9-6564-4F45-8560-A14789827587}"/>
              </c:ext>
            </c:extLst>
          </c:dPt>
          <c:dPt>
            <c:idx val="70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A-6564-4F45-8560-A14789827587}"/>
              </c:ext>
            </c:extLst>
          </c:dPt>
          <c:dPt>
            <c:idx val="70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B-6564-4F45-8560-A14789827587}"/>
              </c:ext>
            </c:extLst>
          </c:dPt>
          <c:dPt>
            <c:idx val="70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C-6564-4F45-8560-A14789827587}"/>
              </c:ext>
            </c:extLst>
          </c:dPt>
          <c:dPt>
            <c:idx val="70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D-6564-4F45-8560-A14789827587}"/>
              </c:ext>
            </c:extLst>
          </c:dPt>
          <c:dPt>
            <c:idx val="70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E-6564-4F45-8560-A14789827587}"/>
              </c:ext>
            </c:extLst>
          </c:dPt>
          <c:dPt>
            <c:idx val="70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3F-6564-4F45-8560-A14789827587}"/>
              </c:ext>
            </c:extLst>
          </c:dPt>
          <c:dPt>
            <c:idx val="70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0-6564-4F45-8560-A14789827587}"/>
              </c:ext>
            </c:extLst>
          </c:dPt>
          <c:dPt>
            <c:idx val="70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1-6564-4F45-8560-A14789827587}"/>
              </c:ext>
            </c:extLst>
          </c:dPt>
          <c:dPt>
            <c:idx val="71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2-6564-4F45-8560-A14789827587}"/>
              </c:ext>
            </c:extLst>
          </c:dPt>
          <c:dPt>
            <c:idx val="71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3-6564-4F45-8560-A14789827587}"/>
              </c:ext>
            </c:extLst>
          </c:dPt>
          <c:dPt>
            <c:idx val="71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4-6564-4F45-8560-A14789827587}"/>
              </c:ext>
            </c:extLst>
          </c:dPt>
          <c:dPt>
            <c:idx val="71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5-6564-4F45-8560-A14789827587}"/>
              </c:ext>
            </c:extLst>
          </c:dPt>
          <c:dPt>
            <c:idx val="71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6-6564-4F45-8560-A14789827587}"/>
              </c:ext>
            </c:extLst>
          </c:dPt>
          <c:dPt>
            <c:idx val="71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7-6564-4F45-8560-A14789827587}"/>
              </c:ext>
            </c:extLst>
          </c:dPt>
          <c:dPt>
            <c:idx val="71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8-6564-4F45-8560-A14789827587}"/>
              </c:ext>
            </c:extLst>
          </c:dPt>
          <c:dPt>
            <c:idx val="71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9-6564-4F45-8560-A14789827587}"/>
              </c:ext>
            </c:extLst>
          </c:dPt>
          <c:dPt>
            <c:idx val="71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A-6564-4F45-8560-A14789827587}"/>
              </c:ext>
            </c:extLst>
          </c:dPt>
          <c:dPt>
            <c:idx val="71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B-6564-4F45-8560-A14789827587}"/>
              </c:ext>
            </c:extLst>
          </c:dPt>
          <c:dPt>
            <c:idx val="72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C-6564-4F45-8560-A14789827587}"/>
              </c:ext>
            </c:extLst>
          </c:dPt>
          <c:dPt>
            <c:idx val="72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D-6564-4F45-8560-A14789827587}"/>
              </c:ext>
            </c:extLst>
          </c:dPt>
          <c:dPt>
            <c:idx val="72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E-6564-4F45-8560-A14789827587}"/>
              </c:ext>
            </c:extLst>
          </c:dPt>
          <c:dPt>
            <c:idx val="72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4F-6564-4F45-8560-A14789827587}"/>
              </c:ext>
            </c:extLst>
          </c:dPt>
          <c:dPt>
            <c:idx val="72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0-6564-4F45-8560-A14789827587}"/>
              </c:ext>
            </c:extLst>
          </c:dPt>
          <c:dPt>
            <c:idx val="72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1-6564-4F45-8560-A14789827587}"/>
              </c:ext>
            </c:extLst>
          </c:dPt>
          <c:dPt>
            <c:idx val="72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2-6564-4F45-8560-A14789827587}"/>
              </c:ext>
            </c:extLst>
          </c:dPt>
          <c:dPt>
            <c:idx val="72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3-6564-4F45-8560-A14789827587}"/>
              </c:ext>
            </c:extLst>
          </c:dPt>
          <c:dPt>
            <c:idx val="72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4-6564-4F45-8560-A14789827587}"/>
              </c:ext>
            </c:extLst>
          </c:dPt>
          <c:dPt>
            <c:idx val="72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5-6564-4F45-8560-A14789827587}"/>
              </c:ext>
            </c:extLst>
          </c:dPt>
          <c:dPt>
            <c:idx val="73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6-6564-4F45-8560-A14789827587}"/>
              </c:ext>
            </c:extLst>
          </c:dPt>
          <c:dPt>
            <c:idx val="73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7-6564-4F45-8560-A14789827587}"/>
              </c:ext>
            </c:extLst>
          </c:dPt>
          <c:dPt>
            <c:idx val="73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8-6564-4F45-8560-A14789827587}"/>
              </c:ext>
            </c:extLst>
          </c:dPt>
          <c:dPt>
            <c:idx val="73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9-6564-4F45-8560-A14789827587}"/>
              </c:ext>
            </c:extLst>
          </c:dPt>
          <c:dPt>
            <c:idx val="73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A-6564-4F45-8560-A14789827587}"/>
              </c:ext>
            </c:extLst>
          </c:dPt>
          <c:dPt>
            <c:idx val="73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B-6564-4F45-8560-A14789827587}"/>
              </c:ext>
            </c:extLst>
          </c:dPt>
          <c:dPt>
            <c:idx val="73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C-6564-4F45-8560-A14789827587}"/>
              </c:ext>
            </c:extLst>
          </c:dPt>
          <c:dPt>
            <c:idx val="73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D-6564-4F45-8560-A14789827587}"/>
              </c:ext>
            </c:extLst>
          </c:dPt>
          <c:dPt>
            <c:idx val="73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E-6564-4F45-8560-A14789827587}"/>
              </c:ext>
            </c:extLst>
          </c:dPt>
          <c:dPt>
            <c:idx val="73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5F-6564-4F45-8560-A14789827587}"/>
              </c:ext>
            </c:extLst>
          </c:dPt>
          <c:dPt>
            <c:idx val="74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0-6564-4F45-8560-A14789827587}"/>
              </c:ext>
            </c:extLst>
          </c:dPt>
          <c:dPt>
            <c:idx val="74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1-6564-4F45-8560-A14789827587}"/>
              </c:ext>
            </c:extLst>
          </c:dPt>
          <c:dPt>
            <c:idx val="74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2-6564-4F45-8560-A14789827587}"/>
              </c:ext>
            </c:extLst>
          </c:dPt>
          <c:dPt>
            <c:idx val="74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3-6564-4F45-8560-A14789827587}"/>
              </c:ext>
            </c:extLst>
          </c:dPt>
          <c:dPt>
            <c:idx val="74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4-6564-4F45-8560-A14789827587}"/>
              </c:ext>
            </c:extLst>
          </c:dPt>
          <c:dPt>
            <c:idx val="74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5-6564-4F45-8560-A14789827587}"/>
              </c:ext>
            </c:extLst>
          </c:dPt>
          <c:dPt>
            <c:idx val="74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6-6564-4F45-8560-A14789827587}"/>
              </c:ext>
            </c:extLst>
          </c:dPt>
          <c:dPt>
            <c:idx val="74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7-6564-4F45-8560-A14789827587}"/>
              </c:ext>
            </c:extLst>
          </c:dPt>
          <c:dPt>
            <c:idx val="74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8-6564-4F45-8560-A14789827587}"/>
              </c:ext>
            </c:extLst>
          </c:dPt>
          <c:dPt>
            <c:idx val="74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9-6564-4F45-8560-A14789827587}"/>
              </c:ext>
            </c:extLst>
          </c:dPt>
          <c:dPt>
            <c:idx val="75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A-6564-4F45-8560-A14789827587}"/>
              </c:ext>
            </c:extLst>
          </c:dPt>
          <c:dPt>
            <c:idx val="75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B-6564-4F45-8560-A14789827587}"/>
              </c:ext>
            </c:extLst>
          </c:dPt>
          <c:dPt>
            <c:idx val="75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C-6564-4F45-8560-A14789827587}"/>
              </c:ext>
            </c:extLst>
          </c:dPt>
          <c:dPt>
            <c:idx val="75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D-6564-4F45-8560-A14789827587}"/>
              </c:ext>
            </c:extLst>
          </c:dPt>
          <c:dPt>
            <c:idx val="75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E-6564-4F45-8560-A14789827587}"/>
              </c:ext>
            </c:extLst>
          </c:dPt>
          <c:dPt>
            <c:idx val="75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6F-6564-4F45-8560-A14789827587}"/>
              </c:ext>
            </c:extLst>
          </c:dPt>
          <c:dPt>
            <c:idx val="75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0-6564-4F45-8560-A14789827587}"/>
              </c:ext>
            </c:extLst>
          </c:dPt>
          <c:dPt>
            <c:idx val="75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1-6564-4F45-8560-A14789827587}"/>
              </c:ext>
            </c:extLst>
          </c:dPt>
          <c:dPt>
            <c:idx val="75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2-6564-4F45-8560-A14789827587}"/>
              </c:ext>
            </c:extLst>
          </c:dPt>
          <c:dPt>
            <c:idx val="75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3-6564-4F45-8560-A14789827587}"/>
              </c:ext>
            </c:extLst>
          </c:dPt>
          <c:dPt>
            <c:idx val="76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4-6564-4F45-8560-A14789827587}"/>
              </c:ext>
            </c:extLst>
          </c:dPt>
          <c:dPt>
            <c:idx val="76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5-6564-4F45-8560-A14789827587}"/>
              </c:ext>
            </c:extLst>
          </c:dPt>
          <c:dPt>
            <c:idx val="76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6-6564-4F45-8560-A14789827587}"/>
              </c:ext>
            </c:extLst>
          </c:dPt>
          <c:dPt>
            <c:idx val="76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7-6564-4F45-8560-A14789827587}"/>
              </c:ext>
            </c:extLst>
          </c:dPt>
          <c:dPt>
            <c:idx val="76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8-6564-4F45-8560-A14789827587}"/>
              </c:ext>
            </c:extLst>
          </c:dPt>
          <c:dPt>
            <c:idx val="76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9-6564-4F45-8560-A14789827587}"/>
              </c:ext>
            </c:extLst>
          </c:dPt>
          <c:dPt>
            <c:idx val="76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A-6564-4F45-8560-A14789827587}"/>
              </c:ext>
            </c:extLst>
          </c:dPt>
          <c:dPt>
            <c:idx val="76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B-6564-4F45-8560-A14789827587}"/>
              </c:ext>
            </c:extLst>
          </c:dPt>
          <c:dPt>
            <c:idx val="76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C-6564-4F45-8560-A14789827587}"/>
              </c:ext>
            </c:extLst>
          </c:dPt>
          <c:dPt>
            <c:idx val="76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D-6564-4F45-8560-A14789827587}"/>
              </c:ext>
            </c:extLst>
          </c:dPt>
          <c:dPt>
            <c:idx val="77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E-6564-4F45-8560-A14789827587}"/>
              </c:ext>
            </c:extLst>
          </c:dPt>
          <c:dPt>
            <c:idx val="77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7F-6564-4F45-8560-A14789827587}"/>
              </c:ext>
            </c:extLst>
          </c:dPt>
          <c:dPt>
            <c:idx val="77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0-6564-4F45-8560-A14789827587}"/>
              </c:ext>
            </c:extLst>
          </c:dPt>
          <c:dPt>
            <c:idx val="77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1-6564-4F45-8560-A14789827587}"/>
              </c:ext>
            </c:extLst>
          </c:dPt>
          <c:dPt>
            <c:idx val="77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2-6564-4F45-8560-A14789827587}"/>
              </c:ext>
            </c:extLst>
          </c:dPt>
          <c:dPt>
            <c:idx val="77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3-6564-4F45-8560-A14789827587}"/>
              </c:ext>
            </c:extLst>
          </c:dPt>
          <c:dPt>
            <c:idx val="77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4-6564-4F45-8560-A14789827587}"/>
              </c:ext>
            </c:extLst>
          </c:dPt>
          <c:dPt>
            <c:idx val="77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5-6564-4F45-8560-A14789827587}"/>
              </c:ext>
            </c:extLst>
          </c:dPt>
          <c:dPt>
            <c:idx val="77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6-6564-4F45-8560-A14789827587}"/>
              </c:ext>
            </c:extLst>
          </c:dPt>
          <c:dPt>
            <c:idx val="77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7-6564-4F45-8560-A14789827587}"/>
              </c:ext>
            </c:extLst>
          </c:dPt>
          <c:dPt>
            <c:idx val="78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8-6564-4F45-8560-A14789827587}"/>
              </c:ext>
            </c:extLst>
          </c:dPt>
          <c:dPt>
            <c:idx val="78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9-6564-4F45-8560-A14789827587}"/>
              </c:ext>
            </c:extLst>
          </c:dPt>
          <c:dPt>
            <c:idx val="78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A-6564-4F45-8560-A14789827587}"/>
              </c:ext>
            </c:extLst>
          </c:dPt>
          <c:dPt>
            <c:idx val="78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B-6564-4F45-8560-A14789827587}"/>
              </c:ext>
            </c:extLst>
          </c:dPt>
          <c:dPt>
            <c:idx val="78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C-6564-4F45-8560-A14789827587}"/>
              </c:ext>
            </c:extLst>
          </c:dPt>
          <c:dPt>
            <c:idx val="78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D-6564-4F45-8560-A14789827587}"/>
              </c:ext>
            </c:extLst>
          </c:dPt>
          <c:dPt>
            <c:idx val="78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E-6564-4F45-8560-A14789827587}"/>
              </c:ext>
            </c:extLst>
          </c:dPt>
          <c:dPt>
            <c:idx val="78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8F-6564-4F45-8560-A14789827587}"/>
              </c:ext>
            </c:extLst>
          </c:dPt>
          <c:dPt>
            <c:idx val="78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0-6564-4F45-8560-A14789827587}"/>
              </c:ext>
            </c:extLst>
          </c:dPt>
          <c:dPt>
            <c:idx val="78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1-6564-4F45-8560-A14789827587}"/>
              </c:ext>
            </c:extLst>
          </c:dPt>
          <c:dPt>
            <c:idx val="79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2-6564-4F45-8560-A14789827587}"/>
              </c:ext>
            </c:extLst>
          </c:dPt>
          <c:dPt>
            <c:idx val="79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3-6564-4F45-8560-A14789827587}"/>
              </c:ext>
            </c:extLst>
          </c:dPt>
          <c:dPt>
            <c:idx val="79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4-6564-4F45-8560-A14789827587}"/>
              </c:ext>
            </c:extLst>
          </c:dPt>
          <c:dPt>
            <c:idx val="79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5-6564-4F45-8560-A14789827587}"/>
              </c:ext>
            </c:extLst>
          </c:dPt>
          <c:dPt>
            <c:idx val="79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6-6564-4F45-8560-A14789827587}"/>
              </c:ext>
            </c:extLst>
          </c:dPt>
          <c:dPt>
            <c:idx val="79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7-6564-4F45-8560-A14789827587}"/>
              </c:ext>
            </c:extLst>
          </c:dPt>
          <c:dPt>
            <c:idx val="79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8-6564-4F45-8560-A14789827587}"/>
              </c:ext>
            </c:extLst>
          </c:dPt>
          <c:dPt>
            <c:idx val="79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9-6564-4F45-8560-A14789827587}"/>
              </c:ext>
            </c:extLst>
          </c:dPt>
          <c:dPt>
            <c:idx val="79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A-6564-4F45-8560-A14789827587}"/>
              </c:ext>
            </c:extLst>
          </c:dPt>
          <c:dPt>
            <c:idx val="79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B-6564-4F45-8560-A14789827587}"/>
              </c:ext>
            </c:extLst>
          </c:dPt>
          <c:dPt>
            <c:idx val="80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C-6564-4F45-8560-A14789827587}"/>
              </c:ext>
            </c:extLst>
          </c:dPt>
          <c:dPt>
            <c:idx val="80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D-6564-4F45-8560-A14789827587}"/>
              </c:ext>
            </c:extLst>
          </c:dPt>
          <c:dPt>
            <c:idx val="80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E-6564-4F45-8560-A14789827587}"/>
              </c:ext>
            </c:extLst>
          </c:dPt>
          <c:dPt>
            <c:idx val="80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9F-6564-4F45-8560-A14789827587}"/>
              </c:ext>
            </c:extLst>
          </c:dPt>
          <c:dPt>
            <c:idx val="80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0-6564-4F45-8560-A14789827587}"/>
              </c:ext>
            </c:extLst>
          </c:dPt>
          <c:dPt>
            <c:idx val="80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1-6564-4F45-8560-A14789827587}"/>
              </c:ext>
            </c:extLst>
          </c:dPt>
          <c:dPt>
            <c:idx val="80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2-6564-4F45-8560-A14789827587}"/>
              </c:ext>
            </c:extLst>
          </c:dPt>
          <c:dPt>
            <c:idx val="80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3-6564-4F45-8560-A14789827587}"/>
              </c:ext>
            </c:extLst>
          </c:dPt>
          <c:dPt>
            <c:idx val="80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4-6564-4F45-8560-A14789827587}"/>
              </c:ext>
            </c:extLst>
          </c:dPt>
          <c:dPt>
            <c:idx val="80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5-6564-4F45-8560-A14789827587}"/>
              </c:ext>
            </c:extLst>
          </c:dPt>
          <c:dPt>
            <c:idx val="81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6-6564-4F45-8560-A14789827587}"/>
              </c:ext>
            </c:extLst>
          </c:dPt>
          <c:dPt>
            <c:idx val="81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7-6564-4F45-8560-A14789827587}"/>
              </c:ext>
            </c:extLst>
          </c:dPt>
          <c:dPt>
            <c:idx val="81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8-6564-4F45-8560-A14789827587}"/>
              </c:ext>
            </c:extLst>
          </c:dPt>
          <c:dPt>
            <c:idx val="81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9-6564-4F45-8560-A14789827587}"/>
              </c:ext>
            </c:extLst>
          </c:dPt>
          <c:dPt>
            <c:idx val="81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A-6564-4F45-8560-A14789827587}"/>
              </c:ext>
            </c:extLst>
          </c:dPt>
          <c:dPt>
            <c:idx val="81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B-6564-4F45-8560-A14789827587}"/>
              </c:ext>
            </c:extLst>
          </c:dPt>
          <c:dPt>
            <c:idx val="81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C-6564-4F45-8560-A14789827587}"/>
              </c:ext>
            </c:extLst>
          </c:dPt>
          <c:dPt>
            <c:idx val="81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D-6564-4F45-8560-A14789827587}"/>
              </c:ext>
            </c:extLst>
          </c:dPt>
          <c:dPt>
            <c:idx val="81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E-6564-4F45-8560-A14789827587}"/>
              </c:ext>
            </c:extLst>
          </c:dPt>
          <c:dPt>
            <c:idx val="81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AF-6564-4F45-8560-A14789827587}"/>
              </c:ext>
            </c:extLst>
          </c:dPt>
          <c:dPt>
            <c:idx val="82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0-6564-4F45-8560-A14789827587}"/>
              </c:ext>
            </c:extLst>
          </c:dPt>
          <c:dPt>
            <c:idx val="82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1-6564-4F45-8560-A14789827587}"/>
              </c:ext>
            </c:extLst>
          </c:dPt>
          <c:dPt>
            <c:idx val="82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2-6564-4F45-8560-A14789827587}"/>
              </c:ext>
            </c:extLst>
          </c:dPt>
          <c:dPt>
            <c:idx val="82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3-6564-4F45-8560-A14789827587}"/>
              </c:ext>
            </c:extLst>
          </c:dPt>
          <c:dPt>
            <c:idx val="82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4-6564-4F45-8560-A14789827587}"/>
              </c:ext>
            </c:extLst>
          </c:dPt>
          <c:dPt>
            <c:idx val="82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5-6564-4F45-8560-A14789827587}"/>
              </c:ext>
            </c:extLst>
          </c:dPt>
          <c:dPt>
            <c:idx val="82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6-6564-4F45-8560-A14789827587}"/>
              </c:ext>
            </c:extLst>
          </c:dPt>
          <c:dPt>
            <c:idx val="82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7-6564-4F45-8560-A14789827587}"/>
              </c:ext>
            </c:extLst>
          </c:dPt>
          <c:dPt>
            <c:idx val="82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8-6564-4F45-8560-A14789827587}"/>
              </c:ext>
            </c:extLst>
          </c:dPt>
          <c:dPt>
            <c:idx val="82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9-6564-4F45-8560-A14789827587}"/>
              </c:ext>
            </c:extLst>
          </c:dPt>
          <c:dPt>
            <c:idx val="83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A-6564-4F45-8560-A14789827587}"/>
              </c:ext>
            </c:extLst>
          </c:dPt>
          <c:dPt>
            <c:idx val="83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B-6564-4F45-8560-A14789827587}"/>
              </c:ext>
            </c:extLst>
          </c:dPt>
          <c:dPt>
            <c:idx val="83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C-6564-4F45-8560-A14789827587}"/>
              </c:ext>
            </c:extLst>
          </c:dPt>
          <c:dPt>
            <c:idx val="83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D-6564-4F45-8560-A14789827587}"/>
              </c:ext>
            </c:extLst>
          </c:dPt>
          <c:dPt>
            <c:idx val="83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E-6564-4F45-8560-A14789827587}"/>
              </c:ext>
            </c:extLst>
          </c:dPt>
          <c:dPt>
            <c:idx val="83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BF-6564-4F45-8560-A14789827587}"/>
              </c:ext>
            </c:extLst>
          </c:dPt>
          <c:dPt>
            <c:idx val="83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0-6564-4F45-8560-A14789827587}"/>
              </c:ext>
            </c:extLst>
          </c:dPt>
          <c:dPt>
            <c:idx val="83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1-6564-4F45-8560-A14789827587}"/>
              </c:ext>
            </c:extLst>
          </c:dPt>
          <c:dPt>
            <c:idx val="83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2-6564-4F45-8560-A14789827587}"/>
              </c:ext>
            </c:extLst>
          </c:dPt>
          <c:dPt>
            <c:idx val="83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3-6564-4F45-8560-A14789827587}"/>
              </c:ext>
            </c:extLst>
          </c:dPt>
          <c:dPt>
            <c:idx val="84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4-6564-4F45-8560-A14789827587}"/>
              </c:ext>
            </c:extLst>
          </c:dPt>
          <c:dPt>
            <c:idx val="84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5-6564-4F45-8560-A14789827587}"/>
              </c:ext>
            </c:extLst>
          </c:dPt>
          <c:dPt>
            <c:idx val="84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6-6564-4F45-8560-A14789827587}"/>
              </c:ext>
            </c:extLst>
          </c:dPt>
          <c:dPt>
            <c:idx val="84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7-6564-4F45-8560-A14789827587}"/>
              </c:ext>
            </c:extLst>
          </c:dPt>
          <c:dPt>
            <c:idx val="84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8-6564-4F45-8560-A14789827587}"/>
              </c:ext>
            </c:extLst>
          </c:dPt>
          <c:dPt>
            <c:idx val="84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9-6564-4F45-8560-A14789827587}"/>
              </c:ext>
            </c:extLst>
          </c:dPt>
          <c:dPt>
            <c:idx val="84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A-6564-4F45-8560-A14789827587}"/>
              </c:ext>
            </c:extLst>
          </c:dPt>
          <c:dPt>
            <c:idx val="84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B-6564-4F45-8560-A14789827587}"/>
              </c:ext>
            </c:extLst>
          </c:dPt>
          <c:dPt>
            <c:idx val="84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C-6564-4F45-8560-A14789827587}"/>
              </c:ext>
            </c:extLst>
          </c:dPt>
          <c:dPt>
            <c:idx val="84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D-6564-4F45-8560-A14789827587}"/>
              </c:ext>
            </c:extLst>
          </c:dPt>
          <c:dPt>
            <c:idx val="85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E-6564-4F45-8560-A14789827587}"/>
              </c:ext>
            </c:extLst>
          </c:dPt>
          <c:dPt>
            <c:idx val="85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CF-6564-4F45-8560-A14789827587}"/>
              </c:ext>
            </c:extLst>
          </c:dPt>
          <c:dPt>
            <c:idx val="85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0-6564-4F45-8560-A14789827587}"/>
              </c:ext>
            </c:extLst>
          </c:dPt>
          <c:dPt>
            <c:idx val="85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1-6564-4F45-8560-A14789827587}"/>
              </c:ext>
            </c:extLst>
          </c:dPt>
          <c:dPt>
            <c:idx val="85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2-6564-4F45-8560-A14789827587}"/>
              </c:ext>
            </c:extLst>
          </c:dPt>
          <c:dPt>
            <c:idx val="85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3-6564-4F45-8560-A14789827587}"/>
              </c:ext>
            </c:extLst>
          </c:dPt>
          <c:dPt>
            <c:idx val="85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4-6564-4F45-8560-A14789827587}"/>
              </c:ext>
            </c:extLst>
          </c:dPt>
          <c:dPt>
            <c:idx val="85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5-6564-4F45-8560-A14789827587}"/>
              </c:ext>
            </c:extLst>
          </c:dPt>
          <c:dPt>
            <c:idx val="85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6-6564-4F45-8560-A14789827587}"/>
              </c:ext>
            </c:extLst>
          </c:dPt>
          <c:dPt>
            <c:idx val="85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7-6564-4F45-8560-A14789827587}"/>
              </c:ext>
            </c:extLst>
          </c:dPt>
          <c:dPt>
            <c:idx val="86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8-6564-4F45-8560-A14789827587}"/>
              </c:ext>
            </c:extLst>
          </c:dPt>
          <c:dPt>
            <c:idx val="86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9-6564-4F45-8560-A14789827587}"/>
              </c:ext>
            </c:extLst>
          </c:dPt>
          <c:dPt>
            <c:idx val="86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A-6564-4F45-8560-A14789827587}"/>
              </c:ext>
            </c:extLst>
          </c:dPt>
          <c:dPt>
            <c:idx val="86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B-6564-4F45-8560-A14789827587}"/>
              </c:ext>
            </c:extLst>
          </c:dPt>
          <c:dPt>
            <c:idx val="86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C-6564-4F45-8560-A14789827587}"/>
              </c:ext>
            </c:extLst>
          </c:dPt>
          <c:dPt>
            <c:idx val="86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D-6564-4F45-8560-A14789827587}"/>
              </c:ext>
            </c:extLst>
          </c:dPt>
          <c:dPt>
            <c:idx val="86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E-6564-4F45-8560-A14789827587}"/>
              </c:ext>
            </c:extLst>
          </c:dPt>
          <c:dPt>
            <c:idx val="86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DF-6564-4F45-8560-A14789827587}"/>
              </c:ext>
            </c:extLst>
          </c:dPt>
          <c:dPt>
            <c:idx val="86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0-6564-4F45-8560-A14789827587}"/>
              </c:ext>
            </c:extLst>
          </c:dPt>
          <c:dPt>
            <c:idx val="86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1-6564-4F45-8560-A14789827587}"/>
              </c:ext>
            </c:extLst>
          </c:dPt>
          <c:dPt>
            <c:idx val="87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2-6564-4F45-8560-A14789827587}"/>
              </c:ext>
            </c:extLst>
          </c:dPt>
          <c:dPt>
            <c:idx val="87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3-6564-4F45-8560-A14789827587}"/>
              </c:ext>
            </c:extLst>
          </c:dPt>
          <c:dPt>
            <c:idx val="87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4-6564-4F45-8560-A14789827587}"/>
              </c:ext>
            </c:extLst>
          </c:dPt>
          <c:dPt>
            <c:idx val="87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5-6564-4F45-8560-A14789827587}"/>
              </c:ext>
            </c:extLst>
          </c:dPt>
          <c:dPt>
            <c:idx val="87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6-6564-4F45-8560-A14789827587}"/>
              </c:ext>
            </c:extLst>
          </c:dPt>
          <c:dPt>
            <c:idx val="87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7-6564-4F45-8560-A14789827587}"/>
              </c:ext>
            </c:extLst>
          </c:dPt>
          <c:dPt>
            <c:idx val="87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8-6564-4F45-8560-A14789827587}"/>
              </c:ext>
            </c:extLst>
          </c:dPt>
          <c:dPt>
            <c:idx val="87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9-6564-4F45-8560-A14789827587}"/>
              </c:ext>
            </c:extLst>
          </c:dPt>
          <c:dPt>
            <c:idx val="87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A-6564-4F45-8560-A14789827587}"/>
              </c:ext>
            </c:extLst>
          </c:dPt>
          <c:dPt>
            <c:idx val="87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B-6564-4F45-8560-A14789827587}"/>
              </c:ext>
            </c:extLst>
          </c:dPt>
          <c:dPt>
            <c:idx val="88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C-6564-4F45-8560-A14789827587}"/>
              </c:ext>
            </c:extLst>
          </c:dPt>
          <c:dPt>
            <c:idx val="88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D-6564-4F45-8560-A14789827587}"/>
              </c:ext>
            </c:extLst>
          </c:dPt>
          <c:dPt>
            <c:idx val="88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E-6564-4F45-8560-A14789827587}"/>
              </c:ext>
            </c:extLst>
          </c:dPt>
          <c:dPt>
            <c:idx val="883"/>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EF-6564-4F45-8560-A14789827587}"/>
              </c:ext>
            </c:extLst>
          </c:dPt>
          <c:dPt>
            <c:idx val="884"/>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F0-6564-4F45-8560-A14789827587}"/>
              </c:ext>
            </c:extLst>
          </c:dPt>
          <c:dPt>
            <c:idx val="885"/>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F1-6564-4F45-8560-A14789827587}"/>
              </c:ext>
            </c:extLst>
          </c:dPt>
          <c:dPt>
            <c:idx val="886"/>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F2-6564-4F45-8560-A14789827587}"/>
              </c:ext>
            </c:extLst>
          </c:dPt>
          <c:dPt>
            <c:idx val="887"/>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F3-6564-4F45-8560-A14789827587}"/>
              </c:ext>
            </c:extLst>
          </c:dPt>
          <c:dPt>
            <c:idx val="888"/>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F4-6564-4F45-8560-A14789827587}"/>
              </c:ext>
            </c:extLst>
          </c:dPt>
          <c:dPt>
            <c:idx val="889"/>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F5-6564-4F45-8560-A14789827587}"/>
              </c:ext>
            </c:extLst>
          </c:dPt>
          <c:dPt>
            <c:idx val="890"/>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F6-6564-4F45-8560-A14789827587}"/>
              </c:ext>
            </c:extLst>
          </c:dPt>
          <c:dPt>
            <c:idx val="891"/>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F7-6564-4F45-8560-A14789827587}"/>
              </c:ext>
            </c:extLst>
          </c:dPt>
          <c:dPt>
            <c:idx val="892"/>
            <c:bubble3D val="0"/>
            <c:spPr>
              <a:ln w="254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6F8-6564-4F45-8560-A14789827587}"/>
              </c:ext>
            </c:extLst>
          </c:dPt>
          <c:cat>
            <c:numRef>
              <c:f>USA!$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USA!$DY$9:$DY$901</c:f>
              <c:numCache>
                <c:formatCode>0.00</c:formatCode>
                <c:ptCount val="893"/>
                <c:pt idx="0">
                  <c:v>19.268189573311364</c:v>
                </c:pt>
                <c:pt idx="1">
                  <c:v>19.268189573311364</c:v>
                </c:pt>
                <c:pt idx="2">
                  <c:v>19.268189573311364</c:v>
                </c:pt>
                <c:pt idx="3">
                  <c:v>19.268189573311364</c:v>
                </c:pt>
                <c:pt idx="4">
                  <c:v>19.268189573311364</c:v>
                </c:pt>
                <c:pt idx="5">
                  <c:v>19.268189573311364</c:v>
                </c:pt>
                <c:pt idx="6">
                  <c:v>19.268189573311364</c:v>
                </c:pt>
                <c:pt idx="7">
                  <c:v>19.268189573311364</c:v>
                </c:pt>
                <c:pt idx="8">
                  <c:v>19.268189573311364</c:v>
                </c:pt>
                <c:pt idx="9">
                  <c:v>19.268189573311364</c:v>
                </c:pt>
                <c:pt idx="10">
                  <c:v>19.268189573311364</c:v>
                </c:pt>
                <c:pt idx="11">
                  <c:v>19.268189573311364</c:v>
                </c:pt>
                <c:pt idx="12">
                  <c:v>19.268189573311364</c:v>
                </c:pt>
                <c:pt idx="13">
                  <c:v>19.268189573311364</c:v>
                </c:pt>
                <c:pt idx="14">
                  <c:v>19.268189573311364</c:v>
                </c:pt>
                <c:pt idx="15">
                  <c:v>19.268189573311364</c:v>
                </c:pt>
                <c:pt idx="16">
                  <c:v>19.268189573311364</c:v>
                </c:pt>
                <c:pt idx="17">
                  <c:v>19.268189573311364</c:v>
                </c:pt>
                <c:pt idx="18">
                  <c:v>19.268189573311364</c:v>
                </c:pt>
                <c:pt idx="19">
                  <c:v>19.268189573311364</c:v>
                </c:pt>
                <c:pt idx="20">
                  <c:v>19.268189573311364</c:v>
                </c:pt>
                <c:pt idx="21">
                  <c:v>19.268189573311364</c:v>
                </c:pt>
                <c:pt idx="22">
                  <c:v>19.268189573311364</c:v>
                </c:pt>
                <c:pt idx="23">
                  <c:v>19.268189573311364</c:v>
                </c:pt>
                <c:pt idx="24">
                  <c:v>19.268189573311364</c:v>
                </c:pt>
                <c:pt idx="25">
                  <c:v>19.268189573311364</c:v>
                </c:pt>
                <c:pt idx="26">
                  <c:v>19.268189573311364</c:v>
                </c:pt>
                <c:pt idx="27">
                  <c:v>19.268189573311364</c:v>
                </c:pt>
                <c:pt idx="28">
                  <c:v>19.268189573311364</c:v>
                </c:pt>
                <c:pt idx="29">
                  <c:v>19.268189573311364</c:v>
                </c:pt>
                <c:pt idx="30">
                  <c:v>19.268189573311364</c:v>
                </c:pt>
                <c:pt idx="31">
                  <c:v>19.268189573311364</c:v>
                </c:pt>
                <c:pt idx="32">
                  <c:v>19.268189573311364</c:v>
                </c:pt>
                <c:pt idx="33">
                  <c:v>19.268189573311364</c:v>
                </c:pt>
                <c:pt idx="34">
                  <c:v>19.268189573311364</c:v>
                </c:pt>
                <c:pt idx="35">
                  <c:v>19.268189573311364</c:v>
                </c:pt>
                <c:pt idx="36">
                  <c:v>19.268189573311364</c:v>
                </c:pt>
                <c:pt idx="37">
                  <c:v>19.268189573311364</c:v>
                </c:pt>
                <c:pt idx="38">
                  <c:v>19.268189573311364</c:v>
                </c:pt>
                <c:pt idx="39">
                  <c:v>19.268189573311364</c:v>
                </c:pt>
                <c:pt idx="40">
                  <c:v>19.268189573311364</c:v>
                </c:pt>
                <c:pt idx="41">
                  <c:v>19.268189573311364</c:v>
                </c:pt>
                <c:pt idx="42">
                  <c:v>19.268189573311364</c:v>
                </c:pt>
                <c:pt idx="43">
                  <c:v>19.268189573311364</c:v>
                </c:pt>
                <c:pt idx="44">
                  <c:v>19.268189573311364</c:v>
                </c:pt>
                <c:pt idx="45">
                  <c:v>19.268189573311364</c:v>
                </c:pt>
                <c:pt idx="46">
                  <c:v>19.268189573311364</c:v>
                </c:pt>
                <c:pt idx="47">
                  <c:v>19.268189573311364</c:v>
                </c:pt>
                <c:pt idx="48">
                  <c:v>19.268189573311364</c:v>
                </c:pt>
                <c:pt idx="49">
                  <c:v>19.268189573311364</c:v>
                </c:pt>
                <c:pt idx="50">
                  <c:v>19.268189573311364</c:v>
                </c:pt>
                <c:pt idx="51">
                  <c:v>19.268189573311364</c:v>
                </c:pt>
                <c:pt idx="52">
                  <c:v>19.268189573311364</c:v>
                </c:pt>
                <c:pt idx="53">
                  <c:v>19.268189573311364</c:v>
                </c:pt>
                <c:pt idx="54">
                  <c:v>19.268189573311364</c:v>
                </c:pt>
                <c:pt idx="55">
                  <c:v>19.268189573311364</c:v>
                </c:pt>
                <c:pt idx="56">
                  <c:v>19.268189573311364</c:v>
                </c:pt>
                <c:pt idx="57">
                  <c:v>19.268189573311364</c:v>
                </c:pt>
                <c:pt idx="58">
                  <c:v>19.268189573311364</c:v>
                </c:pt>
                <c:pt idx="59">
                  <c:v>19.268189573311364</c:v>
                </c:pt>
                <c:pt idx="60">
                  <c:v>19.268189573311364</c:v>
                </c:pt>
                <c:pt idx="61">
                  <c:v>19.268189573311364</c:v>
                </c:pt>
                <c:pt idx="62">
                  <c:v>19.268189573311364</c:v>
                </c:pt>
                <c:pt idx="63">
                  <c:v>19.268189573311364</c:v>
                </c:pt>
                <c:pt idx="64">
                  <c:v>19.268189573311364</c:v>
                </c:pt>
                <c:pt idx="65">
                  <c:v>19.268189573311364</c:v>
                </c:pt>
                <c:pt idx="66">
                  <c:v>19.268189573311364</c:v>
                </c:pt>
                <c:pt idx="67">
                  <c:v>19.268189573311364</c:v>
                </c:pt>
                <c:pt idx="68">
                  <c:v>19.268189573311364</c:v>
                </c:pt>
                <c:pt idx="69">
                  <c:v>19.268189573311364</c:v>
                </c:pt>
                <c:pt idx="70">
                  <c:v>19.268189573311364</c:v>
                </c:pt>
                <c:pt idx="71">
                  <c:v>19.268189573311364</c:v>
                </c:pt>
                <c:pt idx="72">
                  <c:v>19.268189573311364</c:v>
                </c:pt>
                <c:pt idx="73">
                  <c:v>19.268189573311364</c:v>
                </c:pt>
                <c:pt idx="74">
                  <c:v>19.268189573311364</c:v>
                </c:pt>
                <c:pt idx="75">
                  <c:v>19.268189573311364</c:v>
                </c:pt>
                <c:pt idx="76">
                  <c:v>19.268189573311364</c:v>
                </c:pt>
                <c:pt idx="77">
                  <c:v>19.268189573311364</c:v>
                </c:pt>
                <c:pt idx="78">
                  <c:v>19.268189573311364</c:v>
                </c:pt>
                <c:pt idx="79">
                  <c:v>19.268189573311364</c:v>
                </c:pt>
                <c:pt idx="80">
                  <c:v>19.268189573311364</c:v>
                </c:pt>
                <c:pt idx="81">
                  <c:v>19.268189573311364</c:v>
                </c:pt>
                <c:pt idx="82">
                  <c:v>19.268189573311364</c:v>
                </c:pt>
                <c:pt idx="83">
                  <c:v>19.268189573311364</c:v>
                </c:pt>
                <c:pt idx="84">
                  <c:v>19.268189573311364</c:v>
                </c:pt>
                <c:pt idx="85">
                  <c:v>19.268189573311364</c:v>
                </c:pt>
                <c:pt idx="86">
                  <c:v>19.268189573311364</c:v>
                </c:pt>
                <c:pt idx="87">
                  <c:v>19.268189573311364</c:v>
                </c:pt>
                <c:pt idx="88">
                  <c:v>19.268189573311364</c:v>
                </c:pt>
                <c:pt idx="89">
                  <c:v>19.268189573311364</c:v>
                </c:pt>
                <c:pt idx="90">
                  <c:v>19.268189573311364</c:v>
                </c:pt>
                <c:pt idx="91">
                  <c:v>19.268189573311364</c:v>
                </c:pt>
                <c:pt idx="92">
                  <c:v>19.268189573311364</c:v>
                </c:pt>
                <c:pt idx="93">
                  <c:v>19.268189573311364</c:v>
                </c:pt>
                <c:pt idx="94">
                  <c:v>19.268189573311364</c:v>
                </c:pt>
                <c:pt idx="95">
                  <c:v>19.268189573311364</c:v>
                </c:pt>
                <c:pt idx="96">
                  <c:v>19.268189573311364</c:v>
                </c:pt>
                <c:pt idx="97">
                  <c:v>19.268189573311364</c:v>
                </c:pt>
                <c:pt idx="98">
                  <c:v>19.268189573311364</c:v>
                </c:pt>
                <c:pt idx="99">
                  <c:v>19.268189573311364</c:v>
                </c:pt>
                <c:pt idx="100">
                  <c:v>19.268189573311364</c:v>
                </c:pt>
                <c:pt idx="101">
                  <c:v>19.268189573311364</c:v>
                </c:pt>
                <c:pt idx="102">
                  <c:v>19.268189573311364</c:v>
                </c:pt>
                <c:pt idx="103">
                  <c:v>19.268189573311364</c:v>
                </c:pt>
                <c:pt idx="104">
                  <c:v>19.268189573311364</c:v>
                </c:pt>
                <c:pt idx="105">
                  <c:v>19.268189573311364</c:v>
                </c:pt>
                <c:pt idx="106">
                  <c:v>19.268189573311364</c:v>
                </c:pt>
                <c:pt idx="107">
                  <c:v>19.268189573311364</c:v>
                </c:pt>
                <c:pt idx="108">
                  <c:v>19.268189573311364</c:v>
                </c:pt>
                <c:pt idx="109">
                  <c:v>19.268189573311364</c:v>
                </c:pt>
                <c:pt idx="110">
                  <c:v>19.268189573311364</c:v>
                </c:pt>
                <c:pt idx="111">
                  <c:v>19.268189573311364</c:v>
                </c:pt>
                <c:pt idx="112">
                  <c:v>19.268189573311364</c:v>
                </c:pt>
                <c:pt idx="113">
                  <c:v>19.268189573311364</c:v>
                </c:pt>
                <c:pt idx="114">
                  <c:v>19.268189573311364</c:v>
                </c:pt>
                <c:pt idx="115">
                  <c:v>19.268189573311364</c:v>
                </c:pt>
                <c:pt idx="116">
                  <c:v>19.268189573311364</c:v>
                </c:pt>
                <c:pt idx="117">
                  <c:v>19.268189573311364</c:v>
                </c:pt>
                <c:pt idx="118">
                  <c:v>19.268189573311364</c:v>
                </c:pt>
                <c:pt idx="119">
                  <c:v>19.268189573311364</c:v>
                </c:pt>
                <c:pt idx="120">
                  <c:v>19.268189573311364</c:v>
                </c:pt>
                <c:pt idx="121">
                  <c:v>19.268189573311364</c:v>
                </c:pt>
                <c:pt idx="122">
                  <c:v>19.268189573311364</c:v>
                </c:pt>
                <c:pt idx="123">
                  <c:v>19.268189573311364</c:v>
                </c:pt>
                <c:pt idx="124">
                  <c:v>19.268189573311364</c:v>
                </c:pt>
                <c:pt idx="125">
                  <c:v>19.268189573311364</c:v>
                </c:pt>
                <c:pt idx="126">
                  <c:v>19.268189573311364</c:v>
                </c:pt>
                <c:pt idx="127">
                  <c:v>19.268189573311364</c:v>
                </c:pt>
                <c:pt idx="128">
                  <c:v>19.268189573311364</c:v>
                </c:pt>
                <c:pt idx="129">
                  <c:v>19.268189573311364</c:v>
                </c:pt>
                <c:pt idx="130">
                  <c:v>19.268189573311364</c:v>
                </c:pt>
                <c:pt idx="131">
                  <c:v>19.268189573311364</c:v>
                </c:pt>
                <c:pt idx="132">
                  <c:v>19.268189573311364</c:v>
                </c:pt>
                <c:pt idx="133">
                  <c:v>19.268189573311364</c:v>
                </c:pt>
                <c:pt idx="134">
                  <c:v>19.268189573311364</c:v>
                </c:pt>
                <c:pt idx="135">
                  <c:v>19.268189573311364</c:v>
                </c:pt>
                <c:pt idx="136">
                  <c:v>19.268189573311364</c:v>
                </c:pt>
                <c:pt idx="137">
                  <c:v>19.268189573311364</c:v>
                </c:pt>
                <c:pt idx="138">
                  <c:v>19.268189573311364</c:v>
                </c:pt>
                <c:pt idx="139">
                  <c:v>19.268189573311364</c:v>
                </c:pt>
                <c:pt idx="140">
                  <c:v>19.268189573311364</c:v>
                </c:pt>
                <c:pt idx="141">
                  <c:v>19.268189573311364</c:v>
                </c:pt>
                <c:pt idx="142">
                  <c:v>19.268189573311364</c:v>
                </c:pt>
                <c:pt idx="143">
                  <c:v>19.268189573311364</c:v>
                </c:pt>
                <c:pt idx="144">
                  <c:v>19.268189573311364</c:v>
                </c:pt>
                <c:pt idx="145">
                  <c:v>19.268189573311364</c:v>
                </c:pt>
                <c:pt idx="146">
                  <c:v>19.268189573311364</c:v>
                </c:pt>
                <c:pt idx="147">
                  <c:v>19.268189573311364</c:v>
                </c:pt>
                <c:pt idx="148">
                  <c:v>19.268189573311364</c:v>
                </c:pt>
                <c:pt idx="149">
                  <c:v>19.268189573311364</c:v>
                </c:pt>
                <c:pt idx="150">
                  <c:v>19.268189573311364</c:v>
                </c:pt>
                <c:pt idx="151">
                  <c:v>19.268189573311364</c:v>
                </c:pt>
                <c:pt idx="152">
                  <c:v>19.268189573311364</c:v>
                </c:pt>
                <c:pt idx="153">
                  <c:v>19.268189573311364</c:v>
                </c:pt>
                <c:pt idx="154">
                  <c:v>19.268189573311364</c:v>
                </c:pt>
                <c:pt idx="155">
                  <c:v>19.268189573311364</c:v>
                </c:pt>
                <c:pt idx="156">
                  <c:v>19.268189573311364</c:v>
                </c:pt>
                <c:pt idx="157">
                  <c:v>19.268189573311364</c:v>
                </c:pt>
                <c:pt idx="158">
                  <c:v>19.268189573311364</c:v>
                </c:pt>
                <c:pt idx="159">
                  <c:v>19.268189573311364</c:v>
                </c:pt>
                <c:pt idx="160">
                  <c:v>19.268189573311364</c:v>
                </c:pt>
                <c:pt idx="161">
                  <c:v>19.268189573311364</c:v>
                </c:pt>
                <c:pt idx="162">
                  <c:v>19.268189573311364</c:v>
                </c:pt>
                <c:pt idx="163">
                  <c:v>19.268189573311364</c:v>
                </c:pt>
                <c:pt idx="164">
                  <c:v>19.268189573311364</c:v>
                </c:pt>
                <c:pt idx="165">
                  <c:v>19.268189573311364</c:v>
                </c:pt>
                <c:pt idx="166">
                  <c:v>19.268189573311364</c:v>
                </c:pt>
                <c:pt idx="167">
                  <c:v>19.268189573311364</c:v>
                </c:pt>
                <c:pt idx="168">
                  <c:v>19.268189573311364</c:v>
                </c:pt>
                <c:pt idx="169">
                  <c:v>19.268189573311364</c:v>
                </c:pt>
                <c:pt idx="170">
                  <c:v>19.268189573311364</c:v>
                </c:pt>
                <c:pt idx="171">
                  <c:v>19.268189573311364</c:v>
                </c:pt>
                <c:pt idx="172">
                  <c:v>19.268189573311364</c:v>
                </c:pt>
                <c:pt idx="173">
                  <c:v>19.268189573311364</c:v>
                </c:pt>
                <c:pt idx="174">
                  <c:v>19.268189573311364</c:v>
                </c:pt>
                <c:pt idx="175">
                  <c:v>19.268189573311364</c:v>
                </c:pt>
                <c:pt idx="176">
                  <c:v>19.268189573311364</c:v>
                </c:pt>
                <c:pt idx="177">
                  <c:v>19.268189573311364</c:v>
                </c:pt>
                <c:pt idx="178">
                  <c:v>19.268189573311364</c:v>
                </c:pt>
                <c:pt idx="179">
                  <c:v>19.268189573311364</c:v>
                </c:pt>
                <c:pt idx="180">
                  <c:v>19.268189573311364</c:v>
                </c:pt>
                <c:pt idx="181">
                  <c:v>19.268189573311364</c:v>
                </c:pt>
                <c:pt idx="182">
                  <c:v>19.268189573311364</c:v>
                </c:pt>
                <c:pt idx="183">
                  <c:v>19.268189573311364</c:v>
                </c:pt>
                <c:pt idx="184">
                  <c:v>19.268189573311364</c:v>
                </c:pt>
                <c:pt idx="185">
                  <c:v>19.268189573311364</c:v>
                </c:pt>
                <c:pt idx="186">
                  <c:v>19.268189573311364</c:v>
                </c:pt>
                <c:pt idx="187">
                  <c:v>19.268189573311364</c:v>
                </c:pt>
                <c:pt idx="188">
                  <c:v>19.268189573311364</c:v>
                </c:pt>
                <c:pt idx="189">
                  <c:v>19.268189573311364</c:v>
                </c:pt>
                <c:pt idx="190">
                  <c:v>19.268189573311364</c:v>
                </c:pt>
                <c:pt idx="191">
                  <c:v>19.268189573311364</c:v>
                </c:pt>
                <c:pt idx="192">
                  <c:v>19.268189573311364</c:v>
                </c:pt>
                <c:pt idx="193">
                  <c:v>19.268189573311364</c:v>
                </c:pt>
                <c:pt idx="194">
                  <c:v>19.268189573311364</c:v>
                </c:pt>
                <c:pt idx="195">
                  <c:v>19.268189573311364</c:v>
                </c:pt>
                <c:pt idx="196">
                  <c:v>19.268189573311364</c:v>
                </c:pt>
                <c:pt idx="197">
                  <c:v>19.268189573311364</c:v>
                </c:pt>
                <c:pt idx="198">
                  <c:v>19.268189573311364</c:v>
                </c:pt>
                <c:pt idx="199">
                  <c:v>19.268189573311364</c:v>
                </c:pt>
                <c:pt idx="200">
                  <c:v>19.268189573311364</c:v>
                </c:pt>
                <c:pt idx="201">
                  <c:v>19.268189573311364</c:v>
                </c:pt>
                <c:pt idx="202">
                  <c:v>19.268189573311364</c:v>
                </c:pt>
                <c:pt idx="203">
                  <c:v>19.268189573311364</c:v>
                </c:pt>
                <c:pt idx="204">
                  <c:v>19.268189573311364</c:v>
                </c:pt>
                <c:pt idx="205">
                  <c:v>19.268189573311364</c:v>
                </c:pt>
                <c:pt idx="206">
                  <c:v>19.268189573311364</c:v>
                </c:pt>
                <c:pt idx="207">
                  <c:v>19.268189573311364</c:v>
                </c:pt>
                <c:pt idx="208">
                  <c:v>19.268189573311364</c:v>
                </c:pt>
                <c:pt idx="209">
                  <c:v>19.268189573311364</c:v>
                </c:pt>
                <c:pt idx="210">
                  <c:v>19.268189573311364</c:v>
                </c:pt>
                <c:pt idx="211">
                  <c:v>19.268189573311364</c:v>
                </c:pt>
                <c:pt idx="212">
                  <c:v>19.268189573311364</c:v>
                </c:pt>
                <c:pt idx="213">
                  <c:v>19.268189573311364</c:v>
                </c:pt>
                <c:pt idx="214">
                  <c:v>19.268189573311364</c:v>
                </c:pt>
                <c:pt idx="215">
                  <c:v>19.268189573311364</c:v>
                </c:pt>
                <c:pt idx="216">
                  <c:v>19.268189573311364</c:v>
                </c:pt>
                <c:pt idx="217">
                  <c:v>19.268189573311364</c:v>
                </c:pt>
                <c:pt idx="218">
                  <c:v>19.268189573311364</c:v>
                </c:pt>
                <c:pt idx="219">
                  <c:v>19.268189573311364</c:v>
                </c:pt>
                <c:pt idx="220">
                  <c:v>19.268189573311364</c:v>
                </c:pt>
                <c:pt idx="221">
                  <c:v>19.268189573311364</c:v>
                </c:pt>
                <c:pt idx="222">
                  <c:v>19.268189573311364</c:v>
                </c:pt>
                <c:pt idx="223">
                  <c:v>19.268189573311364</c:v>
                </c:pt>
                <c:pt idx="224">
                  <c:v>19.268189573311364</c:v>
                </c:pt>
                <c:pt idx="225">
                  <c:v>19.268189573311364</c:v>
                </c:pt>
                <c:pt idx="226">
                  <c:v>19.268189573311364</c:v>
                </c:pt>
                <c:pt idx="227">
                  <c:v>19.268189573311364</c:v>
                </c:pt>
                <c:pt idx="228">
                  <c:v>19.268189573311364</c:v>
                </c:pt>
                <c:pt idx="229">
                  <c:v>19.268189573311364</c:v>
                </c:pt>
                <c:pt idx="230">
                  <c:v>19.268189573311364</c:v>
                </c:pt>
                <c:pt idx="231">
                  <c:v>19.268189573311364</c:v>
                </c:pt>
                <c:pt idx="232">
                  <c:v>19.268189573311364</c:v>
                </c:pt>
                <c:pt idx="233">
                  <c:v>19.268189573311364</c:v>
                </c:pt>
                <c:pt idx="234">
                  <c:v>19.268189573311364</c:v>
                </c:pt>
                <c:pt idx="235">
                  <c:v>19.268189573311364</c:v>
                </c:pt>
                <c:pt idx="236">
                  <c:v>19.268189573311364</c:v>
                </c:pt>
                <c:pt idx="237">
                  <c:v>19.268189573311364</c:v>
                </c:pt>
                <c:pt idx="238">
                  <c:v>19.268189573311364</c:v>
                </c:pt>
                <c:pt idx="239">
                  <c:v>19.268189573311364</c:v>
                </c:pt>
                <c:pt idx="240">
                  <c:v>19.268189573311364</c:v>
                </c:pt>
                <c:pt idx="241">
                  <c:v>19.268189573311364</c:v>
                </c:pt>
                <c:pt idx="242">
                  <c:v>19.268189573311364</c:v>
                </c:pt>
                <c:pt idx="243">
                  <c:v>19.268189573311364</c:v>
                </c:pt>
                <c:pt idx="244">
                  <c:v>19.268189573311364</c:v>
                </c:pt>
                <c:pt idx="245">
                  <c:v>19.268189573311364</c:v>
                </c:pt>
                <c:pt idx="246">
                  <c:v>19.268189573311364</c:v>
                </c:pt>
                <c:pt idx="247">
                  <c:v>19.268189573311364</c:v>
                </c:pt>
                <c:pt idx="248">
                  <c:v>19.268189573311364</c:v>
                </c:pt>
                <c:pt idx="249">
                  <c:v>19.268189573311364</c:v>
                </c:pt>
                <c:pt idx="250">
                  <c:v>19.268189573311364</c:v>
                </c:pt>
                <c:pt idx="251">
                  <c:v>19.268189573311364</c:v>
                </c:pt>
                <c:pt idx="252">
                  <c:v>19.268189573311364</c:v>
                </c:pt>
                <c:pt idx="253">
                  <c:v>19.268189573311364</c:v>
                </c:pt>
                <c:pt idx="254">
                  <c:v>19.268189573311364</c:v>
                </c:pt>
                <c:pt idx="255">
                  <c:v>19.268189573311364</c:v>
                </c:pt>
                <c:pt idx="256">
                  <c:v>19.268189573311364</c:v>
                </c:pt>
                <c:pt idx="257">
                  <c:v>19.268189573311364</c:v>
                </c:pt>
                <c:pt idx="258">
                  <c:v>19.268189573311364</c:v>
                </c:pt>
                <c:pt idx="259">
                  <c:v>19.268189573311364</c:v>
                </c:pt>
                <c:pt idx="260">
                  <c:v>19.268189573311364</c:v>
                </c:pt>
                <c:pt idx="261">
                  <c:v>19.268189573311364</c:v>
                </c:pt>
                <c:pt idx="262">
                  <c:v>19.268189573311364</c:v>
                </c:pt>
                <c:pt idx="263">
                  <c:v>19.268189573311364</c:v>
                </c:pt>
                <c:pt idx="264">
                  <c:v>19.268189573311364</c:v>
                </c:pt>
                <c:pt idx="265">
                  <c:v>19.268189573311364</c:v>
                </c:pt>
                <c:pt idx="266">
                  <c:v>19.268189573311364</c:v>
                </c:pt>
                <c:pt idx="267">
                  <c:v>19.268189573311364</c:v>
                </c:pt>
                <c:pt idx="268">
                  <c:v>19.268189573311364</c:v>
                </c:pt>
                <c:pt idx="269">
                  <c:v>19.268189573311364</c:v>
                </c:pt>
                <c:pt idx="270">
                  <c:v>19.268189573311364</c:v>
                </c:pt>
                <c:pt idx="271">
                  <c:v>19.268189573311364</c:v>
                </c:pt>
                <c:pt idx="272">
                  <c:v>19.268189573311364</c:v>
                </c:pt>
                <c:pt idx="273">
                  <c:v>19.268189573311364</c:v>
                </c:pt>
                <c:pt idx="274">
                  <c:v>19.268189573311364</c:v>
                </c:pt>
                <c:pt idx="275">
                  <c:v>19.268189573311364</c:v>
                </c:pt>
                <c:pt idx="276">
                  <c:v>19.268189573311364</c:v>
                </c:pt>
                <c:pt idx="277">
                  <c:v>19.268189573311364</c:v>
                </c:pt>
                <c:pt idx="278">
                  <c:v>19.268189573311364</c:v>
                </c:pt>
                <c:pt idx="279">
                  <c:v>19.268189573311364</c:v>
                </c:pt>
                <c:pt idx="280">
                  <c:v>19.268189573311364</c:v>
                </c:pt>
                <c:pt idx="281">
                  <c:v>19.268189573311364</c:v>
                </c:pt>
                <c:pt idx="282">
                  <c:v>19.268189573311364</c:v>
                </c:pt>
                <c:pt idx="283">
                  <c:v>19.268189573311364</c:v>
                </c:pt>
                <c:pt idx="284">
                  <c:v>19.268189573311364</c:v>
                </c:pt>
                <c:pt idx="285">
                  <c:v>19.268189573311364</c:v>
                </c:pt>
                <c:pt idx="286">
                  <c:v>19.268189573311364</c:v>
                </c:pt>
                <c:pt idx="287">
                  <c:v>19.268189573311364</c:v>
                </c:pt>
                <c:pt idx="288">
                  <c:v>19.268189573311364</c:v>
                </c:pt>
                <c:pt idx="289">
                  <c:v>19.268189573311364</c:v>
                </c:pt>
                <c:pt idx="290">
                  <c:v>19.268189573311364</c:v>
                </c:pt>
                <c:pt idx="291">
                  <c:v>19.268189573311364</c:v>
                </c:pt>
                <c:pt idx="292">
                  <c:v>19.268189573311364</c:v>
                </c:pt>
                <c:pt idx="293">
                  <c:v>19.268189573311364</c:v>
                </c:pt>
                <c:pt idx="294">
                  <c:v>19.268189573311364</c:v>
                </c:pt>
                <c:pt idx="295">
                  <c:v>19.268189573311364</c:v>
                </c:pt>
                <c:pt idx="296">
                  <c:v>19.268189573311364</c:v>
                </c:pt>
                <c:pt idx="297">
                  <c:v>19.268189573311364</c:v>
                </c:pt>
                <c:pt idx="298">
                  <c:v>19.268189573311364</c:v>
                </c:pt>
                <c:pt idx="299">
                  <c:v>19.268189573311364</c:v>
                </c:pt>
                <c:pt idx="300">
                  <c:v>19.268189573311364</c:v>
                </c:pt>
                <c:pt idx="301">
                  <c:v>19.268189573311364</c:v>
                </c:pt>
                <c:pt idx="302">
                  <c:v>19.268189573311364</c:v>
                </c:pt>
                <c:pt idx="303">
                  <c:v>19.268189573311364</c:v>
                </c:pt>
                <c:pt idx="304">
                  <c:v>19.268189573311364</c:v>
                </c:pt>
                <c:pt idx="305">
                  <c:v>19.268189573311364</c:v>
                </c:pt>
                <c:pt idx="306">
                  <c:v>19.268189573311364</c:v>
                </c:pt>
                <c:pt idx="307">
                  <c:v>19.268189573311364</c:v>
                </c:pt>
                <c:pt idx="308">
                  <c:v>19.268189573311364</c:v>
                </c:pt>
                <c:pt idx="309">
                  <c:v>19.268189573311364</c:v>
                </c:pt>
                <c:pt idx="310">
                  <c:v>19.268189573311364</c:v>
                </c:pt>
                <c:pt idx="311">
                  <c:v>19.268189573311364</c:v>
                </c:pt>
                <c:pt idx="312">
                  <c:v>19.268189573311364</c:v>
                </c:pt>
                <c:pt idx="313">
                  <c:v>19.268189573311364</c:v>
                </c:pt>
                <c:pt idx="314">
                  <c:v>19.268189573311364</c:v>
                </c:pt>
                <c:pt idx="315">
                  <c:v>19.268189573311364</c:v>
                </c:pt>
                <c:pt idx="316">
                  <c:v>19.268189573311364</c:v>
                </c:pt>
                <c:pt idx="317">
                  <c:v>19.268189573311364</c:v>
                </c:pt>
                <c:pt idx="318">
                  <c:v>19.268189573311364</c:v>
                </c:pt>
                <c:pt idx="319">
                  <c:v>19.268189573311364</c:v>
                </c:pt>
                <c:pt idx="320">
                  <c:v>19.268189573311364</c:v>
                </c:pt>
                <c:pt idx="321">
                  <c:v>19.268189573311364</c:v>
                </c:pt>
                <c:pt idx="322">
                  <c:v>19.268189573311364</c:v>
                </c:pt>
                <c:pt idx="323">
                  <c:v>19.268189573311364</c:v>
                </c:pt>
                <c:pt idx="324">
                  <c:v>19.268189573311364</c:v>
                </c:pt>
                <c:pt idx="325">
                  <c:v>19.268189573311364</c:v>
                </c:pt>
                <c:pt idx="326">
                  <c:v>19.268189573311364</c:v>
                </c:pt>
                <c:pt idx="327">
                  <c:v>19.268189573311364</c:v>
                </c:pt>
                <c:pt idx="328">
                  <c:v>19.268189573311364</c:v>
                </c:pt>
                <c:pt idx="329">
                  <c:v>19.268189573311364</c:v>
                </c:pt>
                <c:pt idx="330">
                  <c:v>19.268189573311364</c:v>
                </c:pt>
                <c:pt idx="331">
                  <c:v>19.268189573311364</c:v>
                </c:pt>
                <c:pt idx="332">
                  <c:v>19.268189573311364</c:v>
                </c:pt>
                <c:pt idx="333">
                  <c:v>19.268189573311364</c:v>
                </c:pt>
                <c:pt idx="334">
                  <c:v>19.268189573311364</c:v>
                </c:pt>
                <c:pt idx="335">
                  <c:v>19.268189573311364</c:v>
                </c:pt>
                <c:pt idx="336">
                  <c:v>19.268189573311364</c:v>
                </c:pt>
                <c:pt idx="337">
                  <c:v>19.268189573311364</c:v>
                </c:pt>
                <c:pt idx="338">
                  <c:v>19.268189573311364</c:v>
                </c:pt>
                <c:pt idx="339">
                  <c:v>19.268189573311364</c:v>
                </c:pt>
                <c:pt idx="340">
                  <c:v>19.268189573311364</c:v>
                </c:pt>
                <c:pt idx="341">
                  <c:v>19.268189573311364</c:v>
                </c:pt>
                <c:pt idx="342">
                  <c:v>19.268189573311364</c:v>
                </c:pt>
                <c:pt idx="343">
                  <c:v>19.268189573311364</c:v>
                </c:pt>
                <c:pt idx="344">
                  <c:v>19.268189573311364</c:v>
                </c:pt>
                <c:pt idx="345">
                  <c:v>19.268189573311364</c:v>
                </c:pt>
                <c:pt idx="346">
                  <c:v>19.268189573311364</c:v>
                </c:pt>
                <c:pt idx="347">
                  <c:v>19.268189573311364</c:v>
                </c:pt>
                <c:pt idx="348">
                  <c:v>19.268189573311364</c:v>
                </c:pt>
                <c:pt idx="349">
                  <c:v>19.268189573311364</c:v>
                </c:pt>
                <c:pt idx="350">
                  <c:v>19.268189573311364</c:v>
                </c:pt>
                <c:pt idx="351">
                  <c:v>19.268189573311364</c:v>
                </c:pt>
                <c:pt idx="352">
                  <c:v>19.268189573311364</c:v>
                </c:pt>
                <c:pt idx="353">
                  <c:v>19.268189573311364</c:v>
                </c:pt>
                <c:pt idx="354">
                  <c:v>19.268189573311364</c:v>
                </c:pt>
                <c:pt idx="355">
                  <c:v>19.268189573311364</c:v>
                </c:pt>
                <c:pt idx="356">
                  <c:v>19.268189573311364</c:v>
                </c:pt>
                <c:pt idx="357">
                  <c:v>19.268189573311364</c:v>
                </c:pt>
                <c:pt idx="358">
                  <c:v>19.268189573311364</c:v>
                </c:pt>
                <c:pt idx="359">
                  <c:v>19.268189573311364</c:v>
                </c:pt>
                <c:pt idx="360">
                  <c:v>19.268189573311364</c:v>
                </c:pt>
                <c:pt idx="361">
                  <c:v>19.268189573311364</c:v>
                </c:pt>
                <c:pt idx="362">
                  <c:v>19.268189573311364</c:v>
                </c:pt>
                <c:pt idx="363">
                  <c:v>19.268189573311364</c:v>
                </c:pt>
                <c:pt idx="364">
                  <c:v>19.268189573311364</c:v>
                </c:pt>
                <c:pt idx="365">
                  <c:v>19.268189573311364</c:v>
                </c:pt>
                <c:pt idx="366">
                  <c:v>19.268189573311364</c:v>
                </c:pt>
                <c:pt idx="367">
                  <c:v>19.268189573311364</c:v>
                </c:pt>
                <c:pt idx="368">
                  <c:v>19.268189573311364</c:v>
                </c:pt>
                <c:pt idx="369">
                  <c:v>19.268189573311364</c:v>
                </c:pt>
                <c:pt idx="370">
                  <c:v>19.268189573311364</c:v>
                </c:pt>
                <c:pt idx="371">
                  <c:v>19.268189573311364</c:v>
                </c:pt>
                <c:pt idx="372">
                  <c:v>19.268189573311364</c:v>
                </c:pt>
                <c:pt idx="373">
                  <c:v>19.268189573311364</c:v>
                </c:pt>
                <c:pt idx="374">
                  <c:v>19.268189573311364</c:v>
                </c:pt>
                <c:pt idx="375">
                  <c:v>19.268189573311364</c:v>
                </c:pt>
                <c:pt idx="376">
                  <c:v>19.268189573311364</c:v>
                </c:pt>
                <c:pt idx="377">
                  <c:v>19.268189573311364</c:v>
                </c:pt>
                <c:pt idx="378">
                  <c:v>19.268189573311364</c:v>
                </c:pt>
                <c:pt idx="379">
                  <c:v>19.268189573311364</c:v>
                </c:pt>
                <c:pt idx="380">
                  <c:v>19.268189573311364</c:v>
                </c:pt>
                <c:pt idx="381">
                  <c:v>19.268189573311364</c:v>
                </c:pt>
                <c:pt idx="382">
                  <c:v>19.268189573311364</c:v>
                </c:pt>
                <c:pt idx="383">
                  <c:v>19.268189573311364</c:v>
                </c:pt>
                <c:pt idx="384">
                  <c:v>19.268189573311364</c:v>
                </c:pt>
                <c:pt idx="385">
                  <c:v>19.268189573311364</c:v>
                </c:pt>
                <c:pt idx="386">
                  <c:v>19.268189573311364</c:v>
                </c:pt>
                <c:pt idx="387">
                  <c:v>19.268189573311364</c:v>
                </c:pt>
                <c:pt idx="388">
                  <c:v>19.268189573311364</c:v>
                </c:pt>
                <c:pt idx="389">
                  <c:v>19.268189573311364</c:v>
                </c:pt>
                <c:pt idx="390">
                  <c:v>19.268189573311364</c:v>
                </c:pt>
                <c:pt idx="391">
                  <c:v>19.268189573311364</c:v>
                </c:pt>
                <c:pt idx="392">
                  <c:v>19.268189573311364</c:v>
                </c:pt>
                <c:pt idx="393">
                  <c:v>19.268189573311364</c:v>
                </c:pt>
                <c:pt idx="394">
                  <c:v>19.268189573311364</c:v>
                </c:pt>
                <c:pt idx="395">
                  <c:v>19.268189573311364</c:v>
                </c:pt>
                <c:pt idx="396">
                  <c:v>19.268189573311364</c:v>
                </c:pt>
                <c:pt idx="397">
                  <c:v>19.268189573311364</c:v>
                </c:pt>
                <c:pt idx="398">
                  <c:v>19.268189573311364</c:v>
                </c:pt>
                <c:pt idx="399">
                  <c:v>19.268189573311364</c:v>
                </c:pt>
                <c:pt idx="400">
                  <c:v>19.268189573311364</c:v>
                </c:pt>
                <c:pt idx="401">
                  <c:v>19.268189573311364</c:v>
                </c:pt>
                <c:pt idx="402">
                  <c:v>19.268189573311364</c:v>
                </c:pt>
                <c:pt idx="403">
                  <c:v>19.268189573311364</c:v>
                </c:pt>
                <c:pt idx="404">
                  <c:v>19.268189573311364</c:v>
                </c:pt>
                <c:pt idx="405">
                  <c:v>19.268189573311364</c:v>
                </c:pt>
                <c:pt idx="406">
                  <c:v>19.268189573311364</c:v>
                </c:pt>
                <c:pt idx="407">
                  <c:v>19.268189573311364</c:v>
                </c:pt>
                <c:pt idx="408">
                  <c:v>19.268189573311364</c:v>
                </c:pt>
                <c:pt idx="409">
                  <c:v>19.268189573311364</c:v>
                </c:pt>
                <c:pt idx="410">
                  <c:v>19.268189573311364</c:v>
                </c:pt>
                <c:pt idx="411">
                  <c:v>19.268189573311364</c:v>
                </c:pt>
                <c:pt idx="412">
                  <c:v>19.268189573311364</c:v>
                </c:pt>
                <c:pt idx="413">
                  <c:v>19.268189573311364</c:v>
                </c:pt>
                <c:pt idx="414">
                  <c:v>19.268189573311364</c:v>
                </c:pt>
                <c:pt idx="415">
                  <c:v>19.268189573311364</c:v>
                </c:pt>
                <c:pt idx="416">
                  <c:v>19.268189573311364</c:v>
                </c:pt>
                <c:pt idx="417">
                  <c:v>19.268189573311364</c:v>
                </c:pt>
                <c:pt idx="418">
                  <c:v>19.268189573311364</c:v>
                </c:pt>
                <c:pt idx="419">
                  <c:v>19.268189573311364</c:v>
                </c:pt>
                <c:pt idx="420">
                  <c:v>19.268189573311364</c:v>
                </c:pt>
                <c:pt idx="421">
                  <c:v>19.268189573311364</c:v>
                </c:pt>
                <c:pt idx="422">
                  <c:v>19.268189573311364</c:v>
                </c:pt>
                <c:pt idx="423">
                  <c:v>19.268189573311364</c:v>
                </c:pt>
                <c:pt idx="424">
                  <c:v>19.268189573311364</c:v>
                </c:pt>
                <c:pt idx="425">
                  <c:v>19.268189573311364</c:v>
                </c:pt>
                <c:pt idx="426">
                  <c:v>19.268189573311364</c:v>
                </c:pt>
                <c:pt idx="427">
                  <c:v>19.268189573311364</c:v>
                </c:pt>
                <c:pt idx="428">
                  <c:v>19.268189573311364</c:v>
                </c:pt>
                <c:pt idx="429">
                  <c:v>19.268189573311364</c:v>
                </c:pt>
                <c:pt idx="430">
                  <c:v>19.268189573311364</c:v>
                </c:pt>
                <c:pt idx="431">
                  <c:v>19.268189573311364</c:v>
                </c:pt>
                <c:pt idx="432">
                  <c:v>19.268189573311364</c:v>
                </c:pt>
                <c:pt idx="433">
                  <c:v>19.268189573311364</c:v>
                </c:pt>
                <c:pt idx="434">
                  <c:v>19.268189573311364</c:v>
                </c:pt>
                <c:pt idx="435">
                  <c:v>19.268189573311364</c:v>
                </c:pt>
                <c:pt idx="436">
                  <c:v>19.268189573311364</c:v>
                </c:pt>
                <c:pt idx="437">
                  <c:v>19.268189573311364</c:v>
                </c:pt>
                <c:pt idx="438">
                  <c:v>19.268189573311364</c:v>
                </c:pt>
                <c:pt idx="439">
                  <c:v>19.268189573311364</c:v>
                </c:pt>
                <c:pt idx="440">
                  <c:v>19.268189573311364</c:v>
                </c:pt>
                <c:pt idx="441">
                  <c:v>19.268189573311364</c:v>
                </c:pt>
                <c:pt idx="442">
                  <c:v>19.268189573311364</c:v>
                </c:pt>
                <c:pt idx="443">
                  <c:v>19.268189573311364</c:v>
                </c:pt>
                <c:pt idx="444">
                  <c:v>19.268189573311364</c:v>
                </c:pt>
                <c:pt idx="445">
                  <c:v>19.268189573311364</c:v>
                </c:pt>
                <c:pt idx="446">
                  <c:v>19.268189573311364</c:v>
                </c:pt>
                <c:pt idx="447">
                  <c:v>19.268189573311364</c:v>
                </c:pt>
                <c:pt idx="448">
                  <c:v>19.268189573311364</c:v>
                </c:pt>
                <c:pt idx="449">
                  <c:v>19.268189573311364</c:v>
                </c:pt>
                <c:pt idx="450">
                  <c:v>19.268189573311364</c:v>
                </c:pt>
                <c:pt idx="451">
                  <c:v>19.268189573311364</c:v>
                </c:pt>
                <c:pt idx="452">
                  <c:v>19.268189573311364</c:v>
                </c:pt>
                <c:pt idx="453">
                  <c:v>19.268189573311364</c:v>
                </c:pt>
                <c:pt idx="454">
                  <c:v>19.268189573311364</c:v>
                </c:pt>
                <c:pt idx="455">
                  <c:v>19.268189573311364</c:v>
                </c:pt>
                <c:pt idx="456">
                  <c:v>19.268189573311364</c:v>
                </c:pt>
                <c:pt idx="457">
                  <c:v>19.268189573311364</c:v>
                </c:pt>
                <c:pt idx="458">
                  <c:v>19.268189573311364</c:v>
                </c:pt>
                <c:pt idx="459">
                  <c:v>19.268189573311364</c:v>
                </c:pt>
                <c:pt idx="460">
                  <c:v>19.268189573311364</c:v>
                </c:pt>
                <c:pt idx="461">
                  <c:v>19.268189573311364</c:v>
                </c:pt>
                <c:pt idx="462">
                  <c:v>19.268189573311364</c:v>
                </c:pt>
                <c:pt idx="463">
                  <c:v>19.268189573311364</c:v>
                </c:pt>
                <c:pt idx="464">
                  <c:v>19.268189573311364</c:v>
                </c:pt>
                <c:pt idx="465">
                  <c:v>19.268189573311364</c:v>
                </c:pt>
                <c:pt idx="466">
                  <c:v>19.268189573311364</c:v>
                </c:pt>
                <c:pt idx="467">
                  <c:v>19.268189573311364</c:v>
                </c:pt>
                <c:pt idx="468">
                  <c:v>19.268189573311364</c:v>
                </c:pt>
                <c:pt idx="469">
                  <c:v>19.268189573311364</c:v>
                </c:pt>
                <c:pt idx="470">
                  <c:v>19.268189573311364</c:v>
                </c:pt>
                <c:pt idx="471">
                  <c:v>19.268189573311364</c:v>
                </c:pt>
                <c:pt idx="472">
                  <c:v>19.268189573311364</c:v>
                </c:pt>
                <c:pt idx="473">
                  <c:v>19.268189573311364</c:v>
                </c:pt>
                <c:pt idx="474">
                  <c:v>19.268189573311364</c:v>
                </c:pt>
                <c:pt idx="475">
                  <c:v>19.268189573311364</c:v>
                </c:pt>
                <c:pt idx="476">
                  <c:v>19.268189573311364</c:v>
                </c:pt>
                <c:pt idx="477">
                  <c:v>19.268189573311364</c:v>
                </c:pt>
                <c:pt idx="478">
                  <c:v>19.268189573311364</c:v>
                </c:pt>
                <c:pt idx="479">
                  <c:v>19.268189573311364</c:v>
                </c:pt>
                <c:pt idx="480">
                  <c:v>19.268189573311364</c:v>
                </c:pt>
                <c:pt idx="481">
                  <c:v>19.268189573311364</c:v>
                </c:pt>
                <c:pt idx="482">
                  <c:v>19.268189573311364</c:v>
                </c:pt>
                <c:pt idx="483">
                  <c:v>19.268189573311364</c:v>
                </c:pt>
                <c:pt idx="484">
                  <c:v>19.268189573311364</c:v>
                </c:pt>
                <c:pt idx="485">
                  <c:v>19.268189573311364</c:v>
                </c:pt>
                <c:pt idx="486">
                  <c:v>19.268189573311364</c:v>
                </c:pt>
                <c:pt idx="487">
                  <c:v>19.268189573311364</c:v>
                </c:pt>
                <c:pt idx="488">
                  <c:v>19.268189573311364</c:v>
                </c:pt>
                <c:pt idx="489">
                  <c:v>19.268189573311364</c:v>
                </c:pt>
                <c:pt idx="490">
                  <c:v>19.268189573311364</c:v>
                </c:pt>
                <c:pt idx="491">
                  <c:v>19.268189573311364</c:v>
                </c:pt>
                <c:pt idx="492">
                  <c:v>19.268189573311364</c:v>
                </c:pt>
                <c:pt idx="493">
                  <c:v>19.268189573311364</c:v>
                </c:pt>
                <c:pt idx="494">
                  <c:v>19.268189573311364</c:v>
                </c:pt>
                <c:pt idx="495">
                  <c:v>19.268189573311364</c:v>
                </c:pt>
                <c:pt idx="496">
                  <c:v>19.268189573311364</c:v>
                </c:pt>
                <c:pt idx="497">
                  <c:v>19.268189573311364</c:v>
                </c:pt>
                <c:pt idx="498">
                  <c:v>19.268189573311364</c:v>
                </c:pt>
                <c:pt idx="499">
                  <c:v>19.268189573311364</c:v>
                </c:pt>
                <c:pt idx="500">
                  <c:v>19.268189573311364</c:v>
                </c:pt>
                <c:pt idx="501">
                  <c:v>19.268189573311364</c:v>
                </c:pt>
                <c:pt idx="502">
                  <c:v>19.268189573311364</c:v>
                </c:pt>
                <c:pt idx="503">
                  <c:v>19.268189573311364</c:v>
                </c:pt>
                <c:pt idx="504">
                  <c:v>19.268189573311364</c:v>
                </c:pt>
                <c:pt idx="505">
                  <c:v>19.268189573311364</c:v>
                </c:pt>
                <c:pt idx="506">
                  <c:v>19.268189573311364</c:v>
                </c:pt>
                <c:pt idx="507">
                  <c:v>19.268189573311364</c:v>
                </c:pt>
                <c:pt idx="508">
                  <c:v>19.268189573311364</c:v>
                </c:pt>
                <c:pt idx="509">
                  <c:v>19.268189573311364</c:v>
                </c:pt>
                <c:pt idx="510">
                  <c:v>19.268189573311364</c:v>
                </c:pt>
                <c:pt idx="511">
                  <c:v>19.268189573311364</c:v>
                </c:pt>
                <c:pt idx="512">
                  <c:v>19.268189573311364</c:v>
                </c:pt>
                <c:pt idx="513">
                  <c:v>19.268189573311364</c:v>
                </c:pt>
                <c:pt idx="514">
                  <c:v>19.268189573311364</c:v>
                </c:pt>
                <c:pt idx="515">
                  <c:v>19.268189573311364</c:v>
                </c:pt>
                <c:pt idx="516">
                  <c:v>19.268189573311364</c:v>
                </c:pt>
                <c:pt idx="517">
                  <c:v>19.268189573311364</c:v>
                </c:pt>
                <c:pt idx="518">
                  <c:v>19.268189573311364</c:v>
                </c:pt>
                <c:pt idx="519">
                  <c:v>19.268189573311364</c:v>
                </c:pt>
                <c:pt idx="520">
                  <c:v>19.268189573311364</c:v>
                </c:pt>
                <c:pt idx="521">
                  <c:v>19.268189573311364</c:v>
                </c:pt>
                <c:pt idx="522">
                  <c:v>19.268189573311364</c:v>
                </c:pt>
                <c:pt idx="523">
                  <c:v>19.268189573311364</c:v>
                </c:pt>
                <c:pt idx="524">
                  <c:v>19.268189573311364</c:v>
                </c:pt>
                <c:pt idx="525">
                  <c:v>19.268189573311364</c:v>
                </c:pt>
                <c:pt idx="526">
                  <c:v>19.268189573311364</c:v>
                </c:pt>
                <c:pt idx="527">
                  <c:v>19.268189573311364</c:v>
                </c:pt>
                <c:pt idx="528">
                  <c:v>19.268189573311364</c:v>
                </c:pt>
                <c:pt idx="529">
                  <c:v>19.268189573311364</c:v>
                </c:pt>
                <c:pt idx="530">
                  <c:v>19.268189573311364</c:v>
                </c:pt>
                <c:pt idx="531">
                  <c:v>19.268189573311364</c:v>
                </c:pt>
                <c:pt idx="532">
                  <c:v>19.268189573311364</c:v>
                </c:pt>
                <c:pt idx="533">
                  <c:v>19.268189573311364</c:v>
                </c:pt>
                <c:pt idx="534">
                  <c:v>19.268189573311364</c:v>
                </c:pt>
                <c:pt idx="535">
                  <c:v>19.268189573311364</c:v>
                </c:pt>
                <c:pt idx="536">
                  <c:v>19.268189573311364</c:v>
                </c:pt>
                <c:pt idx="537">
                  <c:v>19.268189573311364</c:v>
                </c:pt>
                <c:pt idx="538">
                  <c:v>19.268189573311364</c:v>
                </c:pt>
                <c:pt idx="539">
                  <c:v>19.268189573311364</c:v>
                </c:pt>
                <c:pt idx="540">
                  <c:v>19.268189573311364</c:v>
                </c:pt>
                <c:pt idx="541">
                  <c:v>19.268189573311364</c:v>
                </c:pt>
                <c:pt idx="542">
                  <c:v>19.268189573311364</c:v>
                </c:pt>
                <c:pt idx="543">
                  <c:v>19.268189573311364</c:v>
                </c:pt>
                <c:pt idx="544">
                  <c:v>19.268189573311364</c:v>
                </c:pt>
                <c:pt idx="545">
                  <c:v>19.268189573311364</c:v>
                </c:pt>
                <c:pt idx="546">
                  <c:v>19.268189573311364</c:v>
                </c:pt>
                <c:pt idx="547">
                  <c:v>19.268189573311364</c:v>
                </c:pt>
                <c:pt idx="548">
                  <c:v>19.268189573311364</c:v>
                </c:pt>
                <c:pt idx="549">
                  <c:v>19.268189573311364</c:v>
                </c:pt>
                <c:pt idx="550">
                  <c:v>19.268189573311364</c:v>
                </c:pt>
                <c:pt idx="551">
                  <c:v>19.268189573311364</c:v>
                </c:pt>
                <c:pt idx="552">
                  <c:v>19.268189573311364</c:v>
                </c:pt>
                <c:pt idx="553">
                  <c:v>19.268189573311364</c:v>
                </c:pt>
                <c:pt idx="554">
                  <c:v>19.268189573311364</c:v>
                </c:pt>
                <c:pt idx="555">
                  <c:v>19.268189573311364</c:v>
                </c:pt>
                <c:pt idx="556">
                  <c:v>19.268189573311364</c:v>
                </c:pt>
                <c:pt idx="557">
                  <c:v>19.268189573311364</c:v>
                </c:pt>
                <c:pt idx="558">
                  <c:v>19.268189573311364</c:v>
                </c:pt>
                <c:pt idx="559">
                  <c:v>19.268189573311364</c:v>
                </c:pt>
                <c:pt idx="560">
                  <c:v>19.268189573311364</c:v>
                </c:pt>
                <c:pt idx="561">
                  <c:v>19.268189573311364</c:v>
                </c:pt>
                <c:pt idx="562">
                  <c:v>19.268189573311364</c:v>
                </c:pt>
                <c:pt idx="563">
                  <c:v>19.268189573311364</c:v>
                </c:pt>
                <c:pt idx="564">
                  <c:v>19.268189573311364</c:v>
                </c:pt>
                <c:pt idx="565">
                  <c:v>19.268189573311364</c:v>
                </c:pt>
                <c:pt idx="566">
                  <c:v>19.268189573311364</c:v>
                </c:pt>
                <c:pt idx="567">
                  <c:v>19.268189573311364</c:v>
                </c:pt>
                <c:pt idx="568">
                  <c:v>19.268189573311364</c:v>
                </c:pt>
                <c:pt idx="569">
                  <c:v>19.268189573311364</c:v>
                </c:pt>
                <c:pt idx="570">
                  <c:v>19.268189573311364</c:v>
                </c:pt>
                <c:pt idx="571">
                  <c:v>19.268189573311364</c:v>
                </c:pt>
                <c:pt idx="572">
                  <c:v>19.268189573311364</c:v>
                </c:pt>
                <c:pt idx="573">
                  <c:v>19.268189573311364</c:v>
                </c:pt>
                <c:pt idx="574">
                  <c:v>19.268189573311364</c:v>
                </c:pt>
                <c:pt idx="575">
                  <c:v>19.268189573311364</c:v>
                </c:pt>
                <c:pt idx="576">
                  <c:v>19.268189573311364</c:v>
                </c:pt>
                <c:pt idx="577">
                  <c:v>19.268189573311364</c:v>
                </c:pt>
                <c:pt idx="578">
                  <c:v>19.268189573311364</c:v>
                </c:pt>
                <c:pt idx="579">
                  <c:v>19.268189573311364</c:v>
                </c:pt>
                <c:pt idx="580">
                  <c:v>19.268189573311364</c:v>
                </c:pt>
                <c:pt idx="581">
                  <c:v>19.268189573311364</c:v>
                </c:pt>
                <c:pt idx="582">
                  <c:v>19.268189573311364</c:v>
                </c:pt>
                <c:pt idx="583">
                  <c:v>19.268189573311364</c:v>
                </c:pt>
                <c:pt idx="584">
                  <c:v>19.268189573311364</c:v>
                </c:pt>
                <c:pt idx="585">
                  <c:v>19.268189573311364</c:v>
                </c:pt>
                <c:pt idx="586">
                  <c:v>19.268189573311364</c:v>
                </c:pt>
                <c:pt idx="587">
                  <c:v>19.268189573311364</c:v>
                </c:pt>
                <c:pt idx="588">
                  <c:v>19.268189573311364</c:v>
                </c:pt>
                <c:pt idx="589">
                  <c:v>19.268189573311364</c:v>
                </c:pt>
                <c:pt idx="590">
                  <c:v>19.268189573311364</c:v>
                </c:pt>
                <c:pt idx="591">
                  <c:v>19.268189573311364</c:v>
                </c:pt>
                <c:pt idx="592">
                  <c:v>19.268189573311364</c:v>
                </c:pt>
                <c:pt idx="593">
                  <c:v>19.268189573311364</c:v>
                </c:pt>
                <c:pt idx="594">
                  <c:v>19.268189573311364</c:v>
                </c:pt>
                <c:pt idx="595">
                  <c:v>19.268189573311364</c:v>
                </c:pt>
                <c:pt idx="596">
                  <c:v>19.268189573311364</c:v>
                </c:pt>
                <c:pt idx="597">
                  <c:v>19.268189573311364</c:v>
                </c:pt>
                <c:pt idx="598">
                  <c:v>19.268189573311364</c:v>
                </c:pt>
                <c:pt idx="599">
                  <c:v>19.268189573311364</c:v>
                </c:pt>
                <c:pt idx="600">
                  <c:v>19.268189573311364</c:v>
                </c:pt>
                <c:pt idx="601">
                  <c:v>19.268189573311364</c:v>
                </c:pt>
                <c:pt idx="602">
                  <c:v>19.268189573311364</c:v>
                </c:pt>
                <c:pt idx="603">
                  <c:v>19.268189573311364</c:v>
                </c:pt>
                <c:pt idx="604">
                  <c:v>19.268189573311364</c:v>
                </c:pt>
                <c:pt idx="605">
                  <c:v>19.268189573311364</c:v>
                </c:pt>
                <c:pt idx="606">
                  <c:v>19.268189573311364</c:v>
                </c:pt>
                <c:pt idx="607">
                  <c:v>19.268189573311364</c:v>
                </c:pt>
                <c:pt idx="608">
                  <c:v>19.268189573311364</c:v>
                </c:pt>
                <c:pt idx="609">
                  <c:v>19.268189573311364</c:v>
                </c:pt>
                <c:pt idx="610">
                  <c:v>19.268189573311364</c:v>
                </c:pt>
                <c:pt idx="611">
                  <c:v>19.268189573311364</c:v>
                </c:pt>
                <c:pt idx="612">
                  <c:v>19.268189573311364</c:v>
                </c:pt>
                <c:pt idx="613">
                  <c:v>19.268189573311364</c:v>
                </c:pt>
                <c:pt idx="614">
                  <c:v>19.268189573311364</c:v>
                </c:pt>
                <c:pt idx="615">
                  <c:v>19.268189573311364</c:v>
                </c:pt>
                <c:pt idx="616">
                  <c:v>19.268189573311364</c:v>
                </c:pt>
                <c:pt idx="617">
                  <c:v>19.268189573311364</c:v>
                </c:pt>
                <c:pt idx="618">
                  <c:v>19.268189573311364</c:v>
                </c:pt>
                <c:pt idx="619">
                  <c:v>19.268189573311364</c:v>
                </c:pt>
                <c:pt idx="620">
                  <c:v>19.268189573311364</c:v>
                </c:pt>
                <c:pt idx="621">
                  <c:v>19.268189573311364</c:v>
                </c:pt>
                <c:pt idx="622">
                  <c:v>19.268189573311364</c:v>
                </c:pt>
                <c:pt idx="623">
                  <c:v>19.268189573311364</c:v>
                </c:pt>
                <c:pt idx="624">
                  <c:v>19.268189573311364</c:v>
                </c:pt>
                <c:pt idx="625">
                  <c:v>19.268189573311364</c:v>
                </c:pt>
                <c:pt idx="626">
                  <c:v>19.268189573311364</c:v>
                </c:pt>
                <c:pt idx="627">
                  <c:v>19.268189573311364</c:v>
                </c:pt>
                <c:pt idx="628">
                  <c:v>19.268189573311364</c:v>
                </c:pt>
                <c:pt idx="629">
                  <c:v>19.268189573311364</c:v>
                </c:pt>
                <c:pt idx="630">
                  <c:v>19.268189573311364</c:v>
                </c:pt>
                <c:pt idx="631">
                  <c:v>19.268189573311364</c:v>
                </c:pt>
                <c:pt idx="632">
                  <c:v>19.268189573311364</c:v>
                </c:pt>
                <c:pt idx="633">
                  <c:v>19.268189573311364</c:v>
                </c:pt>
                <c:pt idx="634">
                  <c:v>19.268189573311364</c:v>
                </c:pt>
                <c:pt idx="635">
                  <c:v>19.268189573311364</c:v>
                </c:pt>
                <c:pt idx="636">
                  <c:v>19.268189573311364</c:v>
                </c:pt>
                <c:pt idx="637">
                  <c:v>19.268189573311364</c:v>
                </c:pt>
                <c:pt idx="638">
                  <c:v>19.268189573311364</c:v>
                </c:pt>
                <c:pt idx="639">
                  <c:v>19.268189573311364</c:v>
                </c:pt>
                <c:pt idx="640">
                  <c:v>19.268189573311364</c:v>
                </c:pt>
                <c:pt idx="641">
                  <c:v>19.268189573311364</c:v>
                </c:pt>
                <c:pt idx="642">
                  <c:v>19.268189573311364</c:v>
                </c:pt>
                <c:pt idx="643">
                  <c:v>19.268189573311364</c:v>
                </c:pt>
                <c:pt idx="644">
                  <c:v>19.268189573311364</c:v>
                </c:pt>
                <c:pt idx="645">
                  <c:v>19.268189573311364</c:v>
                </c:pt>
                <c:pt idx="646">
                  <c:v>19.268189573311364</c:v>
                </c:pt>
                <c:pt idx="647">
                  <c:v>19.268189573311364</c:v>
                </c:pt>
                <c:pt idx="648">
                  <c:v>19.268189573311364</c:v>
                </c:pt>
                <c:pt idx="649">
                  <c:v>19.268189573311364</c:v>
                </c:pt>
                <c:pt idx="650">
                  <c:v>19.268189573311364</c:v>
                </c:pt>
                <c:pt idx="651">
                  <c:v>19.268189573311364</c:v>
                </c:pt>
                <c:pt idx="652">
                  <c:v>19.268189573311364</c:v>
                </c:pt>
                <c:pt idx="653">
                  <c:v>19.268189573311364</c:v>
                </c:pt>
                <c:pt idx="654">
                  <c:v>19.268189573311364</c:v>
                </c:pt>
                <c:pt idx="655">
                  <c:v>19.268189573311364</c:v>
                </c:pt>
                <c:pt idx="656">
                  <c:v>19.268189573311364</c:v>
                </c:pt>
                <c:pt idx="657">
                  <c:v>19.268189573311364</c:v>
                </c:pt>
                <c:pt idx="658">
                  <c:v>19.268189573311364</c:v>
                </c:pt>
                <c:pt idx="659">
                  <c:v>19.268189573311364</c:v>
                </c:pt>
                <c:pt idx="660">
                  <c:v>19.268189573311364</c:v>
                </c:pt>
                <c:pt idx="661">
                  <c:v>19.268189573311364</c:v>
                </c:pt>
                <c:pt idx="662">
                  <c:v>19.268189573311364</c:v>
                </c:pt>
                <c:pt idx="663">
                  <c:v>19.268189573311364</c:v>
                </c:pt>
                <c:pt idx="664">
                  <c:v>19.268189573311364</c:v>
                </c:pt>
                <c:pt idx="665">
                  <c:v>19.268189573311364</c:v>
                </c:pt>
                <c:pt idx="666">
                  <c:v>19.268189573311364</c:v>
                </c:pt>
                <c:pt idx="667">
                  <c:v>19.268189573311364</c:v>
                </c:pt>
                <c:pt idx="668">
                  <c:v>19.268189573311364</c:v>
                </c:pt>
                <c:pt idx="669">
                  <c:v>19.268189573311364</c:v>
                </c:pt>
                <c:pt idx="670">
                  <c:v>19.268189573311364</c:v>
                </c:pt>
                <c:pt idx="671">
                  <c:v>19.268189573311364</c:v>
                </c:pt>
                <c:pt idx="672">
                  <c:v>19.268189573311364</c:v>
                </c:pt>
                <c:pt idx="673">
                  <c:v>19.268189573311364</c:v>
                </c:pt>
                <c:pt idx="674">
                  <c:v>19.268189573311364</c:v>
                </c:pt>
                <c:pt idx="675">
                  <c:v>19.268189573311364</c:v>
                </c:pt>
                <c:pt idx="676">
                  <c:v>19.268189573311364</c:v>
                </c:pt>
                <c:pt idx="677">
                  <c:v>19.268189573311364</c:v>
                </c:pt>
                <c:pt idx="678">
                  <c:v>19.268189573311364</c:v>
                </c:pt>
                <c:pt idx="679">
                  <c:v>19.268189573311364</c:v>
                </c:pt>
                <c:pt idx="680">
                  <c:v>19.268189573311364</c:v>
                </c:pt>
                <c:pt idx="681">
                  <c:v>19.268189573311364</c:v>
                </c:pt>
                <c:pt idx="682">
                  <c:v>19.268189573311364</c:v>
                </c:pt>
                <c:pt idx="683">
                  <c:v>19.268189573311364</c:v>
                </c:pt>
                <c:pt idx="684">
                  <c:v>19.268189573311364</c:v>
                </c:pt>
                <c:pt idx="685">
                  <c:v>19.268189573311364</c:v>
                </c:pt>
                <c:pt idx="686">
                  <c:v>19.268189573311364</c:v>
                </c:pt>
                <c:pt idx="687">
                  <c:v>19.268189573311364</c:v>
                </c:pt>
                <c:pt idx="688">
                  <c:v>19.268189573311364</c:v>
                </c:pt>
                <c:pt idx="689">
                  <c:v>19.268189573311364</c:v>
                </c:pt>
                <c:pt idx="690">
                  <c:v>19.268189573311364</c:v>
                </c:pt>
                <c:pt idx="691">
                  <c:v>19.268189573311364</c:v>
                </c:pt>
                <c:pt idx="692">
                  <c:v>19.268189573311364</c:v>
                </c:pt>
                <c:pt idx="693">
                  <c:v>19.268189573311364</c:v>
                </c:pt>
                <c:pt idx="694">
                  <c:v>19.268189573311364</c:v>
                </c:pt>
                <c:pt idx="695">
                  <c:v>19.268189573311364</c:v>
                </c:pt>
                <c:pt idx="696">
                  <c:v>19.268189573311364</c:v>
                </c:pt>
                <c:pt idx="697">
                  <c:v>19.268189573311364</c:v>
                </c:pt>
                <c:pt idx="698">
                  <c:v>19.268189573311364</c:v>
                </c:pt>
                <c:pt idx="699">
                  <c:v>19.268189573311364</c:v>
                </c:pt>
                <c:pt idx="700">
                  <c:v>19.268189573311364</c:v>
                </c:pt>
                <c:pt idx="701">
                  <c:v>19.268189573311364</c:v>
                </c:pt>
                <c:pt idx="702">
                  <c:v>19.268189573311364</c:v>
                </c:pt>
                <c:pt idx="703">
                  <c:v>19.268189573311364</c:v>
                </c:pt>
                <c:pt idx="704">
                  <c:v>19.268189573311364</c:v>
                </c:pt>
                <c:pt idx="705">
                  <c:v>19.268189573311364</c:v>
                </c:pt>
                <c:pt idx="706">
                  <c:v>19.268189573311364</c:v>
                </c:pt>
                <c:pt idx="707">
                  <c:v>19.268189573311364</c:v>
                </c:pt>
                <c:pt idx="708">
                  <c:v>19.268189573311364</c:v>
                </c:pt>
                <c:pt idx="709">
                  <c:v>19.268189573311364</c:v>
                </c:pt>
                <c:pt idx="710">
                  <c:v>19.268189573311364</c:v>
                </c:pt>
                <c:pt idx="711">
                  <c:v>19.268189573311364</c:v>
                </c:pt>
                <c:pt idx="712">
                  <c:v>19.268189573311364</c:v>
                </c:pt>
                <c:pt idx="713">
                  <c:v>19.268189573311364</c:v>
                </c:pt>
                <c:pt idx="714">
                  <c:v>19.268189573311364</c:v>
                </c:pt>
                <c:pt idx="715">
                  <c:v>19.268189573311364</c:v>
                </c:pt>
                <c:pt idx="716">
                  <c:v>19.268189573311364</c:v>
                </c:pt>
                <c:pt idx="717">
                  <c:v>19.268189573311364</c:v>
                </c:pt>
                <c:pt idx="718">
                  <c:v>19.268189573311364</c:v>
                </c:pt>
                <c:pt idx="719">
                  <c:v>19.268189573311364</c:v>
                </c:pt>
                <c:pt idx="720">
                  <c:v>19.268189573311364</c:v>
                </c:pt>
                <c:pt idx="721">
                  <c:v>19.268189573311364</c:v>
                </c:pt>
                <c:pt idx="722">
                  <c:v>19.268189573311364</c:v>
                </c:pt>
                <c:pt idx="723">
                  <c:v>19.268189573311364</c:v>
                </c:pt>
                <c:pt idx="724">
                  <c:v>19.268189573311364</c:v>
                </c:pt>
                <c:pt idx="725">
                  <c:v>19.268189573311364</c:v>
                </c:pt>
                <c:pt idx="726">
                  <c:v>19.268189573311364</c:v>
                </c:pt>
                <c:pt idx="727">
                  <c:v>19.268189573311364</c:v>
                </c:pt>
                <c:pt idx="728">
                  <c:v>19.268189573311364</c:v>
                </c:pt>
                <c:pt idx="729">
                  <c:v>19.268189573311364</c:v>
                </c:pt>
                <c:pt idx="730">
                  <c:v>19.268189573311364</c:v>
                </c:pt>
                <c:pt idx="731">
                  <c:v>19.268189573311364</c:v>
                </c:pt>
                <c:pt idx="732">
                  <c:v>19.268189573311364</c:v>
                </c:pt>
                <c:pt idx="733">
                  <c:v>19.268189573311364</c:v>
                </c:pt>
                <c:pt idx="734">
                  <c:v>19.268189573311364</c:v>
                </c:pt>
                <c:pt idx="735">
                  <c:v>19.268189573311364</c:v>
                </c:pt>
                <c:pt idx="736">
                  <c:v>19.268189573311364</c:v>
                </c:pt>
                <c:pt idx="737">
                  <c:v>19.268189573311364</c:v>
                </c:pt>
                <c:pt idx="738">
                  <c:v>19.268189573311364</c:v>
                </c:pt>
                <c:pt idx="739">
                  <c:v>19.268189573311364</c:v>
                </c:pt>
                <c:pt idx="740">
                  <c:v>19.268189573311364</c:v>
                </c:pt>
                <c:pt idx="741">
                  <c:v>19.268189573311364</c:v>
                </c:pt>
                <c:pt idx="742">
                  <c:v>19.268189573311364</c:v>
                </c:pt>
                <c:pt idx="743">
                  <c:v>19.268189573311364</c:v>
                </c:pt>
                <c:pt idx="744">
                  <c:v>19.268189573311364</c:v>
                </c:pt>
                <c:pt idx="745">
                  <c:v>19.268189573311364</c:v>
                </c:pt>
                <c:pt idx="746">
                  <c:v>19.268189573311364</c:v>
                </c:pt>
                <c:pt idx="747">
                  <c:v>19.268189573311364</c:v>
                </c:pt>
                <c:pt idx="748">
                  <c:v>19.268189573311364</c:v>
                </c:pt>
                <c:pt idx="749">
                  <c:v>19.268189573311364</c:v>
                </c:pt>
                <c:pt idx="750">
                  <c:v>19.268189573311364</c:v>
                </c:pt>
                <c:pt idx="751">
                  <c:v>19.268189573311364</c:v>
                </c:pt>
                <c:pt idx="752">
                  <c:v>19.268189573311364</c:v>
                </c:pt>
                <c:pt idx="753">
                  <c:v>19.268189573311364</c:v>
                </c:pt>
                <c:pt idx="754">
                  <c:v>19.268189573311364</c:v>
                </c:pt>
                <c:pt idx="755">
                  <c:v>19.268189573311364</c:v>
                </c:pt>
                <c:pt idx="756">
                  <c:v>19.268189573311364</c:v>
                </c:pt>
                <c:pt idx="757">
                  <c:v>19.268189573311364</c:v>
                </c:pt>
                <c:pt idx="758">
                  <c:v>19.268189573311364</c:v>
                </c:pt>
                <c:pt idx="759">
                  <c:v>19.268189573311364</c:v>
                </c:pt>
                <c:pt idx="760">
                  <c:v>19.268189573311364</c:v>
                </c:pt>
                <c:pt idx="761">
                  <c:v>19.268189573311364</c:v>
                </c:pt>
                <c:pt idx="762">
                  <c:v>19.268189573311364</c:v>
                </c:pt>
                <c:pt idx="763">
                  <c:v>19.268189573311364</c:v>
                </c:pt>
                <c:pt idx="764">
                  <c:v>19.268189573311364</c:v>
                </c:pt>
                <c:pt idx="765">
                  <c:v>19.268189573311364</c:v>
                </c:pt>
                <c:pt idx="766">
                  <c:v>19.268189573311364</c:v>
                </c:pt>
                <c:pt idx="767">
                  <c:v>19.268189573311364</c:v>
                </c:pt>
                <c:pt idx="768">
                  <c:v>19.268189573311364</c:v>
                </c:pt>
                <c:pt idx="769">
                  <c:v>19.268189573311364</c:v>
                </c:pt>
                <c:pt idx="770">
                  <c:v>19.268189573311364</c:v>
                </c:pt>
                <c:pt idx="771">
                  <c:v>19.268189573311364</c:v>
                </c:pt>
                <c:pt idx="772">
                  <c:v>19.268189573311364</c:v>
                </c:pt>
                <c:pt idx="773">
                  <c:v>19.268189573311364</c:v>
                </c:pt>
                <c:pt idx="774">
                  <c:v>19.268189573311364</c:v>
                </c:pt>
                <c:pt idx="775">
                  <c:v>19.268189573311364</c:v>
                </c:pt>
                <c:pt idx="776">
                  <c:v>19.268189573311364</c:v>
                </c:pt>
                <c:pt idx="777">
                  <c:v>19.268189573311364</c:v>
                </c:pt>
                <c:pt idx="778">
                  <c:v>19.268189573311364</c:v>
                </c:pt>
                <c:pt idx="779">
                  <c:v>19.268189573311364</c:v>
                </c:pt>
                <c:pt idx="780">
                  <c:v>19.268189573311364</c:v>
                </c:pt>
                <c:pt idx="781">
                  <c:v>19.268189573311364</c:v>
                </c:pt>
                <c:pt idx="782">
                  <c:v>19.268189573311364</c:v>
                </c:pt>
                <c:pt idx="783">
                  <c:v>19.268189573311364</c:v>
                </c:pt>
                <c:pt idx="784">
                  <c:v>19.268189573311364</c:v>
                </c:pt>
                <c:pt idx="785">
                  <c:v>19.268189573311364</c:v>
                </c:pt>
                <c:pt idx="786">
                  <c:v>19.268189573311364</c:v>
                </c:pt>
                <c:pt idx="787">
                  <c:v>19.268189573311364</c:v>
                </c:pt>
                <c:pt idx="788">
                  <c:v>19.268189573311364</c:v>
                </c:pt>
                <c:pt idx="789">
                  <c:v>19.268189573311364</c:v>
                </c:pt>
                <c:pt idx="790">
                  <c:v>19.268189573311364</c:v>
                </c:pt>
                <c:pt idx="791">
                  <c:v>19.268189573311364</c:v>
                </c:pt>
                <c:pt idx="792">
                  <c:v>19.268189573311364</c:v>
                </c:pt>
                <c:pt idx="793">
                  <c:v>19.268189573311364</c:v>
                </c:pt>
                <c:pt idx="794">
                  <c:v>19.268189573311364</c:v>
                </c:pt>
                <c:pt idx="795">
                  <c:v>19.268189573311364</c:v>
                </c:pt>
                <c:pt idx="796">
                  <c:v>19.268189573311364</c:v>
                </c:pt>
                <c:pt idx="797">
                  <c:v>19.268189573311364</c:v>
                </c:pt>
                <c:pt idx="798">
                  <c:v>19.268189573311364</c:v>
                </c:pt>
                <c:pt idx="799">
                  <c:v>19.268189573311364</c:v>
                </c:pt>
                <c:pt idx="800">
                  <c:v>19.268189573311364</c:v>
                </c:pt>
                <c:pt idx="801">
                  <c:v>19.268189573311364</c:v>
                </c:pt>
                <c:pt idx="802">
                  <c:v>19.268189573311364</c:v>
                </c:pt>
                <c:pt idx="803">
                  <c:v>19.268189573311364</c:v>
                </c:pt>
                <c:pt idx="804">
                  <c:v>19.268189573311364</c:v>
                </c:pt>
                <c:pt idx="805">
                  <c:v>19.268189573311364</c:v>
                </c:pt>
                <c:pt idx="806">
                  <c:v>19.268189573311364</c:v>
                </c:pt>
                <c:pt idx="807">
                  <c:v>19.268189573311364</c:v>
                </c:pt>
                <c:pt idx="808">
                  <c:v>19.268189573311364</c:v>
                </c:pt>
                <c:pt idx="809">
                  <c:v>19.268189573311364</c:v>
                </c:pt>
                <c:pt idx="810">
                  <c:v>19.268189573311364</c:v>
                </c:pt>
                <c:pt idx="811">
                  <c:v>19.268189573311364</c:v>
                </c:pt>
                <c:pt idx="812">
                  <c:v>19.268189573311364</c:v>
                </c:pt>
                <c:pt idx="813">
                  <c:v>19.268189573311364</c:v>
                </c:pt>
                <c:pt idx="814">
                  <c:v>19.268189573311364</c:v>
                </c:pt>
                <c:pt idx="815">
                  <c:v>19.268189573311364</c:v>
                </c:pt>
                <c:pt idx="816">
                  <c:v>19.268189573311364</c:v>
                </c:pt>
                <c:pt idx="817">
                  <c:v>19.268189573311364</c:v>
                </c:pt>
                <c:pt idx="818">
                  <c:v>19.268189573311364</c:v>
                </c:pt>
                <c:pt idx="819">
                  <c:v>19.268189573311364</c:v>
                </c:pt>
                <c:pt idx="820">
                  <c:v>19.268189573311364</c:v>
                </c:pt>
                <c:pt idx="821">
                  <c:v>19.268189573311364</c:v>
                </c:pt>
                <c:pt idx="822">
                  <c:v>19.268189573311364</c:v>
                </c:pt>
                <c:pt idx="823">
                  <c:v>19.268189573311364</c:v>
                </c:pt>
                <c:pt idx="824">
                  <c:v>19.268189573311364</c:v>
                </c:pt>
                <c:pt idx="825">
                  <c:v>19.268189573311364</c:v>
                </c:pt>
                <c:pt idx="826">
                  <c:v>19.268189573311364</c:v>
                </c:pt>
                <c:pt idx="827">
                  <c:v>19.268189573311364</c:v>
                </c:pt>
                <c:pt idx="828">
                  <c:v>19.268189573311364</c:v>
                </c:pt>
                <c:pt idx="829">
                  <c:v>19.268189573311364</c:v>
                </c:pt>
                <c:pt idx="830">
                  <c:v>19.268189573311364</c:v>
                </c:pt>
                <c:pt idx="831">
                  <c:v>19.268189573311364</c:v>
                </c:pt>
                <c:pt idx="832">
                  <c:v>19.268189573311364</c:v>
                </c:pt>
                <c:pt idx="833">
                  <c:v>19.268189573311364</c:v>
                </c:pt>
                <c:pt idx="834">
                  <c:v>19.268189573311364</c:v>
                </c:pt>
                <c:pt idx="835">
                  <c:v>19.268189573311364</c:v>
                </c:pt>
                <c:pt idx="836">
                  <c:v>19.268189573311364</c:v>
                </c:pt>
                <c:pt idx="837">
                  <c:v>19.268189573311364</c:v>
                </c:pt>
                <c:pt idx="838">
                  <c:v>19.268189573311364</c:v>
                </c:pt>
                <c:pt idx="839">
                  <c:v>19.268189573311364</c:v>
                </c:pt>
                <c:pt idx="840">
                  <c:v>19.268189573311364</c:v>
                </c:pt>
                <c:pt idx="841">
                  <c:v>19.268189573311364</c:v>
                </c:pt>
                <c:pt idx="842">
                  <c:v>19.268189573311364</c:v>
                </c:pt>
                <c:pt idx="843">
                  <c:v>19.268189573311364</c:v>
                </c:pt>
                <c:pt idx="844">
                  <c:v>19.268189573311364</c:v>
                </c:pt>
                <c:pt idx="845">
                  <c:v>19.268189573311364</c:v>
                </c:pt>
                <c:pt idx="846">
                  <c:v>19.268189573311364</c:v>
                </c:pt>
                <c:pt idx="847">
                  <c:v>19.268189573311364</c:v>
                </c:pt>
                <c:pt idx="848">
                  <c:v>19.268189573311364</c:v>
                </c:pt>
                <c:pt idx="849">
                  <c:v>19.268189573311364</c:v>
                </c:pt>
                <c:pt idx="850">
                  <c:v>19.268189573311364</c:v>
                </c:pt>
                <c:pt idx="851">
                  <c:v>19.268189573311364</c:v>
                </c:pt>
                <c:pt idx="852">
                  <c:v>19.268189573311364</c:v>
                </c:pt>
                <c:pt idx="853">
                  <c:v>19.268189573311364</c:v>
                </c:pt>
                <c:pt idx="854">
                  <c:v>19.268189573311364</c:v>
                </c:pt>
                <c:pt idx="855">
                  <c:v>19.268189573311364</c:v>
                </c:pt>
                <c:pt idx="856">
                  <c:v>19.268189573311364</c:v>
                </c:pt>
                <c:pt idx="857">
                  <c:v>19.268189573311364</c:v>
                </c:pt>
                <c:pt idx="858">
                  <c:v>19.268189573311364</c:v>
                </c:pt>
                <c:pt idx="859">
                  <c:v>19.268189573311364</c:v>
                </c:pt>
                <c:pt idx="860">
                  <c:v>19.268189573311364</c:v>
                </c:pt>
                <c:pt idx="861">
                  <c:v>19.268189573311364</c:v>
                </c:pt>
                <c:pt idx="862">
                  <c:v>19.268189573311364</c:v>
                </c:pt>
                <c:pt idx="863">
                  <c:v>19.268189573311364</c:v>
                </c:pt>
                <c:pt idx="864">
                  <c:v>19.268189573311364</c:v>
                </c:pt>
                <c:pt idx="865">
                  <c:v>19.268189573311364</c:v>
                </c:pt>
                <c:pt idx="866">
                  <c:v>19.268189573311364</c:v>
                </c:pt>
                <c:pt idx="867">
                  <c:v>19.268189573311364</c:v>
                </c:pt>
                <c:pt idx="868">
                  <c:v>19.268189573311364</c:v>
                </c:pt>
                <c:pt idx="869">
                  <c:v>19.268189573311364</c:v>
                </c:pt>
                <c:pt idx="870">
                  <c:v>19.268189573311364</c:v>
                </c:pt>
                <c:pt idx="871">
                  <c:v>19.268189573311364</c:v>
                </c:pt>
                <c:pt idx="872">
                  <c:v>19.268189573311364</c:v>
                </c:pt>
                <c:pt idx="873">
                  <c:v>19.268189573311364</c:v>
                </c:pt>
                <c:pt idx="874">
                  <c:v>19.268189573311364</c:v>
                </c:pt>
                <c:pt idx="875">
                  <c:v>19.268189573311364</c:v>
                </c:pt>
                <c:pt idx="876">
                  <c:v>19.268189573311364</c:v>
                </c:pt>
                <c:pt idx="877">
                  <c:v>19.268189573311364</c:v>
                </c:pt>
                <c:pt idx="878">
                  <c:v>19.268189573311364</c:v>
                </c:pt>
                <c:pt idx="879">
                  <c:v>19.268189573311364</c:v>
                </c:pt>
                <c:pt idx="880">
                  <c:v>19.268189573311364</c:v>
                </c:pt>
                <c:pt idx="881">
                  <c:v>19.268189573311364</c:v>
                </c:pt>
                <c:pt idx="882">
                  <c:v>19.268189573311364</c:v>
                </c:pt>
                <c:pt idx="883">
                  <c:v>19.268189573311364</c:v>
                </c:pt>
                <c:pt idx="884">
                  <c:v>19.268189573311364</c:v>
                </c:pt>
                <c:pt idx="885">
                  <c:v>19.268189573311364</c:v>
                </c:pt>
                <c:pt idx="886">
                  <c:v>19.268189573311364</c:v>
                </c:pt>
                <c:pt idx="887">
                  <c:v>19.268189573311364</c:v>
                </c:pt>
                <c:pt idx="888">
                  <c:v>19.268189573311364</c:v>
                </c:pt>
                <c:pt idx="889">
                  <c:v>19.268189573311364</c:v>
                </c:pt>
                <c:pt idx="890">
                  <c:v>19.268189573311364</c:v>
                </c:pt>
                <c:pt idx="891">
                  <c:v>19.268189573311364</c:v>
                </c:pt>
              </c:numCache>
            </c:numRef>
          </c:val>
          <c:smooth val="0"/>
          <c:extLst>
            <c:ext xmlns:c16="http://schemas.microsoft.com/office/drawing/2014/chart" uri="{C3380CC4-5D6E-409C-BE32-E72D297353CC}">
              <c16:uniqueId val="{00000001-7DF5-4049-9C18-76D54EAFDC14}"/>
            </c:ext>
          </c:extLst>
        </c:ser>
        <c:ser>
          <c:idx val="1"/>
          <c:order val="2"/>
          <c:tx>
            <c:strRef>
              <c:f>USA!$DZ$8</c:f>
              <c:strCache>
                <c:ptCount val="1"/>
                <c:pt idx="0">
                  <c:v>+/- 1 and 2 std</c:v>
                </c:pt>
              </c:strCache>
            </c:strRef>
          </c:tx>
          <c:spPr>
            <a:ln w="19050" cap="rnd" cmpd="sng" algn="ctr">
              <a:solidFill>
                <a:srgbClr val="CCCABC"/>
              </a:solidFill>
              <a:prstDash val="solid"/>
              <a:round/>
              <a:headEnd type="none" w="med" len="med"/>
              <a:tailEnd type="none" w="med" len="med"/>
            </a:ln>
            <a:effectLst/>
          </c:spPr>
          <c:marker>
            <c:symbol val="none"/>
          </c:marker>
          <c:cat>
            <c:numRef>
              <c:f>USA!$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USA!$DZ$9:$DZ$901</c:f>
              <c:numCache>
                <c:formatCode>0.00</c:formatCode>
                <c:ptCount val="893"/>
                <c:pt idx="0">
                  <c:v>21.623813655507075</c:v>
                </c:pt>
                <c:pt idx="1">
                  <c:v>21.623813655507075</c:v>
                </c:pt>
                <c:pt idx="2">
                  <c:v>21.623813655507075</c:v>
                </c:pt>
                <c:pt idx="3">
                  <c:v>21.623813655507075</c:v>
                </c:pt>
                <c:pt idx="4">
                  <c:v>21.623813655507075</c:v>
                </c:pt>
                <c:pt idx="5">
                  <c:v>21.623813655507075</c:v>
                </c:pt>
                <c:pt idx="6">
                  <c:v>21.623813655507075</c:v>
                </c:pt>
                <c:pt idx="7">
                  <c:v>21.623813655507075</c:v>
                </c:pt>
                <c:pt idx="8">
                  <c:v>21.623813655507075</c:v>
                </c:pt>
                <c:pt idx="9">
                  <c:v>21.623813655507075</c:v>
                </c:pt>
                <c:pt idx="10">
                  <c:v>21.623813655507075</c:v>
                </c:pt>
                <c:pt idx="11">
                  <c:v>21.623813655507075</c:v>
                </c:pt>
                <c:pt idx="12">
                  <c:v>21.623813655507075</c:v>
                </c:pt>
                <c:pt idx="13">
                  <c:v>21.623813655507075</c:v>
                </c:pt>
                <c:pt idx="14">
                  <c:v>21.623813655507075</c:v>
                </c:pt>
                <c:pt idx="15">
                  <c:v>21.623813655507075</c:v>
                </c:pt>
                <c:pt idx="16">
                  <c:v>21.623813655507075</c:v>
                </c:pt>
                <c:pt idx="17">
                  <c:v>21.623813655507075</c:v>
                </c:pt>
                <c:pt idx="18">
                  <c:v>21.623813655507075</c:v>
                </c:pt>
                <c:pt idx="19">
                  <c:v>21.623813655507075</c:v>
                </c:pt>
                <c:pt idx="20">
                  <c:v>21.623813655507075</c:v>
                </c:pt>
                <c:pt idx="21">
                  <c:v>21.623813655507075</c:v>
                </c:pt>
                <c:pt idx="22">
                  <c:v>21.623813655507075</c:v>
                </c:pt>
                <c:pt idx="23">
                  <c:v>21.623813655507075</c:v>
                </c:pt>
                <c:pt idx="24">
                  <c:v>21.623813655507075</c:v>
                </c:pt>
                <c:pt idx="25">
                  <c:v>21.623813655507075</c:v>
                </c:pt>
                <c:pt idx="26">
                  <c:v>21.623813655507075</c:v>
                </c:pt>
                <c:pt idx="27">
                  <c:v>21.623813655507075</c:v>
                </c:pt>
                <c:pt idx="28">
                  <c:v>21.623813655507075</c:v>
                </c:pt>
                <c:pt idx="29">
                  <c:v>21.623813655507075</c:v>
                </c:pt>
                <c:pt idx="30">
                  <c:v>21.623813655507075</c:v>
                </c:pt>
                <c:pt idx="31">
                  <c:v>21.623813655507075</c:v>
                </c:pt>
                <c:pt idx="32">
                  <c:v>21.623813655507075</c:v>
                </c:pt>
                <c:pt idx="33">
                  <c:v>21.623813655507075</c:v>
                </c:pt>
                <c:pt idx="34">
                  <c:v>21.623813655507075</c:v>
                </c:pt>
                <c:pt idx="35">
                  <c:v>21.623813655507075</c:v>
                </c:pt>
                <c:pt idx="36">
                  <c:v>21.623813655507075</c:v>
                </c:pt>
                <c:pt idx="37">
                  <c:v>21.623813655507075</c:v>
                </c:pt>
                <c:pt idx="38">
                  <c:v>21.623813655507075</c:v>
                </c:pt>
                <c:pt idx="39">
                  <c:v>21.623813655507075</c:v>
                </c:pt>
                <c:pt idx="40">
                  <c:v>21.623813655507075</c:v>
                </c:pt>
                <c:pt idx="41">
                  <c:v>21.623813655507075</c:v>
                </c:pt>
                <c:pt idx="42">
                  <c:v>21.623813655507075</c:v>
                </c:pt>
                <c:pt idx="43">
                  <c:v>21.623813655507075</c:v>
                </c:pt>
                <c:pt idx="44">
                  <c:v>21.623813655507075</c:v>
                </c:pt>
                <c:pt idx="45">
                  <c:v>21.623813655507075</c:v>
                </c:pt>
                <c:pt idx="46">
                  <c:v>21.623813655507075</c:v>
                </c:pt>
                <c:pt idx="47">
                  <c:v>21.623813655507075</c:v>
                </c:pt>
                <c:pt idx="48">
                  <c:v>21.623813655507075</c:v>
                </c:pt>
                <c:pt idx="49">
                  <c:v>21.623813655507075</c:v>
                </c:pt>
                <c:pt idx="50">
                  <c:v>21.623813655507075</c:v>
                </c:pt>
                <c:pt idx="51">
                  <c:v>21.623813655507075</c:v>
                </c:pt>
                <c:pt idx="52">
                  <c:v>21.623813655507075</c:v>
                </c:pt>
                <c:pt idx="53">
                  <c:v>21.623813655507075</c:v>
                </c:pt>
                <c:pt idx="54">
                  <c:v>21.623813655507075</c:v>
                </c:pt>
                <c:pt idx="55">
                  <c:v>21.623813655507075</c:v>
                </c:pt>
                <c:pt idx="56">
                  <c:v>21.623813655507075</c:v>
                </c:pt>
                <c:pt idx="57">
                  <c:v>21.623813655507075</c:v>
                </c:pt>
                <c:pt idx="58">
                  <c:v>21.623813655507075</c:v>
                </c:pt>
                <c:pt idx="59">
                  <c:v>21.623813655507075</c:v>
                </c:pt>
                <c:pt idx="60">
                  <c:v>21.623813655507075</c:v>
                </c:pt>
                <c:pt idx="61">
                  <c:v>21.623813655507075</c:v>
                </c:pt>
                <c:pt idx="62">
                  <c:v>21.623813655507075</c:v>
                </c:pt>
                <c:pt idx="63">
                  <c:v>21.623813655507075</c:v>
                </c:pt>
                <c:pt idx="64">
                  <c:v>21.623813655507075</c:v>
                </c:pt>
                <c:pt idx="65">
                  <c:v>21.623813655507075</c:v>
                </c:pt>
                <c:pt idx="66">
                  <c:v>21.623813655507075</c:v>
                </c:pt>
                <c:pt idx="67">
                  <c:v>21.623813655507075</c:v>
                </c:pt>
                <c:pt idx="68">
                  <c:v>21.623813655507075</c:v>
                </c:pt>
                <c:pt idx="69">
                  <c:v>21.623813655507075</c:v>
                </c:pt>
                <c:pt idx="70">
                  <c:v>21.623813655507075</c:v>
                </c:pt>
                <c:pt idx="71">
                  <c:v>21.623813655507075</c:v>
                </c:pt>
                <c:pt idx="72">
                  <c:v>21.623813655507075</c:v>
                </c:pt>
                <c:pt idx="73">
                  <c:v>21.623813655507075</c:v>
                </c:pt>
                <c:pt idx="74">
                  <c:v>21.623813655507075</c:v>
                </c:pt>
                <c:pt idx="75">
                  <c:v>21.623813655507075</c:v>
                </c:pt>
                <c:pt idx="76">
                  <c:v>21.623813655507075</c:v>
                </c:pt>
                <c:pt idx="77">
                  <c:v>21.623813655507075</c:v>
                </c:pt>
                <c:pt idx="78">
                  <c:v>21.623813655507075</c:v>
                </c:pt>
                <c:pt idx="79">
                  <c:v>21.623813655507075</c:v>
                </c:pt>
                <c:pt idx="80">
                  <c:v>21.623813655507075</c:v>
                </c:pt>
                <c:pt idx="81">
                  <c:v>21.623813655507075</c:v>
                </c:pt>
                <c:pt idx="82">
                  <c:v>21.623813655507075</c:v>
                </c:pt>
                <c:pt idx="83">
                  <c:v>21.623813655507075</c:v>
                </c:pt>
                <c:pt idx="84">
                  <c:v>21.623813655507075</c:v>
                </c:pt>
                <c:pt idx="85">
                  <c:v>21.623813655507075</c:v>
                </c:pt>
                <c:pt idx="86">
                  <c:v>21.623813655507075</c:v>
                </c:pt>
                <c:pt idx="87">
                  <c:v>21.623813655507075</c:v>
                </c:pt>
                <c:pt idx="88">
                  <c:v>21.623813655507075</c:v>
                </c:pt>
                <c:pt idx="89">
                  <c:v>21.623813655507075</c:v>
                </c:pt>
                <c:pt idx="90">
                  <c:v>21.623813655507075</c:v>
                </c:pt>
                <c:pt idx="91">
                  <c:v>21.623813655507075</c:v>
                </c:pt>
                <c:pt idx="92">
                  <c:v>21.623813655507075</c:v>
                </c:pt>
                <c:pt idx="93">
                  <c:v>21.623813655507075</c:v>
                </c:pt>
                <c:pt idx="94">
                  <c:v>21.623813655507075</c:v>
                </c:pt>
                <c:pt idx="95">
                  <c:v>21.623813655507075</c:v>
                </c:pt>
                <c:pt idx="96">
                  <c:v>21.623813655507075</c:v>
                </c:pt>
                <c:pt idx="97">
                  <c:v>21.623813655507075</c:v>
                </c:pt>
                <c:pt idx="98">
                  <c:v>21.623813655507075</c:v>
                </c:pt>
                <c:pt idx="99">
                  <c:v>21.623813655507075</c:v>
                </c:pt>
                <c:pt idx="100">
                  <c:v>21.623813655507075</c:v>
                </c:pt>
                <c:pt idx="101">
                  <c:v>21.623813655507075</c:v>
                </c:pt>
                <c:pt idx="102">
                  <c:v>21.623813655507075</c:v>
                </c:pt>
                <c:pt idx="103">
                  <c:v>21.623813655507075</c:v>
                </c:pt>
                <c:pt idx="104">
                  <c:v>21.623813655507075</c:v>
                </c:pt>
                <c:pt idx="105">
                  <c:v>21.623813655507075</c:v>
                </c:pt>
                <c:pt idx="106">
                  <c:v>21.623813655507075</c:v>
                </c:pt>
                <c:pt idx="107">
                  <c:v>21.623813655507075</c:v>
                </c:pt>
                <c:pt idx="108">
                  <c:v>21.623813655507075</c:v>
                </c:pt>
                <c:pt idx="109">
                  <c:v>21.623813655507075</c:v>
                </c:pt>
                <c:pt idx="110">
                  <c:v>21.623813655507075</c:v>
                </c:pt>
                <c:pt idx="111">
                  <c:v>21.623813655507075</c:v>
                </c:pt>
                <c:pt idx="112">
                  <c:v>21.623813655507075</c:v>
                </c:pt>
                <c:pt idx="113">
                  <c:v>21.623813655507075</c:v>
                </c:pt>
                <c:pt idx="114">
                  <c:v>21.623813655507075</c:v>
                </c:pt>
                <c:pt idx="115">
                  <c:v>21.623813655507075</c:v>
                </c:pt>
                <c:pt idx="116">
                  <c:v>21.623813655507075</c:v>
                </c:pt>
                <c:pt idx="117">
                  <c:v>21.623813655507075</c:v>
                </c:pt>
                <c:pt idx="118">
                  <c:v>21.623813655507075</c:v>
                </c:pt>
                <c:pt idx="119">
                  <c:v>21.623813655507075</c:v>
                </c:pt>
                <c:pt idx="120">
                  <c:v>21.623813655507075</c:v>
                </c:pt>
                <c:pt idx="121">
                  <c:v>21.623813655507075</c:v>
                </c:pt>
                <c:pt idx="122">
                  <c:v>21.623813655507075</c:v>
                </c:pt>
                <c:pt idx="123">
                  <c:v>21.623813655507075</c:v>
                </c:pt>
                <c:pt idx="124">
                  <c:v>21.623813655507075</c:v>
                </c:pt>
                <c:pt idx="125">
                  <c:v>21.623813655507075</c:v>
                </c:pt>
                <c:pt idx="126">
                  <c:v>21.623813655507075</c:v>
                </c:pt>
                <c:pt idx="127">
                  <c:v>21.623813655507075</c:v>
                </c:pt>
                <c:pt idx="128">
                  <c:v>21.623813655507075</c:v>
                </c:pt>
                <c:pt idx="129">
                  <c:v>21.623813655507075</c:v>
                </c:pt>
                <c:pt idx="130">
                  <c:v>21.623813655507075</c:v>
                </c:pt>
                <c:pt idx="131">
                  <c:v>21.623813655507075</c:v>
                </c:pt>
                <c:pt idx="132">
                  <c:v>21.623813655507075</c:v>
                </c:pt>
                <c:pt idx="133">
                  <c:v>21.623813655507075</c:v>
                </c:pt>
                <c:pt idx="134">
                  <c:v>21.623813655507075</c:v>
                </c:pt>
                <c:pt idx="135">
                  <c:v>21.623813655507075</c:v>
                </c:pt>
                <c:pt idx="136">
                  <c:v>21.623813655507075</c:v>
                </c:pt>
                <c:pt idx="137">
                  <c:v>21.623813655507075</c:v>
                </c:pt>
                <c:pt idx="138">
                  <c:v>21.623813655507075</c:v>
                </c:pt>
                <c:pt idx="139">
                  <c:v>21.623813655507075</c:v>
                </c:pt>
                <c:pt idx="140">
                  <c:v>21.623813655507075</c:v>
                </c:pt>
                <c:pt idx="141">
                  <c:v>21.623813655507075</c:v>
                </c:pt>
                <c:pt idx="142">
                  <c:v>21.623813655507075</c:v>
                </c:pt>
                <c:pt idx="143">
                  <c:v>21.623813655507075</c:v>
                </c:pt>
                <c:pt idx="144">
                  <c:v>21.623813655507075</c:v>
                </c:pt>
                <c:pt idx="145">
                  <c:v>21.623813655507075</c:v>
                </c:pt>
                <c:pt idx="146">
                  <c:v>21.623813655507075</c:v>
                </c:pt>
                <c:pt idx="147">
                  <c:v>21.623813655507075</c:v>
                </c:pt>
                <c:pt idx="148">
                  <c:v>21.623813655507075</c:v>
                </c:pt>
                <c:pt idx="149">
                  <c:v>21.623813655507075</c:v>
                </c:pt>
                <c:pt idx="150">
                  <c:v>21.623813655507075</c:v>
                </c:pt>
                <c:pt idx="151">
                  <c:v>21.623813655507075</c:v>
                </c:pt>
                <c:pt idx="152">
                  <c:v>21.623813655507075</c:v>
                </c:pt>
                <c:pt idx="153">
                  <c:v>21.623813655507075</c:v>
                </c:pt>
                <c:pt idx="154">
                  <c:v>21.623813655507075</c:v>
                </c:pt>
                <c:pt idx="155">
                  <c:v>21.623813655507075</c:v>
                </c:pt>
                <c:pt idx="156">
                  <c:v>21.623813655507075</c:v>
                </c:pt>
                <c:pt idx="157">
                  <c:v>21.623813655507075</c:v>
                </c:pt>
                <c:pt idx="158">
                  <c:v>21.623813655507075</c:v>
                </c:pt>
                <c:pt idx="159">
                  <c:v>21.623813655507075</c:v>
                </c:pt>
                <c:pt idx="160">
                  <c:v>21.623813655507075</c:v>
                </c:pt>
                <c:pt idx="161">
                  <c:v>21.623813655507075</c:v>
                </c:pt>
                <c:pt idx="162">
                  <c:v>21.623813655507075</c:v>
                </c:pt>
                <c:pt idx="163">
                  <c:v>21.623813655507075</c:v>
                </c:pt>
                <c:pt idx="164">
                  <c:v>21.623813655507075</c:v>
                </c:pt>
                <c:pt idx="165">
                  <c:v>21.623813655507075</c:v>
                </c:pt>
                <c:pt idx="166">
                  <c:v>21.623813655507075</c:v>
                </c:pt>
                <c:pt idx="167">
                  <c:v>21.623813655507075</c:v>
                </c:pt>
                <c:pt idx="168">
                  <c:v>21.623813655507075</c:v>
                </c:pt>
                <c:pt idx="169">
                  <c:v>21.623813655507075</c:v>
                </c:pt>
                <c:pt idx="170">
                  <c:v>21.623813655507075</c:v>
                </c:pt>
                <c:pt idx="171">
                  <c:v>21.623813655507075</c:v>
                </c:pt>
                <c:pt idx="172">
                  <c:v>21.623813655507075</c:v>
                </c:pt>
                <c:pt idx="173">
                  <c:v>21.623813655507075</c:v>
                </c:pt>
                <c:pt idx="174">
                  <c:v>21.623813655507075</c:v>
                </c:pt>
                <c:pt idx="175">
                  <c:v>21.623813655507075</c:v>
                </c:pt>
                <c:pt idx="176">
                  <c:v>21.623813655507075</c:v>
                </c:pt>
                <c:pt idx="177">
                  <c:v>21.623813655507075</c:v>
                </c:pt>
                <c:pt idx="178">
                  <c:v>21.623813655507075</c:v>
                </c:pt>
                <c:pt idx="179">
                  <c:v>21.623813655507075</c:v>
                </c:pt>
                <c:pt idx="180">
                  <c:v>21.623813655507075</c:v>
                </c:pt>
                <c:pt idx="181">
                  <c:v>21.623813655507075</c:v>
                </c:pt>
                <c:pt idx="182">
                  <c:v>21.623813655507075</c:v>
                </c:pt>
                <c:pt idx="183">
                  <c:v>21.623813655507075</c:v>
                </c:pt>
                <c:pt idx="184">
                  <c:v>21.623813655507075</c:v>
                </c:pt>
                <c:pt idx="185">
                  <c:v>21.623813655507075</c:v>
                </c:pt>
                <c:pt idx="186">
                  <c:v>21.623813655507075</c:v>
                </c:pt>
                <c:pt idx="187">
                  <c:v>21.623813655507075</c:v>
                </c:pt>
                <c:pt idx="188">
                  <c:v>21.623813655507075</c:v>
                </c:pt>
                <c:pt idx="189">
                  <c:v>21.623813655507075</c:v>
                </c:pt>
                <c:pt idx="190">
                  <c:v>21.623813655507075</c:v>
                </c:pt>
                <c:pt idx="191">
                  <c:v>21.623813655507075</c:v>
                </c:pt>
                <c:pt idx="192">
                  <c:v>21.623813655507075</c:v>
                </c:pt>
                <c:pt idx="193">
                  <c:v>21.623813655507075</c:v>
                </c:pt>
                <c:pt idx="194">
                  <c:v>21.623813655507075</c:v>
                </c:pt>
                <c:pt idx="195">
                  <c:v>21.623813655507075</c:v>
                </c:pt>
                <c:pt idx="196">
                  <c:v>21.623813655507075</c:v>
                </c:pt>
                <c:pt idx="197">
                  <c:v>21.623813655507075</c:v>
                </c:pt>
                <c:pt idx="198">
                  <c:v>21.623813655507075</c:v>
                </c:pt>
                <c:pt idx="199">
                  <c:v>21.623813655507075</c:v>
                </c:pt>
                <c:pt idx="200">
                  <c:v>21.623813655507075</c:v>
                </c:pt>
                <c:pt idx="201">
                  <c:v>21.623813655507075</c:v>
                </c:pt>
                <c:pt idx="202">
                  <c:v>21.623813655507075</c:v>
                </c:pt>
                <c:pt idx="203">
                  <c:v>21.623813655507075</c:v>
                </c:pt>
                <c:pt idx="204">
                  <c:v>21.623813655507075</c:v>
                </c:pt>
                <c:pt idx="205">
                  <c:v>21.623813655507075</c:v>
                </c:pt>
                <c:pt idx="206">
                  <c:v>21.623813655507075</c:v>
                </c:pt>
                <c:pt idx="207">
                  <c:v>21.623813655507075</c:v>
                </c:pt>
                <c:pt idx="208">
                  <c:v>21.623813655507075</c:v>
                </c:pt>
                <c:pt idx="209">
                  <c:v>21.623813655507075</c:v>
                </c:pt>
                <c:pt idx="210">
                  <c:v>21.623813655507075</c:v>
                </c:pt>
                <c:pt idx="211">
                  <c:v>21.623813655507075</c:v>
                </c:pt>
                <c:pt idx="212">
                  <c:v>21.623813655507075</c:v>
                </c:pt>
                <c:pt idx="213">
                  <c:v>21.623813655507075</c:v>
                </c:pt>
                <c:pt idx="214">
                  <c:v>21.623813655507075</c:v>
                </c:pt>
                <c:pt idx="215">
                  <c:v>21.623813655507075</c:v>
                </c:pt>
                <c:pt idx="216">
                  <c:v>21.623813655507075</c:v>
                </c:pt>
                <c:pt idx="217">
                  <c:v>21.623813655507075</c:v>
                </c:pt>
                <c:pt idx="218">
                  <c:v>21.623813655507075</c:v>
                </c:pt>
                <c:pt idx="219">
                  <c:v>21.623813655507075</c:v>
                </c:pt>
                <c:pt idx="220">
                  <c:v>21.623813655507075</c:v>
                </c:pt>
                <c:pt idx="221">
                  <c:v>21.623813655507075</c:v>
                </c:pt>
                <c:pt idx="222">
                  <c:v>21.623813655507075</c:v>
                </c:pt>
                <c:pt idx="223">
                  <c:v>21.623813655507075</c:v>
                </c:pt>
                <c:pt idx="224">
                  <c:v>21.623813655507075</c:v>
                </c:pt>
                <c:pt idx="225">
                  <c:v>21.623813655507075</c:v>
                </c:pt>
                <c:pt idx="226">
                  <c:v>21.623813655507075</c:v>
                </c:pt>
                <c:pt idx="227">
                  <c:v>21.623813655507075</c:v>
                </c:pt>
                <c:pt idx="228">
                  <c:v>21.623813655507075</c:v>
                </c:pt>
                <c:pt idx="229">
                  <c:v>21.623813655507075</c:v>
                </c:pt>
                <c:pt idx="230">
                  <c:v>21.623813655507075</c:v>
                </c:pt>
                <c:pt idx="231">
                  <c:v>21.623813655507075</c:v>
                </c:pt>
                <c:pt idx="232">
                  <c:v>21.623813655507075</c:v>
                </c:pt>
                <c:pt idx="233">
                  <c:v>21.623813655507075</c:v>
                </c:pt>
                <c:pt idx="234">
                  <c:v>21.623813655507075</c:v>
                </c:pt>
                <c:pt idx="235">
                  <c:v>21.623813655507075</c:v>
                </c:pt>
                <c:pt idx="236">
                  <c:v>21.623813655507075</c:v>
                </c:pt>
                <c:pt idx="237">
                  <c:v>21.623813655507075</c:v>
                </c:pt>
                <c:pt idx="238">
                  <c:v>21.623813655507075</c:v>
                </c:pt>
                <c:pt idx="239">
                  <c:v>21.623813655507075</c:v>
                </c:pt>
                <c:pt idx="240">
                  <c:v>21.623813655507075</c:v>
                </c:pt>
                <c:pt idx="241">
                  <c:v>21.623813655507075</c:v>
                </c:pt>
                <c:pt idx="242">
                  <c:v>21.623813655507075</c:v>
                </c:pt>
                <c:pt idx="243">
                  <c:v>21.623813655507075</c:v>
                </c:pt>
                <c:pt idx="244">
                  <c:v>21.623813655507075</c:v>
                </c:pt>
                <c:pt idx="245">
                  <c:v>21.623813655507075</c:v>
                </c:pt>
                <c:pt idx="246">
                  <c:v>21.623813655507075</c:v>
                </c:pt>
                <c:pt idx="247">
                  <c:v>21.623813655507075</c:v>
                </c:pt>
                <c:pt idx="248">
                  <c:v>21.623813655507075</c:v>
                </c:pt>
                <c:pt idx="249">
                  <c:v>21.623813655507075</c:v>
                </c:pt>
                <c:pt idx="250">
                  <c:v>21.623813655507075</c:v>
                </c:pt>
                <c:pt idx="251">
                  <c:v>21.623813655507075</c:v>
                </c:pt>
                <c:pt idx="252">
                  <c:v>21.623813655507075</c:v>
                </c:pt>
                <c:pt idx="253">
                  <c:v>21.623813655507075</c:v>
                </c:pt>
                <c:pt idx="254">
                  <c:v>21.623813655507075</c:v>
                </c:pt>
                <c:pt idx="255">
                  <c:v>21.623813655507075</c:v>
                </c:pt>
                <c:pt idx="256">
                  <c:v>21.623813655507075</c:v>
                </c:pt>
                <c:pt idx="257">
                  <c:v>21.623813655507075</c:v>
                </c:pt>
                <c:pt idx="258">
                  <c:v>21.623813655507075</c:v>
                </c:pt>
                <c:pt idx="259">
                  <c:v>21.623813655507075</c:v>
                </c:pt>
                <c:pt idx="260">
                  <c:v>21.623813655507075</c:v>
                </c:pt>
                <c:pt idx="261">
                  <c:v>21.623813655507075</c:v>
                </c:pt>
                <c:pt idx="262">
                  <c:v>21.623813655507075</c:v>
                </c:pt>
                <c:pt idx="263">
                  <c:v>21.623813655507075</c:v>
                </c:pt>
                <c:pt idx="264">
                  <c:v>21.623813655507075</c:v>
                </c:pt>
                <c:pt idx="265">
                  <c:v>21.623813655507075</c:v>
                </c:pt>
                <c:pt idx="266">
                  <c:v>21.623813655507075</c:v>
                </c:pt>
                <c:pt idx="267">
                  <c:v>21.623813655507075</c:v>
                </c:pt>
                <c:pt idx="268">
                  <c:v>21.623813655507075</c:v>
                </c:pt>
                <c:pt idx="269">
                  <c:v>21.623813655507075</c:v>
                </c:pt>
                <c:pt idx="270">
                  <c:v>21.623813655507075</c:v>
                </c:pt>
                <c:pt idx="271">
                  <c:v>21.623813655507075</c:v>
                </c:pt>
                <c:pt idx="272">
                  <c:v>21.623813655507075</c:v>
                </c:pt>
                <c:pt idx="273">
                  <c:v>21.623813655507075</c:v>
                </c:pt>
                <c:pt idx="274">
                  <c:v>21.623813655507075</c:v>
                </c:pt>
                <c:pt idx="275">
                  <c:v>21.623813655507075</c:v>
                </c:pt>
                <c:pt idx="276">
                  <c:v>21.623813655507075</c:v>
                </c:pt>
                <c:pt idx="277">
                  <c:v>21.623813655507075</c:v>
                </c:pt>
                <c:pt idx="278">
                  <c:v>21.623813655507075</c:v>
                </c:pt>
                <c:pt idx="279">
                  <c:v>21.623813655507075</c:v>
                </c:pt>
                <c:pt idx="280">
                  <c:v>21.623813655507075</c:v>
                </c:pt>
                <c:pt idx="281">
                  <c:v>21.623813655507075</c:v>
                </c:pt>
                <c:pt idx="282">
                  <c:v>21.623813655507075</c:v>
                </c:pt>
                <c:pt idx="283">
                  <c:v>21.623813655507075</c:v>
                </c:pt>
                <c:pt idx="284">
                  <c:v>21.623813655507075</c:v>
                </c:pt>
                <c:pt idx="285">
                  <c:v>21.623813655507075</c:v>
                </c:pt>
                <c:pt idx="286">
                  <c:v>21.623813655507075</c:v>
                </c:pt>
                <c:pt idx="287">
                  <c:v>21.623813655507075</c:v>
                </c:pt>
                <c:pt idx="288">
                  <c:v>21.623813655507075</c:v>
                </c:pt>
                <c:pt idx="289">
                  <c:v>21.623813655507075</c:v>
                </c:pt>
                <c:pt idx="290">
                  <c:v>21.623813655507075</c:v>
                </c:pt>
                <c:pt idx="291">
                  <c:v>21.623813655507075</c:v>
                </c:pt>
                <c:pt idx="292">
                  <c:v>21.623813655507075</c:v>
                </c:pt>
                <c:pt idx="293">
                  <c:v>21.623813655507075</c:v>
                </c:pt>
                <c:pt idx="294">
                  <c:v>21.623813655507075</c:v>
                </c:pt>
                <c:pt idx="295">
                  <c:v>21.623813655507075</c:v>
                </c:pt>
                <c:pt idx="296">
                  <c:v>21.623813655507075</c:v>
                </c:pt>
                <c:pt idx="297">
                  <c:v>21.623813655507075</c:v>
                </c:pt>
                <c:pt idx="298">
                  <c:v>21.623813655507075</c:v>
                </c:pt>
                <c:pt idx="299">
                  <c:v>21.623813655507075</c:v>
                </c:pt>
                <c:pt idx="300">
                  <c:v>21.623813655507075</c:v>
                </c:pt>
                <c:pt idx="301">
                  <c:v>21.623813655507075</c:v>
                </c:pt>
                <c:pt idx="302">
                  <c:v>21.623813655507075</c:v>
                </c:pt>
                <c:pt idx="303">
                  <c:v>21.623813655507075</c:v>
                </c:pt>
                <c:pt idx="304">
                  <c:v>21.623813655507075</c:v>
                </c:pt>
                <c:pt idx="305">
                  <c:v>21.623813655507075</c:v>
                </c:pt>
                <c:pt idx="306">
                  <c:v>21.623813655507075</c:v>
                </c:pt>
                <c:pt idx="307">
                  <c:v>21.623813655507075</c:v>
                </c:pt>
                <c:pt idx="308">
                  <c:v>21.623813655507075</c:v>
                </c:pt>
                <c:pt idx="309">
                  <c:v>21.623813655507075</c:v>
                </c:pt>
                <c:pt idx="310">
                  <c:v>21.623813655507075</c:v>
                </c:pt>
                <c:pt idx="311">
                  <c:v>21.623813655507075</c:v>
                </c:pt>
                <c:pt idx="312">
                  <c:v>21.623813655507075</c:v>
                </c:pt>
                <c:pt idx="313">
                  <c:v>21.623813655507075</c:v>
                </c:pt>
                <c:pt idx="314">
                  <c:v>21.623813655507075</c:v>
                </c:pt>
                <c:pt idx="315">
                  <c:v>21.623813655507075</c:v>
                </c:pt>
                <c:pt idx="316">
                  <c:v>21.623813655507075</c:v>
                </c:pt>
                <c:pt idx="317">
                  <c:v>21.623813655507075</c:v>
                </c:pt>
                <c:pt idx="318">
                  <c:v>21.623813655507075</c:v>
                </c:pt>
                <c:pt idx="319">
                  <c:v>21.623813655507075</c:v>
                </c:pt>
                <c:pt idx="320">
                  <c:v>21.623813655507075</c:v>
                </c:pt>
                <c:pt idx="321">
                  <c:v>21.623813655507075</c:v>
                </c:pt>
                <c:pt idx="322">
                  <c:v>21.623813655507075</c:v>
                </c:pt>
                <c:pt idx="323">
                  <c:v>21.623813655507075</c:v>
                </c:pt>
                <c:pt idx="324">
                  <c:v>21.623813655507075</c:v>
                </c:pt>
                <c:pt idx="325">
                  <c:v>21.623813655507075</c:v>
                </c:pt>
                <c:pt idx="326">
                  <c:v>21.623813655507075</c:v>
                </c:pt>
                <c:pt idx="327">
                  <c:v>21.623813655507075</c:v>
                </c:pt>
                <c:pt idx="328">
                  <c:v>21.623813655507075</c:v>
                </c:pt>
                <c:pt idx="329">
                  <c:v>21.623813655507075</c:v>
                </c:pt>
                <c:pt idx="330">
                  <c:v>21.623813655507075</c:v>
                </c:pt>
                <c:pt idx="331">
                  <c:v>21.623813655507075</c:v>
                </c:pt>
                <c:pt idx="332">
                  <c:v>21.623813655507075</c:v>
                </c:pt>
                <c:pt idx="333">
                  <c:v>21.623813655507075</c:v>
                </c:pt>
                <c:pt idx="334">
                  <c:v>21.623813655507075</c:v>
                </c:pt>
                <c:pt idx="335">
                  <c:v>21.623813655507075</c:v>
                </c:pt>
                <c:pt idx="336">
                  <c:v>21.623813655507075</c:v>
                </c:pt>
                <c:pt idx="337">
                  <c:v>21.623813655507075</c:v>
                </c:pt>
                <c:pt idx="338">
                  <c:v>21.623813655507075</c:v>
                </c:pt>
                <c:pt idx="339">
                  <c:v>21.623813655507075</c:v>
                </c:pt>
                <c:pt idx="340">
                  <c:v>21.623813655507075</c:v>
                </c:pt>
                <c:pt idx="341">
                  <c:v>21.623813655507075</c:v>
                </c:pt>
                <c:pt idx="342">
                  <c:v>21.623813655507075</c:v>
                </c:pt>
                <c:pt idx="343">
                  <c:v>21.623813655507075</c:v>
                </c:pt>
                <c:pt idx="344">
                  <c:v>21.623813655507075</c:v>
                </c:pt>
                <c:pt idx="345">
                  <c:v>21.623813655507075</c:v>
                </c:pt>
                <c:pt idx="346">
                  <c:v>21.623813655507075</c:v>
                </c:pt>
                <c:pt idx="347">
                  <c:v>21.623813655507075</c:v>
                </c:pt>
                <c:pt idx="348">
                  <c:v>21.623813655507075</c:v>
                </c:pt>
                <c:pt idx="349">
                  <c:v>21.623813655507075</c:v>
                </c:pt>
                <c:pt idx="350">
                  <c:v>21.623813655507075</c:v>
                </c:pt>
                <c:pt idx="351">
                  <c:v>21.623813655507075</c:v>
                </c:pt>
                <c:pt idx="352">
                  <c:v>21.623813655507075</c:v>
                </c:pt>
                <c:pt idx="353">
                  <c:v>21.623813655507075</c:v>
                </c:pt>
                <c:pt idx="354">
                  <c:v>21.623813655507075</c:v>
                </c:pt>
                <c:pt idx="355">
                  <c:v>21.623813655507075</c:v>
                </c:pt>
                <c:pt idx="356">
                  <c:v>21.623813655507075</c:v>
                </c:pt>
                <c:pt idx="357">
                  <c:v>21.623813655507075</c:v>
                </c:pt>
                <c:pt idx="358">
                  <c:v>21.623813655507075</c:v>
                </c:pt>
                <c:pt idx="359">
                  <c:v>21.623813655507075</c:v>
                </c:pt>
                <c:pt idx="360">
                  <c:v>21.623813655507075</c:v>
                </c:pt>
                <c:pt idx="361">
                  <c:v>21.623813655507075</c:v>
                </c:pt>
                <c:pt idx="362">
                  <c:v>21.623813655507075</c:v>
                </c:pt>
                <c:pt idx="363">
                  <c:v>21.623813655507075</c:v>
                </c:pt>
                <c:pt idx="364">
                  <c:v>21.623813655507075</c:v>
                </c:pt>
                <c:pt idx="365">
                  <c:v>21.623813655507075</c:v>
                </c:pt>
                <c:pt idx="366">
                  <c:v>21.623813655507075</c:v>
                </c:pt>
                <c:pt idx="367">
                  <c:v>21.623813655507075</c:v>
                </c:pt>
                <c:pt idx="368">
                  <c:v>21.623813655507075</c:v>
                </c:pt>
                <c:pt idx="369">
                  <c:v>21.623813655507075</c:v>
                </c:pt>
                <c:pt idx="370">
                  <c:v>21.623813655507075</c:v>
                </c:pt>
                <c:pt idx="371">
                  <c:v>21.623813655507075</c:v>
                </c:pt>
                <c:pt idx="372">
                  <c:v>21.623813655507075</c:v>
                </c:pt>
                <c:pt idx="373">
                  <c:v>21.623813655507075</c:v>
                </c:pt>
                <c:pt idx="374">
                  <c:v>21.623813655507075</c:v>
                </c:pt>
                <c:pt idx="375">
                  <c:v>21.623813655507075</c:v>
                </c:pt>
                <c:pt idx="376">
                  <c:v>21.623813655507075</c:v>
                </c:pt>
                <c:pt idx="377">
                  <c:v>21.623813655507075</c:v>
                </c:pt>
                <c:pt idx="378">
                  <c:v>21.623813655507075</c:v>
                </c:pt>
                <c:pt idx="379">
                  <c:v>21.623813655507075</c:v>
                </c:pt>
                <c:pt idx="380">
                  <c:v>21.623813655507075</c:v>
                </c:pt>
                <c:pt idx="381">
                  <c:v>21.623813655507075</c:v>
                </c:pt>
                <c:pt idx="382">
                  <c:v>21.623813655507075</c:v>
                </c:pt>
                <c:pt idx="383">
                  <c:v>21.623813655507075</c:v>
                </c:pt>
                <c:pt idx="384">
                  <c:v>21.623813655507075</c:v>
                </c:pt>
                <c:pt idx="385">
                  <c:v>21.623813655507075</c:v>
                </c:pt>
                <c:pt idx="386">
                  <c:v>21.623813655507075</c:v>
                </c:pt>
                <c:pt idx="387">
                  <c:v>21.623813655507075</c:v>
                </c:pt>
                <c:pt idx="388">
                  <c:v>21.623813655507075</c:v>
                </c:pt>
                <c:pt idx="389">
                  <c:v>21.623813655507075</c:v>
                </c:pt>
                <c:pt idx="390">
                  <c:v>21.623813655507075</c:v>
                </c:pt>
                <c:pt idx="391">
                  <c:v>21.623813655507075</c:v>
                </c:pt>
                <c:pt idx="392">
                  <c:v>21.623813655507075</c:v>
                </c:pt>
                <c:pt idx="393">
                  <c:v>21.623813655507075</c:v>
                </c:pt>
                <c:pt idx="394">
                  <c:v>21.623813655507075</c:v>
                </c:pt>
                <c:pt idx="395">
                  <c:v>21.623813655507075</c:v>
                </c:pt>
                <c:pt idx="396">
                  <c:v>21.623813655507075</c:v>
                </c:pt>
                <c:pt idx="397">
                  <c:v>21.623813655507075</c:v>
                </c:pt>
                <c:pt idx="398">
                  <c:v>21.623813655507075</c:v>
                </c:pt>
                <c:pt idx="399">
                  <c:v>21.623813655507075</c:v>
                </c:pt>
                <c:pt idx="400">
                  <c:v>21.623813655507075</c:v>
                </c:pt>
                <c:pt idx="401">
                  <c:v>21.623813655507075</c:v>
                </c:pt>
                <c:pt idx="402">
                  <c:v>21.623813655507075</c:v>
                </c:pt>
                <c:pt idx="403">
                  <c:v>21.623813655507075</c:v>
                </c:pt>
                <c:pt idx="404">
                  <c:v>21.623813655507075</c:v>
                </c:pt>
                <c:pt idx="405">
                  <c:v>21.623813655507075</c:v>
                </c:pt>
                <c:pt idx="406">
                  <c:v>21.623813655507075</c:v>
                </c:pt>
                <c:pt idx="407">
                  <c:v>21.623813655507075</c:v>
                </c:pt>
                <c:pt idx="408">
                  <c:v>21.623813655507075</c:v>
                </c:pt>
                <c:pt idx="409">
                  <c:v>21.623813655507075</c:v>
                </c:pt>
                <c:pt idx="410">
                  <c:v>21.623813655507075</c:v>
                </c:pt>
                <c:pt idx="411">
                  <c:v>21.623813655507075</c:v>
                </c:pt>
                <c:pt idx="412">
                  <c:v>21.623813655507075</c:v>
                </c:pt>
                <c:pt idx="413">
                  <c:v>21.623813655507075</c:v>
                </c:pt>
                <c:pt idx="414">
                  <c:v>21.623813655507075</c:v>
                </c:pt>
                <c:pt idx="415">
                  <c:v>21.623813655507075</c:v>
                </c:pt>
                <c:pt idx="416">
                  <c:v>21.623813655507075</c:v>
                </c:pt>
                <c:pt idx="417">
                  <c:v>21.623813655507075</c:v>
                </c:pt>
                <c:pt idx="418">
                  <c:v>21.623813655507075</c:v>
                </c:pt>
                <c:pt idx="419">
                  <c:v>21.623813655507075</c:v>
                </c:pt>
                <c:pt idx="420">
                  <c:v>21.623813655507075</c:v>
                </c:pt>
                <c:pt idx="421">
                  <c:v>21.623813655507075</c:v>
                </c:pt>
                <c:pt idx="422">
                  <c:v>21.623813655507075</c:v>
                </c:pt>
                <c:pt idx="423">
                  <c:v>21.623813655507075</c:v>
                </c:pt>
                <c:pt idx="424">
                  <c:v>21.623813655507075</c:v>
                </c:pt>
                <c:pt idx="425">
                  <c:v>21.623813655507075</c:v>
                </c:pt>
                <c:pt idx="426">
                  <c:v>21.623813655507075</c:v>
                </c:pt>
                <c:pt idx="427">
                  <c:v>21.623813655507075</c:v>
                </c:pt>
                <c:pt idx="428">
                  <c:v>21.623813655507075</c:v>
                </c:pt>
                <c:pt idx="429">
                  <c:v>21.623813655507075</c:v>
                </c:pt>
                <c:pt idx="430">
                  <c:v>21.623813655507075</c:v>
                </c:pt>
                <c:pt idx="431">
                  <c:v>21.623813655507075</c:v>
                </c:pt>
                <c:pt idx="432">
                  <c:v>21.623813655507075</c:v>
                </c:pt>
                <c:pt idx="433">
                  <c:v>21.623813655507075</c:v>
                </c:pt>
                <c:pt idx="434">
                  <c:v>21.623813655507075</c:v>
                </c:pt>
                <c:pt idx="435">
                  <c:v>21.623813655507075</c:v>
                </c:pt>
                <c:pt idx="436">
                  <c:v>21.623813655507075</c:v>
                </c:pt>
                <c:pt idx="437">
                  <c:v>21.623813655507075</c:v>
                </c:pt>
                <c:pt idx="438">
                  <c:v>21.623813655507075</c:v>
                </c:pt>
                <c:pt idx="439">
                  <c:v>21.623813655507075</c:v>
                </c:pt>
                <c:pt idx="440">
                  <c:v>21.623813655507075</c:v>
                </c:pt>
                <c:pt idx="441">
                  <c:v>21.623813655507075</c:v>
                </c:pt>
                <c:pt idx="442">
                  <c:v>21.623813655507075</c:v>
                </c:pt>
                <c:pt idx="443">
                  <c:v>21.623813655507075</c:v>
                </c:pt>
                <c:pt idx="444">
                  <c:v>21.623813655507075</c:v>
                </c:pt>
                <c:pt idx="445">
                  <c:v>21.623813655507075</c:v>
                </c:pt>
                <c:pt idx="446">
                  <c:v>21.623813655507075</c:v>
                </c:pt>
                <c:pt idx="447">
                  <c:v>21.623813655507075</c:v>
                </c:pt>
                <c:pt idx="448">
                  <c:v>21.623813655507075</c:v>
                </c:pt>
                <c:pt idx="449">
                  <c:v>21.623813655507075</c:v>
                </c:pt>
                <c:pt idx="450">
                  <c:v>21.623813655507075</c:v>
                </c:pt>
                <c:pt idx="451">
                  <c:v>21.623813655507075</c:v>
                </c:pt>
                <c:pt idx="452">
                  <c:v>21.623813655507075</c:v>
                </c:pt>
                <c:pt idx="453">
                  <c:v>21.623813655507075</c:v>
                </c:pt>
                <c:pt idx="454">
                  <c:v>21.623813655507075</c:v>
                </c:pt>
                <c:pt idx="455">
                  <c:v>21.623813655507075</c:v>
                </c:pt>
                <c:pt idx="456">
                  <c:v>21.623813655507075</c:v>
                </c:pt>
                <c:pt idx="457">
                  <c:v>21.623813655507075</c:v>
                </c:pt>
                <c:pt idx="458">
                  <c:v>21.623813655507075</c:v>
                </c:pt>
                <c:pt idx="459">
                  <c:v>21.623813655507075</c:v>
                </c:pt>
                <c:pt idx="460">
                  <c:v>21.623813655507075</c:v>
                </c:pt>
                <c:pt idx="461">
                  <c:v>21.623813655507075</c:v>
                </c:pt>
                <c:pt idx="462">
                  <c:v>21.623813655507075</c:v>
                </c:pt>
                <c:pt idx="463">
                  <c:v>21.623813655507075</c:v>
                </c:pt>
                <c:pt idx="464">
                  <c:v>21.623813655507075</c:v>
                </c:pt>
                <c:pt idx="465">
                  <c:v>21.623813655507075</c:v>
                </c:pt>
                <c:pt idx="466">
                  <c:v>21.623813655507075</c:v>
                </c:pt>
                <c:pt idx="467">
                  <c:v>21.623813655507075</c:v>
                </c:pt>
                <c:pt idx="468">
                  <c:v>21.623813655507075</c:v>
                </c:pt>
                <c:pt idx="469">
                  <c:v>21.623813655507075</c:v>
                </c:pt>
                <c:pt idx="470">
                  <c:v>21.623813655507075</c:v>
                </c:pt>
                <c:pt idx="471">
                  <c:v>21.623813655507075</c:v>
                </c:pt>
                <c:pt idx="472">
                  <c:v>21.623813655507075</c:v>
                </c:pt>
                <c:pt idx="473">
                  <c:v>21.623813655507075</c:v>
                </c:pt>
                <c:pt idx="474">
                  <c:v>21.623813655507075</c:v>
                </c:pt>
                <c:pt idx="475">
                  <c:v>21.623813655507075</c:v>
                </c:pt>
                <c:pt idx="476">
                  <c:v>21.623813655507075</c:v>
                </c:pt>
                <c:pt idx="477">
                  <c:v>21.623813655507075</c:v>
                </c:pt>
                <c:pt idx="478">
                  <c:v>21.623813655507075</c:v>
                </c:pt>
                <c:pt idx="479">
                  <c:v>21.623813655507075</c:v>
                </c:pt>
                <c:pt idx="480">
                  <c:v>21.623813655507075</c:v>
                </c:pt>
                <c:pt idx="481">
                  <c:v>21.623813655507075</c:v>
                </c:pt>
                <c:pt idx="482">
                  <c:v>21.623813655507075</c:v>
                </c:pt>
                <c:pt idx="483">
                  <c:v>21.623813655507075</c:v>
                </c:pt>
                <c:pt idx="484">
                  <c:v>21.623813655507075</c:v>
                </c:pt>
                <c:pt idx="485">
                  <c:v>21.623813655507075</c:v>
                </c:pt>
                <c:pt idx="486">
                  <c:v>21.623813655507075</c:v>
                </c:pt>
                <c:pt idx="487">
                  <c:v>21.623813655507075</c:v>
                </c:pt>
                <c:pt idx="488">
                  <c:v>21.623813655507075</c:v>
                </c:pt>
                <c:pt idx="489">
                  <c:v>21.623813655507075</c:v>
                </c:pt>
                <c:pt idx="490">
                  <c:v>21.623813655507075</c:v>
                </c:pt>
                <c:pt idx="491">
                  <c:v>21.623813655507075</c:v>
                </c:pt>
                <c:pt idx="492">
                  <c:v>21.623813655507075</c:v>
                </c:pt>
                <c:pt idx="493">
                  <c:v>21.623813655507075</c:v>
                </c:pt>
                <c:pt idx="494">
                  <c:v>21.623813655507075</c:v>
                </c:pt>
                <c:pt idx="495">
                  <c:v>21.623813655507075</c:v>
                </c:pt>
                <c:pt idx="496">
                  <c:v>21.623813655507075</c:v>
                </c:pt>
                <c:pt idx="497">
                  <c:v>21.623813655507075</c:v>
                </c:pt>
                <c:pt idx="498">
                  <c:v>21.623813655507075</c:v>
                </c:pt>
                <c:pt idx="499">
                  <c:v>21.623813655507075</c:v>
                </c:pt>
                <c:pt idx="500">
                  <c:v>21.623813655507075</c:v>
                </c:pt>
                <c:pt idx="501">
                  <c:v>21.623813655507075</c:v>
                </c:pt>
                <c:pt idx="502">
                  <c:v>21.623813655507075</c:v>
                </c:pt>
                <c:pt idx="503">
                  <c:v>21.623813655507075</c:v>
                </c:pt>
                <c:pt idx="504">
                  <c:v>21.623813655507075</c:v>
                </c:pt>
                <c:pt idx="505">
                  <c:v>21.623813655507075</c:v>
                </c:pt>
                <c:pt idx="506">
                  <c:v>21.623813655507075</c:v>
                </c:pt>
                <c:pt idx="507">
                  <c:v>21.623813655507075</c:v>
                </c:pt>
                <c:pt idx="508">
                  <c:v>21.623813655507075</c:v>
                </c:pt>
                <c:pt idx="509">
                  <c:v>21.623813655507075</c:v>
                </c:pt>
                <c:pt idx="510">
                  <c:v>21.623813655507075</c:v>
                </c:pt>
                <c:pt idx="511">
                  <c:v>21.623813655507075</c:v>
                </c:pt>
                <c:pt idx="512">
                  <c:v>21.623813655507075</c:v>
                </c:pt>
                <c:pt idx="513">
                  <c:v>21.623813655507075</c:v>
                </c:pt>
                <c:pt idx="514">
                  <c:v>21.623813655507075</c:v>
                </c:pt>
                <c:pt idx="515">
                  <c:v>21.623813655507075</c:v>
                </c:pt>
                <c:pt idx="516">
                  <c:v>21.623813655507075</c:v>
                </c:pt>
                <c:pt idx="517">
                  <c:v>21.623813655507075</c:v>
                </c:pt>
                <c:pt idx="518">
                  <c:v>21.623813655507075</c:v>
                </c:pt>
                <c:pt idx="519">
                  <c:v>21.623813655507075</c:v>
                </c:pt>
                <c:pt idx="520">
                  <c:v>21.623813655507075</c:v>
                </c:pt>
                <c:pt idx="521">
                  <c:v>21.623813655507075</c:v>
                </c:pt>
                <c:pt idx="522">
                  <c:v>21.623813655507075</c:v>
                </c:pt>
                <c:pt idx="523">
                  <c:v>21.623813655507075</c:v>
                </c:pt>
                <c:pt idx="524">
                  <c:v>21.623813655507075</c:v>
                </c:pt>
                <c:pt idx="525">
                  <c:v>21.623813655507075</c:v>
                </c:pt>
                <c:pt idx="526">
                  <c:v>21.623813655507075</c:v>
                </c:pt>
                <c:pt idx="527">
                  <c:v>21.623813655507075</c:v>
                </c:pt>
                <c:pt idx="528">
                  <c:v>21.623813655507075</c:v>
                </c:pt>
                <c:pt idx="529">
                  <c:v>21.623813655507075</c:v>
                </c:pt>
                <c:pt idx="530">
                  <c:v>21.623813655507075</c:v>
                </c:pt>
                <c:pt idx="531">
                  <c:v>21.623813655507075</c:v>
                </c:pt>
                <c:pt idx="532">
                  <c:v>21.623813655507075</c:v>
                </c:pt>
                <c:pt idx="533">
                  <c:v>21.623813655507075</c:v>
                </c:pt>
                <c:pt idx="534">
                  <c:v>21.623813655507075</c:v>
                </c:pt>
                <c:pt idx="535">
                  <c:v>21.623813655507075</c:v>
                </c:pt>
                <c:pt idx="536">
                  <c:v>21.623813655507075</c:v>
                </c:pt>
                <c:pt idx="537">
                  <c:v>21.623813655507075</c:v>
                </c:pt>
                <c:pt idx="538">
                  <c:v>21.623813655507075</c:v>
                </c:pt>
                <c:pt idx="539">
                  <c:v>21.623813655507075</c:v>
                </c:pt>
                <c:pt idx="540">
                  <c:v>21.623813655507075</c:v>
                </c:pt>
                <c:pt idx="541">
                  <c:v>21.623813655507075</c:v>
                </c:pt>
                <c:pt idx="542">
                  <c:v>21.623813655507075</c:v>
                </c:pt>
                <c:pt idx="543">
                  <c:v>21.623813655507075</c:v>
                </c:pt>
                <c:pt idx="544">
                  <c:v>21.623813655507075</c:v>
                </c:pt>
                <c:pt idx="545">
                  <c:v>21.623813655507075</c:v>
                </c:pt>
                <c:pt idx="546">
                  <c:v>21.623813655507075</c:v>
                </c:pt>
                <c:pt idx="547">
                  <c:v>21.623813655507075</c:v>
                </c:pt>
                <c:pt idx="548">
                  <c:v>21.623813655507075</c:v>
                </c:pt>
                <c:pt idx="549">
                  <c:v>21.623813655507075</c:v>
                </c:pt>
                <c:pt idx="550">
                  <c:v>21.623813655507075</c:v>
                </c:pt>
                <c:pt idx="551">
                  <c:v>21.623813655507075</c:v>
                </c:pt>
                <c:pt idx="552">
                  <c:v>21.623813655507075</c:v>
                </c:pt>
                <c:pt idx="553">
                  <c:v>21.623813655507075</c:v>
                </c:pt>
                <c:pt idx="554">
                  <c:v>21.623813655507075</c:v>
                </c:pt>
                <c:pt idx="555">
                  <c:v>21.623813655507075</c:v>
                </c:pt>
                <c:pt idx="556">
                  <c:v>21.623813655507075</c:v>
                </c:pt>
                <c:pt idx="557">
                  <c:v>21.623813655507075</c:v>
                </c:pt>
                <c:pt idx="558">
                  <c:v>21.623813655507075</c:v>
                </c:pt>
                <c:pt idx="559">
                  <c:v>21.623813655507075</c:v>
                </c:pt>
                <c:pt idx="560">
                  <c:v>21.623813655507075</c:v>
                </c:pt>
                <c:pt idx="561">
                  <c:v>21.623813655507075</c:v>
                </c:pt>
                <c:pt idx="562">
                  <c:v>21.623813655507075</c:v>
                </c:pt>
                <c:pt idx="563">
                  <c:v>21.623813655507075</c:v>
                </c:pt>
                <c:pt idx="564">
                  <c:v>21.623813655507075</c:v>
                </c:pt>
                <c:pt idx="565">
                  <c:v>21.623813655507075</c:v>
                </c:pt>
                <c:pt idx="566">
                  <c:v>21.623813655507075</c:v>
                </c:pt>
                <c:pt idx="567">
                  <c:v>21.623813655507075</c:v>
                </c:pt>
                <c:pt idx="568">
                  <c:v>21.623813655507075</c:v>
                </c:pt>
                <c:pt idx="569">
                  <c:v>21.623813655507075</c:v>
                </c:pt>
                <c:pt idx="570">
                  <c:v>21.623813655507075</c:v>
                </c:pt>
                <c:pt idx="571">
                  <c:v>21.623813655507075</c:v>
                </c:pt>
                <c:pt idx="572">
                  <c:v>21.623813655507075</c:v>
                </c:pt>
                <c:pt idx="573">
                  <c:v>21.623813655507075</c:v>
                </c:pt>
                <c:pt idx="574">
                  <c:v>21.623813655507075</c:v>
                </c:pt>
                <c:pt idx="575">
                  <c:v>21.623813655507075</c:v>
                </c:pt>
                <c:pt idx="576">
                  <c:v>21.623813655507075</c:v>
                </c:pt>
                <c:pt idx="577">
                  <c:v>21.623813655507075</c:v>
                </c:pt>
                <c:pt idx="578">
                  <c:v>21.623813655507075</c:v>
                </c:pt>
                <c:pt idx="579">
                  <c:v>21.623813655507075</c:v>
                </c:pt>
                <c:pt idx="580">
                  <c:v>21.623813655507075</c:v>
                </c:pt>
                <c:pt idx="581">
                  <c:v>21.623813655507075</c:v>
                </c:pt>
                <c:pt idx="582">
                  <c:v>21.623813655507075</c:v>
                </c:pt>
                <c:pt idx="583">
                  <c:v>21.623813655507075</c:v>
                </c:pt>
                <c:pt idx="584">
                  <c:v>21.623813655507075</c:v>
                </c:pt>
                <c:pt idx="585">
                  <c:v>21.623813655507075</c:v>
                </c:pt>
                <c:pt idx="586">
                  <c:v>21.623813655507075</c:v>
                </c:pt>
                <c:pt idx="587">
                  <c:v>21.623813655507075</c:v>
                </c:pt>
                <c:pt idx="588">
                  <c:v>21.623813655507075</c:v>
                </c:pt>
                <c:pt idx="589">
                  <c:v>21.623813655507075</c:v>
                </c:pt>
                <c:pt idx="590">
                  <c:v>21.623813655507075</c:v>
                </c:pt>
                <c:pt idx="591">
                  <c:v>21.623813655507075</c:v>
                </c:pt>
                <c:pt idx="592">
                  <c:v>21.623813655507075</c:v>
                </c:pt>
                <c:pt idx="593">
                  <c:v>21.623813655507075</c:v>
                </c:pt>
                <c:pt idx="594">
                  <c:v>21.623813655507075</c:v>
                </c:pt>
                <c:pt idx="595">
                  <c:v>21.623813655507075</c:v>
                </c:pt>
                <c:pt idx="596">
                  <c:v>21.623813655507075</c:v>
                </c:pt>
                <c:pt idx="597">
                  <c:v>21.623813655507075</c:v>
                </c:pt>
                <c:pt idx="598">
                  <c:v>21.623813655507075</c:v>
                </c:pt>
                <c:pt idx="599">
                  <c:v>21.623813655507075</c:v>
                </c:pt>
                <c:pt idx="600">
                  <c:v>21.623813655507075</c:v>
                </c:pt>
                <c:pt idx="601">
                  <c:v>21.623813655507075</c:v>
                </c:pt>
                <c:pt idx="602">
                  <c:v>21.623813655507075</c:v>
                </c:pt>
                <c:pt idx="603">
                  <c:v>21.623813655507075</c:v>
                </c:pt>
                <c:pt idx="604">
                  <c:v>21.623813655507075</c:v>
                </c:pt>
                <c:pt idx="605">
                  <c:v>21.623813655507075</c:v>
                </c:pt>
                <c:pt idx="606">
                  <c:v>21.623813655507075</c:v>
                </c:pt>
                <c:pt idx="607">
                  <c:v>21.623813655507075</c:v>
                </c:pt>
                <c:pt idx="608">
                  <c:v>21.623813655507075</c:v>
                </c:pt>
                <c:pt idx="609">
                  <c:v>21.623813655507075</c:v>
                </c:pt>
                <c:pt idx="610">
                  <c:v>21.623813655507075</c:v>
                </c:pt>
                <c:pt idx="611">
                  <c:v>21.623813655507075</c:v>
                </c:pt>
                <c:pt idx="612">
                  <c:v>21.623813655507075</c:v>
                </c:pt>
                <c:pt idx="613">
                  <c:v>21.623813655507075</c:v>
                </c:pt>
                <c:pt idx="614">
                  <c:v>21.623813655507075</c:v>
                </c:pt>
                <c:pt idx="615">
                  <c:v>21.623813655507075</c:v>
                </c:pt>
                <c:pt idx="616">
                  <c:v>21.623813655507075</c:v>
                </c:pt>
                <c:pt idx="617">
                  <c:v>21.623813655507075</c:v>
                </c:pt>
                <c:pt idx="618">
                  <c:v>21.623813655507075</c:v>
                </c:pt>
                <c:pt idx="619">
                  <c:v>21.623813655507075</c:v>
                </c:pt>
                <c:pt idx="620">
                  <c:v>21.623813655507075</c:v>
                </c:pt>
                <c:pt idx="621">
                  <c:v>21.623813655507075</c:v>
                </c:pt>
                <c:pt idx="622">
                  <c:v>21.623813655507075</c:v>
                </c:pt>
                <c:pt idx="623">
                  <c:v>21.623813655507075</c:v>
                </c:pt>
                <c:pt idx="624">
                  <c:v>21.623813655507075</c:v>
                </c:pt>
                <c:pt idx="625">
                  <c:v>21.623813655507075</c:v>
                </c:pt>
                <c:pt idx="626">
                  <c:v>21.623813655507075</c:v>
                </c:pt>
                <c:pt idx="627">
                  <c:v>21.623813655507075</c:v>
                </c:pt>
                <c:pt idx="628">
                  <c:v>21.623813655507075</c:v>
                </c:pt>
                <c:pt idx="629">
                  <c:v>21.623813655507075</c:v>
                </c:pt>
                <c:pt idx="630">
                  <c:v>21.623813655507075</c:v>
                </c:pt>
                <c:pt idx="631">
                  <c:v>21.623813655507075</c:v>
                </c:pt>
                <c:pt idx="632">
                  <c:v>21.623813655507075</c:v>
                </c:pt>
                <c:pt idx="633">
                  <c:v>21.623813655507075</c:v>
                </c:pt>
                <c:pt idx="634">
                  <c:v>21.623813655507075</c:v>
                </c:pt>
                <c:pt idx="635">
                  <c:v>21.623813655507075</c:v>
                </c:pt>
                <c:pt idx="636">
                  <c:v>21.623813655507075</c:v>
                </c:pt>
                <c:pt idx="637">
                  <c:v>21.623813655507075</c:v>
                </c:pt>
                <c:pt idx="638">
                  <c:v>21.623813655507075</c:v>
                </c:pt>
                <c:pt idx="639">
                  <c:v>21.623813655507075</c:v>
                </c:pt>
                <c:pt idx="640">
                  <c:v>21.623813655507075</c:v>
                </c:pt>
                <c:pt idx="641">
                  <c:v>21.623813655507075</c:v>
                </c:pt>
                <c:pt idx="642">
                  <c:v>21.623813655507075</c:v>
                </c:pt>
                <c:pt idx="643">
                  <c:v>21.623813655507075</c:v>
                </c:pt>
                <c:pt idx="644">
                  <c:v>21.623813655507075</c:v>
                </c:pt>
                <c:pt idx="645">
                  <c:v>21.623813655507075</c:v>
                </c:pt>
                <c:pt idx="646">
                  <c:v>21.623813655507075</c:v>
                </c:pt>
                <c:pt idx="647">
                  <c:v>21.623813655507075</c:v>
                </c:pt>
                <c:pt idx="648">
                  <c:v>21.623813655507075</c:v>
                </c:pt>
                <c:pt idx="649">
                  <c:v>21.623813655507075</c:v>
                </c:pt>
                <c:pt idx="650">
                  <c:v>21.623813655507075</c:v>
                </c:pt>
                <c:pt idx="651">
                  <c:v>21.623813655507075</c:v>
                </c:pt>
                <c:pt idx="652">
                  <c:v>21.623813655507075</c:v>
                </c:pt>
                <c:pt idx="653">
                  <c:v>21.623813655507075</c:v>
                </c:pt>
                <c:pt idx="654">
                  <c:v>21.623813655507075</c:v>
                </c:pt>
                <c:pt idx="655">
                  <c:v>21.623813655507075</c:v>
                </c:pt>
                <c:pt idx="656">
                  <c:v>21.623813655507075</c:v>
                </c:pt>
                <c:pt idx="657">
                  <c:v>21.623813655507075</c:v>
                </c:pt>
                <c:pt idx="658">
                  <c:v>21.623813655507075</c:v>
                </c:pt>
                <c:pt idx="659">
                  <c:v>21.623813655507075</c:v>
                </c:pt>
                <c:pt idx="660">
                  <c:v>21.623813655507075</c:v>
                </c:pt>
                <c:pt idx="661">
                  <c:v>21.623813655507075</c:v>
                </c:pt>
                <c:pt idx="662">
                  <c:v>21.623813655507075</c:v>
                </c:pt>
                <c:pt idx="663">
                  <c:v>21.623813655507075</c:v>
                </c:pt>
                <c:pt idx="664">
                  <c:v>21.623813655507075</c:v>
                </c:pt>
                <c:pt idx="665">
                  <c:v>21.623813655507075</c:v>
                </c:pt>
                <c:pt idx="666">
                  <c:v>21.623813655507075</c:v>
                </c:pt>
                <c:pt idx="667">
                  <c:v>21.623813655507075</c:v>
                </c:pt>
                <c:pt idx="668">
                  <c:v>21.623813655507075</c:v>
                </c:pt>
                <c:pt idx="669">
                  <c:v>21.623813655507075</c:v>
                </c:pt>
                <c:pt idx="670">
                  <c:v>21.623813655507075</c:v>
                </c:pt>
                <c:pt idx="671">
                  <c:v>21.623813655507075</c:v>
                </c:pt>
                <c:pt idx="672">
                  <c:v>21.623813655507075</c:v>
                </c:pt>
                <c:pt idx="673">
                  <c:v>21.623813655507075</c:v>
                </c:pt>
                <c:pt idx="674">
                  <c:v>21.623813655507075</c:v>
                </c:pt>
                <c:pt idx="675">
                  <c:v>21.623813655507075</c:v>
                </c:pt>
                <c:pt idx="676">
                  <c:v>21.623813655507075</c:v>
                </c:pt>
                <c:pt idx="677">
                  <c:v>21.623813655507075</c:v>
                </c:pt>
                <c:pt idx="678">
                  <c:v>21.623813655507075</c:v>
                </c:pt>
                <c:pt idx="679">
                  <c:v>21.623813655507075</c:v>
                </c:pt>
                <c:pt idx="680">
                  <c:v>21.623813655507075</c:v>
                </c:pt>
                <c:pt idx="681">
                  <c:v>21.623813655507075</c:v>
                </c:pt>
                <c:pt idx="682">
                  <c:v>21.623813655507075</c:v>
                </c:pt>
                <c:pt idx="683">
                  <c:v>21.623813655507075</c:v>
                </c:pt>
                <c:pt idx="684">
                  <c:v>21.623813655507075</c:v>
                </c:pt>
                <c:pt idx="685">
                  <c:v>21.623813655507075</c:v>
                </c:pt>
                <c:pt idx="686">
                  <c:v>21.623813655507075</c:v>
                </c:pt>
                <c:pt idx="687">
                  <c:v>21.623813655507075</c:v>
                </c:pt>
                <c:pt idx="688">
                  <c:v>21.623813655507075</c:v>
                </c:pt>
                <c:pt idx="689">
                  <c:v>21.623813655507075</c:v>
                </c:pt>
                <c:pt idx="690">
                  <c:v>21.623813655507075</c:v>
                </c:pt>
                <c:pt idx="691">
                  <c:v>21.623813655507075</c:v>
                </c:pt>
                <c:pt idx="692">
                  <c:v>21.623813655507075</c:v>
                </c:pt>
                <c:pt idx="693">
                  <c:v>21.623813655507075</c:v>
                </c:pt>
                <c:pt idx="694">
                  <c:v>21.623813655507075</c:v>
                </c:pt>
                <c:pt idx="695">
                  <c:v>21.623813655507075</c:v>
                </c:pt>
                <c:pt idx="696">
                  <c:v>21.623813655507075</c:v>
                </c:pt>
                <c:pt idx="697">
                  <c:v>21.623813655507075</c:v>
                </c:pt>
                <c:pt idx="698">
                  <c:v>21.623813655507075</c:v>
                </c:pt>
                <c:pt idx="699">
                  <c:v>21.623813655507075</c:v>
                </c:pt>
                <c:pt idx="700">
                  <c:v>21.623813655507075</c:v>
                </c:pt>
                <c:pt idx="701">
                  <c:v>21.623813655507075</c:v>
                </c:pt>
                <c:pt idx="702">
                  <c:v>21.623813655507075</c:v>
                </c:pt>
                <c:pt idx="703">
                  <c:v>21.623813655507075</c:v>
                </c:pt>
                <c:pt idx="704">
                  <c:v>21.623813655507075</c:v>
                </c:pt>
                <c:pt idx="705">
                  <c:v>21.623813655507075</c:v>
                </c:pt>
                <c:pt idx="706">
                  <c:v>21.623813655507075</c:v>
                </c:pt>
                <c:pt idx="707">
                  <c:v>21.623813655507075</c:v>
                </c:pt>
                <c:pt idx="708">
                  <c:v>21.623813655507075</c:v>
                </c:pt>
                <c:pt idx="709">
                  <c:v>21.623813655507075</c:v>
                </c:pt>
                <c:pt idx="710">
                  <c:v>21.623813655507075</c:v>
                </c:pt>
                <c:pt idx="711">
                  <c:v>21.623813655507075</c:v>
                </c:pt>
                <c:pt idx="712">
                  <c:v>21.623813655507075</c:v>
                </c:pt>
                <c:pt idx="713">
                  <c:v>21.623813655507075</c:v>
                </c:pt>
                <c:pt idx="714">
                  <c:v>21.623813655507075</c:v>
                </c:pt>
                <c:pt idx="715">
                  <c:v>21.623813655507075</c:v>
                </c:pt>
                <c:pt idx="716">
                  <c:v>21.623813655507075</c:v>
                </c:pt>
                <c:pt idx="717">
                  <c:v>21.623813655507075</c:v>
                </c:pt>
                <c:pt idx="718">
                  <c:v>21.623813655507075</c:v>
                </c:pt>
                <c:pt idx="719">
                  <c:v>21.623813655507075</c:v>
                </c:pt>
                <c:pt idx="720">
                  <c:v>21.623813655507075</c:v>
                </c:pt>
                <c:pt idx="721">
                  <c:v>21.623813655507075</c:v>
                </c:pt>
                <c:pt idx="722">
                  <c:v>21.623813655507075</c:v>
                </c:pt>
                <c:pt idx="723">
                  <c:v>21.623813655507075</c:v>
                </c:pt>
                <c:pt idx="724">
                  <c:v>21.623813655507075</c:v>
                </c:pt>
                <c:pt idx="725">
                  <c:v>21.623813655507075</c:v>
                </c:pt>
                <c:pt idx="726">
                  <c:v>21.623813655507075</c:v>
                </c:pt>
                <c:pt idx="727">
                  <c:v>21.623813655507075</c:v>
                </c:pt>
                <c:pt idx="728">
                  <c:v>21.623813655507075</c:v>
                </c:pt>
                <c:pt idx="729">
                  <c:v>21.623813655507075</c:v>
                </c:pt>
                <c:pt idx="730">
                  <c:v>21.623813655507075</c:v>
                </c:pt>
                <c:pt idx="731">
                  <c:v>21.623813655507075</c:v>
                </c:pt>
                <c:pt idx="732">
                  <c:v>21.623813655507075</c:v>
                </c:pt>
                <c:pt idx="733">
                  <c:v>21.623813655507075</c:v>
                </c:pt>
                <c:pt idx="734">
                  <c:v>21.623813655507075</c:v>
                </c:pt>
                <c:pt idx="735">
                  <c:v>21.623813655507075</c:v>
                </c:pt>
                <c:pt idx="736">
                  <c:v>21.623813655507075</c:v>
                </c:pt>
                <c:pt idx="737">
                  <c:v>21.623813655507075</c:v>
                </c:pt>
                <c:pt idx="738">
                  <c:v>21.623813655507075</c:v>
                </c:pt>
                <c:pt idx="739">
                  <c:v>21.623813655507075</c:v>
                </c:pt>
                <c:pt idx="740">
                  <c:v>21.623813655507075</c:v>
                </c:pt>
                <c:pt idx="741">
                  <c:v>21.623813655507075</c:v>
                </c:pt>
                <c:pt idx="742">
                  <c:v>21.623813655507075</c:v>
                </c:pt>
                <c:pt idx="743">
                  <c:v>21.623813655507075</c:v>
                </c:pt>
                <c:pt idx="744">
                  <c:v>21.623813655507075</c:v>
                </c:pt>
                <c:pt idx="745">
                  <c:v>21.623813655507075</c:v>
                </c:pt>
                <c:pt idx="746">
                  <c:v>21.623813655507075</c:v>
                </c:pt>
                <c:pt idx="747">
                  <c:v>21.623813655507075</c:v>
                </c:pt>
                <c:pt idx="748">
                  <c:v>21.623813655507075</c:v>
                </c:pt>
                <c:pt idx="749">
                  <c:v>21.623813655507075</c:v>
                </c:pt>
                <c:pt idx="750">
                  <c:v>21.623813655507075</c:v>
                </c:pt>
                <c:pt idx="751">
                  <c:v>21.623813655507075</c:v>
                </c:pt>
                <c:pt idx="752">
                  <c:v>21.623813655507075</c:v>
                </c:pt>
                <c:pt idx="753">
                  <c:v>21.623813655507075</c:v>
                </c:pt>
                <c:pt idx="754">
                  <c:v>21.623813655507075</c:v>
                </c:pt>
                <c:pt idx="755">
                  <c:v>21.623813655507075</c:v>
                </c:pt>
                <c:pt idx="756">
                  <c:v>21.623813655507075</c:v>
                </c:pt>
                <c:pt idx="757">
                  <c:v>21.623813655507075</c:v>
                </c:pt>
                <c:pt idx="758">
                  <c:v>21.623813655507075</c:v>
                </c:pt>
                <c:pt idx="759">
                  <c:v>21.623813655507075</c:v>
                </c:pt>
                <c:pt idx="760">
                  <c:v>21.623813655507075</c:v>
                </c:pt>
                <c:pt idx="761">
                  <c:v>21.623813655507075</c:v>
                </c:pt>
                <c:pt idx="762">
                  <c:v>21.623813655507075</c:v>
                </c:pt>
                <c:pt idx="763">
                  <c:v>21.623813655507075</c:v>
                </c:pt>
                <c:pt idx="764">
                  <c:v>21.623813655507075</c:v>
                </c:pt>
                <c:pt idx="765">
                  <c:v>21.623813655507075</c:v>
                </c:pt>
                <c:pt idx="766">
                  <c:v>21.623813655507075</c:v>
                </c:pt>
                <c:pt idx="767">
                  <c:v>21.623813655507075</c:v>
                </c:pt>
                <c:pt idx="768">
                  <c:v>21.623813655507075</c:v>
                </c:pt>
                <c:pt idx="769">
                  <c:v>21.623813655507075</c:v>
                </c:pt>
                <c:pt idx="770">
                  <c:v>21.623813655507075</c:v>
                </c:pt>
                <c:pt idx="771">
                  <c:v>21.623813655507075</c:v>
                </c:pt>
                <c:pt idx="772">
                  <c:v>21.623813655507075</c:v>
                </c:pt>
                <c:pt idx="773">
                  <c:v>21.623813655507075</c:v>
                </c:pt>
                <c:pt idx="774">
                  <c:v>21.623813655507075</c:v>
                </c:pt>
                <c:pt idx="775">
                  <c:v>21.623813655507075</c:v>
                </c:pt>
                <c:pt idx="776">
                  <c:v>21.623813655507075</c:v>
                </c:pt>
                <c:pt idx="777">
                  <c:v>21.623813655507075</c:v>
                </c:pt>
                <c:pt idx="778">
                  <c:v>21.623813655507075</c:v>
                </c:pt>
                <c:pt idx="779">
                  <c:v>21.623813655507075</c:v>
                </c:pt>
                <c:pt idx="780">
                  <c:v>21.623813655507075</c:v>
                </c:pt>
                <c:pt idx="781">
                  <c:v>21.623813655507075</c:v>
                </c:pt>
                <c:pt idx="782">
                  <c:v>21.623813655507075</c:v>
                </c:pt>
                <c:pt idx="783">
                  <c:v>21.623813655507075</c:v>
                </c:pt>
                <c:pt idx="784">
                  <c:v>21.623813655507075</c:v>
                </c:pt>
                <c:pt idx="785">
                  <c:v>21.623813655507075</c:v>
                </c:pt>
                <c:pt idx="786">
                  <c:v>21.623813655507075</c:v>
                </c:pt>
                <c:pt idx="787">
                  <c:v>21.623813655507075</c:v>
                </c:pt>
                <c:pt idx="788">
                  <c:v>21.623813655507075</c:v>
                </c:pt>
                <c:pt idx="789">
                  <c:v>21.623813655507075</c:v>
                </c:pt>
                <c:pt idx="790">
                  <c:v>21.623813655507075</c:v>
                </c:pt>
                <c:pt idx="791">
                  <c:v>21.623813655507075</c:v>
                </c:pt>
                <c:pt idx="792">
                  <c:v>21.623813655507075</c:v>
                </c:pt>
                <c:pt idx="793">
                  <c:v>21.623813655507075</c:v>
                </c:pt>
                <c:pt idx="794">
                  <c:v>21.623813655507075</c:v>
                </c:pt>
                <c:pt idx="795">
                  <c:v>21.623813655507075</c:v>
                </c:pt>
                <c:pt idx="796">
                  <c:v>21.623813655507075</c:v>
                </c:pt>
                <c:pt idx="797">
                  <c:v>21.623813655507075</c:v>
                </c:pt>
                <c:pt idx="798">
                  <c:v>21.623813655507075</c:v>
                </c:pt>
                <c:pt idx="799">
                  <c:v>21.623813655507075</c:v>
                </c:pt>
                <c:pt idx="800">
                  <c:v>21.623813655507075</c:v>
                </c:pt>
                <c:pt idx="801">
                  <c:v>21.623813655507075</c:v>
                </c:pt>
                <c:pt idx="802">
                  <c:v>21.623813655507075</c:v>
                </c:pt>
                <c:pt idx="803">
                  <c:v>21.623813655507075</c:v>
                </c:pt>
                <c:pt idx="804">
                  <c:v>21.623813655507075</c:v>
                </c:pt>
                <c:pt idx="805">
                  <c:v>21.623813655507075</c:v>
                </c:pt>
                <c:pt idx="806">
                  <c:v>21.623813655507075</c:v>
                </c:pt>
                <c:pt idx="807">
                  <c:v>21.623813655507075</c:v>
                </c:pt>
                <c:pt idx="808">
                  <c:v>21.623813655507075</c:v>
                </c:pt>
                <c:pt idx="809">
                  <c:v>21.623813655507075</c:v>
                </c:pt>
                <c:pt idx="810">
                  <c:v>21.623813655507075</c:v>
                </c:pt>
                <c:pt idx="811">
                  <c:v>21.623813655507075</c:v>
                </c:pt>
                <c:pt idx="812">
                  <c:v>21.623813655507075</c:v>
                </c:pt>
                <c:pt idx="813">
                  <c:v>21.623813655507075</c:v>
                </c:pt>
                <c:pt idx="814">
                  <c:v>21.623813655507075</c:v>
                </c:pt>
                <c:pt idx="815">
                  <c:v>21.623813655507075</c:v>
                </c:pt>
                <c:pt idx="816">
                  <c:v>21.623813655507075</c:v>
                </c:pt>
                <c:pt idx="817">
                  <c:v>21.623813655507075</c:v>
                </c:pt>
                <c:pt idx="818">
                  <c:v>21.623813655507075</c:v>
                </c:pt>
                <c:pt idx="819">
                  <c:v>21.623813655507075</c:v>
                </c:pt>
                <c:pt idx="820">
                  <c:v>21.623813655507075</c:v>
                </c:pt>
                <c:pt idx="821">
                  <c:v>21.623813655507075</c:v>
                </c:pt>
                <c:pt idx="822">
                  <c:v>21.623813655507075</c:v>
                </c:pt>
                <c:pt idx="823">
                  <c:v>21.623813655507075</c:v>
                </c:pt>
                <c:pt idx="824">
                  <c:v>21.623813655507075</c:v>
                </c:pt>
                <c:pt idx="825">
                  <c:v>21.623813655507075</c:v>
                </c:pt>
                <c:pt idx="826">
                  <c:v>21.623813655507075</c:v>
                </c:pt>
                <c:pt idx="827">
                  <c:v>21.623813655507075</c:v>
                </c:pt>
                <c:pt idx="828">
                  <c:v>21.623813655507075</c:v>
                </c:pt>
                <c:pt idx="829">
                  <c:v>21.623813655507075</c:v>
                </c:pt>
                <c:pt idx="830">
                  <c:v>21.623813655507075</c:v>
                </c:pt>
                <c:pt idx="831">
                  <c:v>21.623813655507075</c:v>
                </c:pt>
                <c:pt idx="832">
                  <c:v>21.623813655507075</c:v>
                </c:pt>
                <c:pt idx="833">
                  <c:v>21.623813655507075</c:v>
                </c:pt>
                <c:pt idx="834">
                  <c:v>21.623813655507075</c:v>
                </c:pt>
                <c:pt idx="835">
                  <c:v>21.623813655507075</c:v>
                </c:pt>
                <c:pt idx="836">
                  <c:v>21.623813655507075</c:v>
                </c:pt>
                <c:pt idx="837">
                  <c:v>21.623813655507075</c:v>
                </c:pt>
                <c:pt idx="838">
                  <c:v>21.623813655507075</c:v>
                </c:pt>
                <c:pt idx="839">
                  <c:v>21.623813655507075</c:v>
                </c:pt>
                <c:pt idx="840">
                  <c:v>21.623813655507075</c:v>
                </c:pt>
                <c:pt idx="841">
                  <c:v>21.623813655507075</c:v>
                </c:pt>
                <c:pt idx="842">
                  <c:v>21.623813655507075</c:v>
                </c:pt>
                <c:pt idx="843">
                  <c:v>21.623813655507075</c:v>
                </c:pt>
                <c:pt idx="844">
                  <c:v>21.623813655507075</c:v>
                </c:pt>
                <c:pt idx="845">
                  <c:v>21.623813655507075</c:v>
                </c:pt>
                <c:pt idx="846">
                  <c:v>21.623813655507075</c:v>
                </c:pt>
                <c:pt idx="847">
                  <c:v>21.623813655507075</c:v>
                </c:pt>
                <c:pt idx="848">
                  <c:v>21.623813655507075</c:v>
                </c:pt>
                <c:pt idx="849">
                  <c:v>21.623813655507075</c:v>
                </c:pt>
                <c:pt idx="850">
                  <c:v>21.623813655507075</c:v>
                </c:pt>
                <c:pt idx="851">
                  <c:v>21.623813655507075</c:v>
                </c:pt>
                <c:pt idx="852">
                  <c:v>21.623813655507075</c:v>
                </c:pt>
                <c:pt idx="853">
                  <c:v>21.623813655507075</c:v>
                </c:pt>
                <c:pt idx="854">
                  <c:v>21.623813655507075</c:v>
                </c:pt>
                <c:pt idx="855">
                  <c:v>21.623813655507075</c:v>
                </c:pt>
                <c:pt idx="856">
                  <c:v>21.623813655507075</c:v>
                </c:pt>
                <c:pt idx="857">
                  <c:v>21.623813655507075</c:v>
                </c:pt>
                <c:pt idx="858">
                  <c:v>21.623813655507075</c:v>
                </c:pt>
                <c:pt idx="859">
                  <c:v>21.623813655507075</c:v>
                </c:pt>
                <c:pt idx="860">
                  <c:v>21.623813655507075</c:v>
                </c:pt>
                <c:pt idx="861">
                  <c:v>21.623813655507075</c:v>
                </c:pt>
                <c:pt idx="862">
                  <c:v>21.623813655507075</c:v>
                </c:pt>
                <c:pt idx="863">
                  <c:v>21.623813655507075</c:v>
                </c:pt>
                <c:pt idx="864">
                  <c:v>21.623813655507075</c:v>
                </c:pt>
                <c:pt idx="865">
                  <c:v>21.623813655507075</c:v>
                </c:pt>
                <c:pt idx="866">
                  <c:v>21.623813655507075</c:v>
                </c:pt>
                <c:pt idx="867">
                  <c:v>21.623813655507075</c:v>
                </c:pt>
                <c:pt idx="868">
                  <c:v>21.623813655507075</c:v>
                </c:pt>
                <c:pt idx="869">
                  <c:v>21.623813655507075</c:v>
                </c:pt>
                <c:pt idx="870">
                  <c:v>21.623813655507075</c:v>
                </c:pt>
                <c:pt idx="871">
                  <c:v>21.623813655507075</c:v>
                </c:pt>
                <c:pt idx="872">
                  <c:v>21.623813655507075</c:v>
                </c:pt>
                <c:pt idx="873">
                  <c:v>21.623813655507075</c:v>
                </c:pt>
                <c:pt idx="874">
                  <c:v>21.623813655507075</c:v>
                </c:pt>
                <c:pt idx="875">
                  <c:v>21.623813655507075</c:v>
                </c:pt>
                <c:pt idx="876">
                  <c:v>21.623813655507075</c:v>
                </c:pt>
                <c:pt idx="877">
                  <c:v>21.623813655507075</c:v>
                </c:pt>
                <c:pt idx="878">
                  <c:v>21.623813655507075</c:v>
                </c:pt>
                <c:pt idx="879">
                  <c:v>21.623813655507075</c:v>
                </c:pt>
                <c:pt idx="880">
                  <c:v>21.623813655507075</c:v>
                </c:pt>
                <c:pt idx="881">
                  <c:v>21.623813655507075</c:v>
                </c:pt>
                <c:pt idx="882">
                  <c:v>21.623813655507075</c:v>
                </c:pt>
                <c:pt idx="883">
                  <c:v>21.623813655507075</c:v>
                </c:pt>
                <c:pt idx="884">
                  <c:v>21.623813655507075</c:v>
                </c:pt>
                <c:pt idx="885">
                  <c:v>21.623813655507075</c:v>
                </c:pt>
                <c:pt idx="886">
                  <c:v>21.623813655507075</c:v>
                </c:pt>
                <c:pt idx="887">
                  <c:v>21.623813655507075</c:v>
                </c:pt>
                <c:pt idx="888">
                  <c:v>21.623813655507075</c:v>
                </c:pt>
                <c:pt idx="889">
                  <c:v>21.623813655507075</c:v>
                </c:pt>
                <c:pt idx="890">
                  <c:v>21.623813655507075</c:v>
                </c:pt>
                <c:pt idx="891">
                  <c:v>21.623813655507075</c:v>
                </c:pt>
              </c:numCache>
            </c:numRef>
          </c:val>
          <c:smooth val="0"/>
          <c:extLst>
            <c:ext xmlns:c16="http://schemas.microsoft.com/office/drawing/2014/chart" uri="{C3380CC4-5D6E-409C-BE32-E72D297353CC}">
              <c16:uniqueId val="{00000002-7DF5-4049-9C18-76D54EAFDC14}"/>
            </c:ext>
          </c:extLst>
        </c:ser>
        <c:ser>
          <c:idx val="2"/>
          <c:order val="3"/>
          <c:tx>
            <c:strRef>
              <c:f>USA!$EA$8</c:f>
              <c:strCache>
                <c:ptCount val="1"/>
              </c:strCache>
            </c:strRef>
          </c:tx>
          <c:spPr>
            <a:ln w="19050" cap="rnd" cmpd="sng" algn="ctr">
              <a:solidFill>
                <a:srgbClr val="CCCABC"/>
              </a:solidFill>
              <a:prstDash val="solid"/>
              <a:round/>
              <a:headEnd type="none" w="med" len="med"/>
              <a:tailEnd type="none" w="med" len="med"/>
            </a:ln>
            <a:effectLst/>
          </c:spPr>
          <c:marker>
            <c:symbol val="none"/>
          </c:marker>
          <c:cat>
            <c:numRef>
              <c:f>USA!$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USA!$EA$9:$EA$901</c:f>
              <c:numCache>
                <c:formatCode>0.00</c:formatCode>
                <c:ptCount val="893"/>
                <c:pt idx="0">
                  <c:v>16.912565491115654</c:v>
                </c:pt>
                <c:pt idx="1">
                  <c:v>16.912565491115654</c:v>
                </c:pt>
                <c:pt idx="2">
                  <c:v>16.912565491115654</c:v>
                </c:pt>
                <c:pt idx="3">
                  <c:v>16.912565491115654</c:v>
                </c:pt>
                <c:pt idx="4">
                  <c:v>16.912565491115654</c:v>
                </c:pt>
                <c:pt idx="5">
                  <c:v>16.912565491115654</c:v>
                </c:pt>
                <c:pt idx="6">
                  <c:v>16.912565491115654</c:v>
                </c:pt>
                <c:pt idx="7">
                  <c:v>16.912565491115654</c:v>
                </c:pt>
                <c:pt idx="8">
                  <c:v>16.912565491115654</c:v>
                </c:pt>
                <c:pt idx="9">
                  <c:v>16.912565491115654</c:v>
                </c:pt>
                <c:pt idx="10">
                  <c:v>16.912565491115654</c:v>
                </c:pt>
                <c:pt idx="11">
                  <c:v>16.912565491115654</c:v>
                </c:pt>
                <c:pt idx="12">
                  <c:v>16.912565491115654</c:v>
                </c:pt>
                <c:pt idx="13">
                  <c:v>16.912565491115654</c:v>
                </c:pt>
                <c:pt idx="14">
                  <c:v>16.912565491115654</c:v>
                </c:pt>
                <c:pt idx="15">
                  <c:v>16.912565491115654</c:v>
                </c:pt>
                <c:pt idx="16">
                  <c:v>16.912565491115654</c:v>
                </c:pt>
                <c:pt idx="17">
                  <c:v>16.912565491115654</c:v>
                </c:pt>
                <c:pt idx="18">
                  <c:v>16.912565491115654</c:v>
                </c:pt>
                <c:pt idx="19">
                  <c:v>16.912565491115654</c:v>
                </c:pt>
                <c:pt idx="20">
                  <c:v>16.912565491115654</c:v>
                </c:pt>
                <c:pt idx="21">
                  <c:v>16.912565491115654</c:v>
                </c:pt>
                <c:pt idx="22">
                  <c:v>16.912565491115654</c:v>
                </c:pt>
                <c:pt idx="23">
                  <c:v>16.912565491115654</c:v>
                </c:pt>
                <c:pt idx="24">
                  <c:v>16.912565491115654</c:v>
                </c:pt>
                <c:pt idx="25">
                  <c:v>16.912565491115654</c:v>
                </c:pt>
                <c:pt idx="26">
                  <c:v>16.912565491115654</c:v>
                </c:pt>
                <c:pt idx="27">
                  <c:v>16.912565491115654</c:v>
                </c:pt>
                <c:pt idx="28">
                  <c:v>16.912565491115654</c:v>
                </c:pt>
                <c:pt idx="29">
                  <c:v>16.912565491115654</c:v>
                </c:pt>
                <c:pt idx="30">
                  <c:v>16.912565491115654</c:v>
                </c:pt>
                <c:pt idx="31">
                  <c:v>16.912565491115654</c:v>
                </c:pt>
                <c:pt idx="32">
                  <c:v>16.912565491115654</c:v>
                </c:pt>
                <c:pt idx="33">
                  <c:v>16.912565491115654</c:v>
                </c:pt>
                <c:pt idx="34">
                  <c:v>16.912565491115654</c:v>
                </c:pt>
                <c:pt idx="35">
                  <c:v>16.912565491115654</c:v>
                </c:pt>
                <c:pt idx="36">
                  <c:v>16.912565491115654</c:v>
                </c:pt>
                <c:pt idx="37">
                  <c:v>16.912565491115654</c:v>
                </c:pt>
                <c:pt idx="38">
                  <c:v>16.912565491115654</c:v>
                </c:pt>
                <c:pt idx="39">
                  <c:v>16.912565491115654</c:v>
                </c:pt>
                <c:pt idx="40">
                  <c:v>16.912565491115654</c:v>
                </c:pt>
                <c:pt idx="41">
                  <c:v>16.912565491115654</c:v>
                </c:pt>
                <c:pt idx="42">
                  <c:v>16.912565491115654</c:v>
                </c:pt>
                <c:pt idx="43">
                  <c:v>16.912565491115654</c:v>
                </c:pt>
                <c:pt idx="44">
                  <c:v>16.912565491115654</c:v>
                </c:pt>
                <c:pt idx="45">
                  <c:v>16.912565491115654</c:v>
                </c:pt>
                <c:pt idx="46">
                  <c:v>16.912565491115654</c:v>
                </c:pt>
                <c:pt idx="47">
                  <c:v>16.912565491115654</c:v>
                </c:pt>
                <c:pt idx="48">
                  <c:v>16.912565491115654</c:v>
                </c:pt>
                <c:pt idx="49">
                  <c:v>16.912565491115654</c:v>
                </c:pt>
                <c:pt idx="50">
                  <c:v>16.912565491115654</c:v>
                </c:pt>
                <c:pt idx="51">
                  <c:v>16.912565491115654</c:v>
                </c:pt>
                <c:pt idx="52">
                  <c:v>16.912565491115654</c:v>
                </c:pt>
                <c:pt idx="53">
                  <c:v>16.912565491115654</c:v>
                </c:pt>
                <c:pt idx="54">
                  <c:v>16.912565491115654</c:v>
                </c:pt>
                <c:pt idx="55">
                  <c:v>16.912565491115654</c:v>
                </c:pt>
                <c:pt idx="56">
                  <c:v>16.912565491115654</c:v>
                </c:pt>
                <c:pt idx="57">
                  <c:v>16.912565491115654</c:v>
                </c:pt>
                <c:pt idx="58">
                  <c:v>16.912565491115654</c:v>
                </c:pt>
                <c:pt idx="59">
                  <c:v>16.912565491115654</c:v>
                </c:pt>
                <c:pt idx="60">
                  <c:v>16.912565491115654</c:v>
                </c:pt>
                <c:pt idx="61">
                  <c:v>16.912565491115654</c:v>
                </c:pt>
                <c:pt idx="62">
                  <c:v>16.912565491115654</c:v>
                </c:pt>
                <c:pt idx="63">
                  <c:v>16.912565491115654</c:v>
                </c:pt>
                <c:pt idx="64">
                  <c:v>16.912565491115654</c:v>
                </c:pt>
                <c:pt idx="65">
                  <c:v>16.912565491115654</c:v>
                </c:pt>
                <c:pt idx="66">
                  <c:v>16.912565491115654</c:v>
                </c:pt>
                <c:pt idx="67">
                  <c:v>16.912565491115654</c:v>
                </c:pt>
                <c:pt idx="68">
                  <c:v>16.912565491115654</c:v>
                </c:pt>
                <c:pt idx="69">
                  <c:v>16.912565491115654</c:v>
                </c:pt>
                <c:pt idx="70">
                  <c:v>16.912565491115654</c:v>
                </c:pt>
                <c:pt idx="71">
                  <c:v>16.912565491115654</c:v>
                </c:pt>
                <c:pt idx="72">
                  <c:v>16.912565491115654</c:v>
                </c:pt>
                <c:pt idx="73">
                  <c:v>16.912565491115654</c:v>
                </c:pt>
                <c:pt idx="74">
                  <c:v>16.912565491115654</c:v>
                </c:pt>
                <c:pt idx="75">
                  <c:v>16.912565491115654</c:v>
                </c:pt>
                <c:pt idx="76">
                  <c:v>16.912565491115654</c:v>
                </c:pt>
                <c:pt idx="77">
                  <c:v>16.912565491115654</c:v>
                </c:pt>
                <c:pt idx="78">
                  <c:v>16.912565491115654</c:v>
                </c:pt>
                <c:pt idx="79">
                  <c:v>16.912565491115654</c:v>
                </c:pt>
                <c:pt idx="80">
                  <c:v>16.912565491115654</c:v>
                </c:pt>
                <c:pt idx="81">
                  <c:v>16.912565491115654</c:v>
                </c:pt>
                <c:pt idx="82">
                  <c:v>16.912565491115654</c:v>
                </c:pt>
                <c:pt idx="83">
                  <c:v>16.912565491115654</c:v>
                </c:pt>
                <c:pt idx="84">
                  <c:v>16.912565491115654</c:v>
                </c:pt>
                <c:pt idx="85">
                  <c:v>16.912565491115654</c:v>
                </c:pt>
                <c:pt idx="86">
                  <c:v>16.912565491115654</c:v>
                </c:pt>
                <c:pt idx="87">
                  <c:v>16.912565491115654</c:v>
                </c:pt>
                <c:pt idx="88">
                  <c:v>16.912565491115654</c:v>
                </c:pt>
                <c:pt idx="89">
                  <c:v>16.912565491115654</c:v>
                </c:pt>
                <c:pt idx="90">
                  <c:v>16.912565491115654</c:v>
                </c:pt>
                <c:pt idx="91">
                  <c:v>16.912565491115654</c:v>
                </c:pt>
                <c:pt idx="92">
                  <c:v>16.912565491115654</c:v>
                </c:pt>
                <c:pt idx="93">
                  <c:v>16.912565491115654</c:v>
                </c:pt>
                <c:pt idx="94">
                  <c:v>16.912565491115654</c:v>
                </c:pt>
                <c:pt idx="95">
                  <c:v>16.912565491115654</c:v>
                </c:pt>
                <c:pt idx="96">
                  <c:v>16.912565491115654</c:v>
                </c:pt>
                <c:pt idx="97">
                  <c:v>16.912565491115654</c:v>
                </c:pt>
                <c:pt idx="98">
                  <c:v>16.912565491115654</c:v>
                </c:pt>
                <c:pt idx="99">
                  <c:v>16.912565491115654</c:v>
                </c:pt>
                <c:pt idx="100">
                  <c:v>16.912565491115654</c:v>
                </c:pt>
                <c:pt idx="101">
                  <c:v>16.912565491115654</c:v>
                </c:pt>
                <c:pt idx="102">
                  <c:v>16.912565491115654</c:v>
                </c:pt>
                <c:pt idx="103">
                  <c:v>16.912565491115654</c:v>
                </c:pt>
                <c:pt idx="104">
                  <c:v>16.912565491115654</c:v>
                </c:pt>
                <c:pt idx="105">
                  <c:v>16.912565491115654</c:v>
                </c:pt>
                <c:pt idx="106">
                  <c:v>16.912565491115654</c:v>
                </c:pt>
                <c:pt idx="107">
                  <c:v>16.912565491115654</c:v>
                </c:pt>
                <c:pt idx="108">
                  <c:v>16.912565491115654</c:v>
                </c:pt>
                <c:pt idx="109">
                  <c:v>16.912565491115654</c:v>
                </c:pt>
                <c:pt idx="110">
                  <c:v>16.912565491115654</c:v>
                </c:pt>
                <c:pt idx="111">
                  <c:v>16.912565491115654</c:v>
                </c:pt>
                <c:pt idx="112">
                  <c:v>16.912565491115654</c:v>
                </c:pt>
                <c:pt idx="113">
                  <c:v>16.912565491115654</c:v>
                </c:pt>
                <c:pt idx="114">
                  <c:v>16.912565491115654</c:v>
                </c:pt>
                <c:pt idx="115">
                  <c:v>16.912565491115654</c:v>
                </c:pt>
                <c:pt idx="116">
                  <c:v>16.912565491115654</c:v>
                </c:pt>
                <c:pt idx="117">
                  <c:v>16.912565491115654</c:v>
                </c:pt>
                <c:pt idx="118">
                  <c:v>16.912565491115654</c:v>
                </c:pt>
                <c:pt idx="119">
                  <c:v>16.912565491115654</c:v>
                </c:pt>
                <c:pt idx="120">
                  <c:v>16.912565491115654</c:v>
                </c:pt>
                <c:pt idx="121">
                  <c:v>16.912565491115654</c:v>
                </c:pt>
                <c:pt idx="122">
                  <c:v>16.912565491115654</c:v>
                </c:pt>
                <c:pt idx="123">
                  <c:v>16.912565491115654</c:v>
                </c:pt>
                <c:pt idx="124">
                  <c:v>16.912565491115654</c:v>
                </c:pt>
                <c:pt idx="125">
                  <c:v>16.912565491115654</c:v>
                </c:pt>
                <c:pt idx="126">
                  <c:v>16.912565491115654</c:v>
                </c:pt>
                <c:pt idx="127">
                  <c:v>16.912565491115654</c:v>
                </c:pt>
                <c:pt idx="128">
                  <c:v>16.912565491115654</c:v>
                </c:pt>
                <c:pt idx="129">
                  <c:v>16.912565491115654</c:v>
                </c:pt>
                <c:pt idx="130">
                  <c:v>16.912565491115654</c:v>
                </c:pt>
                <c:pt idx="131">
                  <c:v>16.912565491115654</c:v>
                </c:pt>
                <c:pt idx="132">
                  <c:v>16.912565491115654</c:v>
                </c:pt>
                <c:pt idx="133">
                  <c:v>16.912565491115654</c:v>
                </c:pt>
                <c:pt idx="134">
                  <c:v>16.912565491115654</c:v>
                </c:pt>
                <c:pt idx="135">
                  <c:v>16.912565491115654</c:v>
                </c:pt>
                <c:pt idx="136">
                  <c:v>16.912565491115654</c:v>
                </c:pt>
                <c:pt idx="137">
                  <c:v>16.912565491115654</c:v>
                </c:pt>
                <c:pt idx="138">
                  <c:v>16.912565491115654</c:v>
                </c:pt>
                <c:pt idx="139">
                  <c:v>16.912565491115654</c:v>
                </c:pt>
                <c:pt idx="140">
                  <c:v>16.912565491115654</c:v>
                </c:pt>
                <c:pt idx="141">
                  <c:v>16.912565491115654</c:v>
                </c:pt>
                <c:pt idx="142">
                  <c:v>16.912565491115654</c:v>
                </c:pt>
                <c:pt idx="143">
                  <c:v>16.912565491115654</c:v>
                </c:pt>
                <c:pt idx="144">
                  <c:v>16.912565491115654</c:v>
                </c:pt>
                <c:pt idx="145">
                  <c:v>16.912565491115654</c:v>
                </c:pt>
                <c:pt idx="146">
                  <c:v>16.912565491115654</c:v>
                </c:pt>
                <c:pt idx="147">
                  <c:v>16.912565491115654</c:v>
                </c:pt>
                <c:pt idx="148">
                  <c:v>16.912565491115654</c:v>
                </c:pt>
                <c:pt idx="149">
                  <c:v>16.912565491115654</c:v>
                </c:pt>
                <c:pt idx="150">
                  <c:v>16.912565491115654</c:v>
                </c:pt>
                <c:pt idx="151">
                  <c:v>16.912565491115654</c:v>
                </c:pt>
                <c:pt idx="152">
                  <c:v>16.912565491115654</c:v>
                </c:pt>
                <c:pt idx="153">
                  <c:v>16.912565491115654</c:v>
                </c:pt>
                <c:pt idx="154">
                  <c:v>16.912565491115654</c:v>
                </c:pt>
                <c:pt idx="155">
                  <c:v>16.912565491115654</c:v>
                </c:pt>
                <c:pt idx="156">
                  <c:v>16.912565491115654</c:v>
                </c:pt>
                <c:pt idx="157">
                  <c:v>16.912565491115654</c:v>
                </c:pt>
                <c:pt idx="158">
                  <c:v>16.912565491115654</c:v>
                </c:pt>
                <c:pt idx="159">
                  <c:v>16.912565491115654</c:v>
                </c:pt>
                <c:pt idx="160">
                  <c:v>16.912565491115654</c:v>
                </c:pt>
                <c:pt idx="161">
                  <c:v>16.912565491115654</c:v>
                </c:pt>
                <c:pt idx="162">
                  <c:v>16.912565491115654</c:v>
                </c:pt>
                <c:pt idx="163">
                  <c:v>16.912565491115654</c:v>
                </c:pt>
                <c:pt idx="164">
                  <c:v>16.912565491115654</c:v>
                </c:pt>
                <c:pt idx="165">
                  <c:v>16.912565491115654</c:v>
                </c:pt>
                <c:pt idx="166">
                  <c:v>16.912565491115654</c:v>
                </c:pt>
                <c:pt idx="167">
                  <c:v>16.912565491115654</c:v>
                </c:pt>
                <c:pt idx="168">
                  <c:v>16.912565491115654</c:v>
                </c:pt>
                <c:pt idx="169">
                  <c:v>16.912565491115654</c:v>
                </c:pt>
                <c:pt idx="170">
                  <c:v>16.912565491115654</c:v>
                </c:pt>
                <c:pt idx="171">
                  <c:v>16.912565491115654</c:v>
                </c:pt>
                <c:pt idx="172">
                  <c:v>16.912565491115654</c:v>
                </c:pt>
                <c:pt idx="173">
                  <c:v>16.912565491115654</c:v>
                </c:pt>
                <c:pt idx="174">
                  <c:v>16.912565491115654</c:v>
                </c:pt>
                <c:pt idx="175">
                  <c:v>16.912565491115654</c:v>
                </c:pt>
                <c:pt idx="176">
                  <c:v>16.912565491115654</c:v>
                </c:pt>
                <c:pt idx="177">
                  <c:v>16.912565491115654</c:v>
                </c:pt>
                <c:pt idx="178">
                  <c:v>16.912565491115654</c:v>
                </c:pt>
                <c:pt idx="179">
                  <c:v>16.912565491115654</c:v>
                </c:pt>
                <c:pt idx="180">
                  <c:v>16.912565491115654</c:v>
                </c:pt>
                <c:pt idx="181">
                  <c:v>16.912565491115654</c:v>
                </c:pt>
                <c:pt idx="182">
                  <c:v>16.912565491115654</c:v>
                </c:pt>
                <c:pt idx="183">
                  <c:v>16.912565491115654</c:v>
                </c:pt>
                <c:pt idx="184">
                  <c:v>16.912565491115654</c:v>
                </c:pt>
                <c:pt idx="185">
                  <c:v>16.912565491115654</c:v>
                </c:pt>
                <c:pt idx="186">
                  <c:v>16.912565491115654</c:v>
                </c:pt>
                <c:pt idx="187">
                  <c:v>16.912565491115654</c:v>
                </c:pt>
                <c:pt idx="188">
                  <c:v>16.912565491115654</c:v>
                </c:pt>
                <c:pt idx="189">
                  <c:v>16.912565491115654</c:v>
                </c:pt>
                <c:pt idx="190">
                  <c:v>16.912565491115654</c:v>
                </c:pt>
                <c:pt idx="191">
                  <c:v>16.912565491115654</c:v>
                </c:pt>
                <c:pt idx="192">
                  <c:v>16.912565491115654</c:v>
                </c:pt>
                <c:pt idx="193">
                  <c:v>16.912565491115654</c:v>
                </c:pt>
                <c:pt idx="194">
                  <c:v>16.912565491115654</c:v>
                </c:pt>
                <c:pt idx="195">
                  <c:v>16.912565491115654</c:v>
                </c:pt>
                <c:pt idx="196">
                  <c:v>16.912565491115654</c:v>
                </c:pt>
                <c:pt idx="197">
                  <c:v>16.912565491115654</c:v>
                </c:pt>
                <c:pt idx="198">
                  <c:v>16.912565491115654</c:v>
                </c:pt>
                <c:pt idx="199">
                  <c:v>16.912565491115654</c:v>
                </c:pt>
                <c:pt idx="200">
                  <c:v>16.912565491115654</c:v>
                </c:pt>
                <c:pt idx="201">
                  <c:v>16.912565491115654</c:v>
                </c:pt>
                <c:pt idx="202">
                  <c:v>16.912565491115654</c:v>
                </c:pt>
                <c:pt idx="203">
                  <c:v>16.912565491115654</c:v>
                </c:pt>
                <c:pt idx="204">
                  <c:v>16.912565491115654</c:v>
                </c:pt>
                <c:pt idx="205">
                  <c:v>16.912565491115654</c:v>
                </c:pt>
                <c:pt idx="206">
                  <c:v>16.912565491115654</c:v>
                </c:pt>
                <c:pt idx="207">
                  <c:v>16.912565491115654</c:v>
                </c:pt>
                <c:pt idx="208">
                  <c:v>16.912565491115654</c:v>
                </c:pt>
                <c:pt idx="209">
                  <c:v>16.912565491115654</c:v>
                </c:pt>
                <c:pt idx="210">
                  <c:v>16.912565491115654</c:v>
                </c:pt>
                <c:pt idx="211">
                  <c:v>16.912565491115654</c:v>
                </c:pt>
                <c:pt idx="212">
                  <c:v>16.912565491115654</c:v>
                </c:pt>
                <c:pt idx="213">
                  <c:v>16.912565491115654</c:v>
                </c:pt>
                <c:pt idx="214">
                  <c:v>16.912565491115654</c:v>
                </c:pt>
                <c:pt idx="215">
                  <c:v>16.912565491115654</c:v>
                </c:pt>
                <c:pt idx="216">
                  <c:v>16.912565491115654</c:v>
                </c:pt>
                <c:pt idx="217">
                  <c:v>16.912565491115654</c:v>
                </c:pt>
                <c:pt idx="218">
                  <c:v>16.912565491115654</c:v>
                </c:pt>
                <c:pt idx="219">
                  <c:v>16.912565491115654</c:v>
                </c:pt>
                <c:pt idx="220">
                  <c:v>16.912565491115654</c:v>
                </c:pt>
                <c:pt idx="221">
                  <c:v>16.912565491115654</c:v>
                </c:pt>
                <c:pt idx="222">
                  <c:v>16.912565491115654</c:v>
                </c:pt>
                <c:pt idx="223">
                  <c:v>16.912565491115654</c:v>
                </c:pt>
                <c:pt idx="224">
                  <c:v>16.912565491115654</c:v>
                </c:pt>
                <c:pt idx="225">
                  <c:v>16.912565491115654</c:v>
                </c:pt>
                <c:pt idx="226">
                  <c:v>16.912565491115654</c:v>
                </c:pt>
                <c:pt idx="227">
                  <c:v>16.912565491115654</c:v>
                </c:pt>
                <c:pt idx="228">
                  <c:v>16.912565491115654</c:v>
                </c:pt>
                <c:pt idx="229">
                  <c:v>16.912565491115654</c:v>
                </c:pt>
                <c:pt idx="230">
                  <c:v>16.912565491115654</c:v>
                </c:pt>
                <c:pt idx="231">
                  <c:v>16.912565491115654</c:v>
                </c:pt>
                <c:pt idx="232">
                  <c:v>16.912565491115654</c:v>
                </c:pt>
                <c:pt idx="233">
                  <c:v>16.912565491115654</c:v>
                </c:pt>
                <c:pt idx="234">
                  <c:v>16.912565491115654</c:v>
                </c:pt>
                <c:pt idx="235">
                  <c:v>16.912565491115654</c:v>
                </c:pt>
                <c:pt idx="236">
                  <c:v>16.912565491115654</c:v>
                </c:pt>
                <c:pt idx="237">
                  <c:v>16.912565491115654</c:v>
                </c:pt>
                <c:pt idx="238">
                  <c:v>16.912565491115654</c:v>
                </c:pt>
                <c:pt idx="239">
                  <c:v>16.912565491115654</c:v>
                </c:pt>
                <c:pt idx="240">
                  <c:v>16.912565491115654</c:v>
                </c:pt>
                <c:pt idx="241">
                  <c:v>16.912565491115654</c:v>
                </c:pt>
                <c:pt idx="242">
                  <c:v>16.912565491115654</c:v>
                </c:pt>
                <c:pt idx="243">
                  <c:v>16.912565491115654</c:v>
                </c:pt>
                <c:pt idx="244">
                  <c:v>16.912565491115654</c:v>
                </c:pt>
                <c:pt idx="245">
                  <c:v>16.912565491115654</c:v>
                </c:pt>
                <c:pt idx="246">
                  <c:v>16.912565491115654</c:v>
                </c:pt>
                <c:pt idx="247">
                  <c:v>16.912565491115654</c:v>
                </c:pt>
                <c:pt idx="248">
                  <c:v>16.912565491115654</c:v>
                </c:pt>
                <c:pt idx="249">
                  <c:v>16.912565491115654</c:v>
                </c:pt>
                <c:pt idx="250">
                  <c:v>16.912565491115654</c:v>
                </c:pt>
                <c:pt idx="251">
                  <c:v>16.912565491115654</c:v>
                </c:pt>
                <c:pt idx="252">
                  <c:v>16.912565491115654</c:v>
                </c:pt>
                <c:pt idx="253">
                  <c:v>16.912565491115654</c:v>
                </c:pt>
                <c:pt idx="254">
                  <c:v>16.912565491115654</c:v>
                </c:pt>
                <c:pt idx="255">
                  <c:v>16.912565491115654</c:v>
                </c:pt>
                <c:pt idx="256">
                  <c:v>16.912565491115654</c:v>
                </c:pt>
                <c:pt idx="257">
                  <c:v>16.912565491115654</c:v>
                </c:pt>
                <c:pt idx="258">
                  <c:v>16.912565491115654</c:v>
                </c:pt>
                <c:pt idx="259">
                  <c:v>16.912565491115654</c:v>
                </c:pt>
                <c:pt idx="260">
                  <c:v>16.912565491115654</c:v>
                </c:pt>
                <c:pt idx="261">
                  <c:v>16.912565491115654</c:v>
                </c:pt>
                <c:pt idx="262">
                  <c:v>16.912565491115654</c:v>
                </c:pt>
                <c:pt idx="263">
                  <c:v>16.912565491115654</c:v>
                </c:pt>
                <c:pt idx="264">
                  <c:v>16.912565491115654</c:v>
                </c:pt>
                <c:pt idx="265">
                  <c:v>16.912565491115654</c:v>
                </c:pt>
                <c:pt idx="266">
                  <c:v>16.912565491115654</c:v>
                </c:pt>
                <c:pt idx="267">
                  <c:v>16.912565491115654</c:v>
                </c:pt>
                <c:pt idx="268">
                  <c:v>16.912565491115654</c:v>
                </c:pt>
                <c:pt idx="269">
                  <c:v>16.912565491115654</c:v>
                </c:pt>
                <c:pt idx="270">
                  <c:v>16.912565491115654</c:v>
                </c:pt>
                <c:pt idx="271">
                  <c:v>16.912565491115654</c:v>
                </c:pt>
                <c:pt idx="272">
                  <c:v>16.912565491115654</c:v>
                </c:pt>
                <c:pt idx="273">
                  <c:v>16.912565491115654</c:v>
                </c:pt>
                <c:pt idx="274">
                  <c:v>16.912565491115654</c:v>
                </c:pt>
                <c:pt idx="275">
                  <c:v>16.912565491115654</c:v>
                </c:pt>
                <c:pt idx="276">
                  <c:v>16.912565491115654</c:v>
                </c:pt>
                <c:pt idx="277">
                  <c:v>16.912565491115654</c:v>
                </c:pt>
                <c:pt idx="278">
                  <c:v>16.912565491115654</c:v>
                </c:pt>
                <c:pt idx="279">
                  <c:v>16.912565491115654</c:v>
                </c:pt>
                <c:pt idx="280">
                  <c:v>16.912565491115654</c:v>
                </c:pt>
                <c:pt idx="281">
                  <c:v>16.912565491115654</c:v>
                </c:pt>
                <c:pt idx="282">
                  <c:v>16.912565491115654</c:v>
                </c:pt>
                <c:pt idx="283">
                  <c:v>16.912565491115654</c:v>
                </c:pt>
                <c:pt idx="284">
                  <c:v>16.912565491115654</c:v>
                </c:pt>
                <c:pt idx="285">
                  <c:v>16.912565491115654</c:v>
                </c:pt>
                <c:pt idx="286">
                  <c:v>16.912565491115654</c:v>
                </c:pt>
                <c:pt idx="287">
                  <c:v>16.912565491115654</c:v>
                </c:pt>
                <c:pt idx="288">
                  <c:v>16.912565491115654</c:v>
                </c:pt>
                <c:pt idx="289">
                  <c:v>16.912565491115654</c:v>
                </c:pt>
                <c:pt idx="290">
                  <c:v>16.912565491115654</c:v>
                </c:pt>
                <c:pt idx="291">
                  <c:v>16.912565491115654</c:v>
                </c:pt>
                <c:pt idx="292">
                  <c:v>16.912565491115654</c:v>
                </c:pt>
                <c:pt idx="293">
                  <c:v>16.912565491115654</c:v>
                </c:pt>
                <c:pt idx="294">
                  <c:v>16.912565491115654</c:v>
                </c:pt>
                <c:pt idx="295">
                  <c:v>16.912565491115654</c:v>
                </c:pt>
                <c:pt idx="296">
                  <c:v>16.912565491115654</c:v>
                </c:pt>
                <c:pt idx="297">
                  <c:v>16.912565491115654</c:v>
                </c:pt>
                <c:pt idx="298">
                  <c:v>16.912565491115654</c:v>
                </c:pt>
                <c:pt idx="299">
                  <c:v>16.912565491115654</c:v>
                </c:pt>
                <c:pt idx="300">
                  <c:v>16.912565491115654</c:v>
                </c:pt>
                <c:pt idx="301">
                  <c:v>16.912565491115654</c:v>
                </c:pt>
                <c:pt idx="302">
                  <c:v>16.912565491115654</c:v>
                </c:pt>
                <c:pt idx="303">
                  <c:v>16.912565491115654</c:v>
                </c:pt>
                <c:pt idx="304">
                  <c:v>16.912565491115654</c:v>
                </c:pt>
                <c:pt idx="305">
                  <c:v>16.912565491115654</c:v>
                </c:pt>
                <c:pt idx="306">
                  <c:v>16.912565491115654</c:v>
                </c:pt>
                <c:pt idx="307">
                  <c:v>16.912565491115654</c:v>
                </c:pt>
                <c:pt idx="308">
                  <c:v>16.912565491115654</c:v>
                </c:pt>
                <c:pt idx="309">
                  <c:v>16.912565491115654</c:v>
                </c:pt>
                <c:pt idx="310">
                  <c:v>16.912565491115654</c:v>
                </c:pt>
                <c:pt idx="311">
                  <c:v>16.912565491115654</c:v>
                </c:pt>
                <c:pt idx="312">
                  <c:v>16.912565491115654</c:v>
                </c:pt>
                <c:pt idx="313">
                  <c:v>16.912565491115654</c:v>
                </c:pt>
                <c:pt idx="314">
                  <c:v>16.912565491115654</c:v>
                </c:pt>
                <c:pt idx="315">
                  <c:v>16.912565491115654</c:v>
                </c:pt>
                <c:pt idx="316">
                  <c:v>16.912565491115654</c:v>
                </c:pt>
                <c:pt idx="317">
                  <c:v>16.912565491115654</c:v>
                </c:pt>
                <c:pt idx="318">
                  <c:v>16.912565491115654</c:v>
                </c:pt>
                <c:pt idx="319">
                  <c:v>16.912565491115654</c:v>
                </c:pt>
                <c:pt idx="320">
                  <c:v>16.912565491115654</c:v>
                </c:pt>
                <c:pt idx="321">
                  <c:v>16.912565491115654</c:v>
                </c:pt>
                <c:pt idx="322">
                  <c:v>16.912565491115654</c:v>
                </c:pt>
                <c:pt idx="323">
                  <c:v>16.912565491115654</c:v>
                </c:pt>
                <c:pt idx="324">
                  <c:v>16.912565491115654</c:v>
                </c:pt>
                <c:pt idx="325">
                  <c:v>16.912565491115654</c:v>
                </c:pt>
                <c:pt idx="326">
                  <c:v>16.912565491115654</c:v>
                </c:pt>
                <c:pt idx="327">
                  <c:v>16.912565491115654</c:v>
                </c:pt>
                <c:pt idx="328">
                  <c:v>16.912565491115654</c:v>
                </c:pt>
                <c:pt idx="329">
                  <c:v>16.912565491115654</c:v>
                </c:pt>
                <c:pt idx="330">
                  <c:v>16.912565491115654</c:v>
                </c:pt>
                <c:pt idx="331">
                  <c:v>16.912565491115654</c:v>
                </c:pt>
                <c:pt idx="332">
                  <c:v>16.912565491115654</c:v>
                </c:pt>
                <c:pt idx="333">
                  <c:v>16.912565491115654</c:v>
                </c:pt>
                <c:pt idx="334">
                  <c:v>16.912565491115654</c:v>
                </c:pt>
                <c:pt idx="335">
                  <c:v>16.912565491115654</c:v>
                </c:pt>
                <c:pt idx="336">
                  <c:v>16.912565491115654</c:v>
                </c:pt>
                <c:pt idx="337">
                  <c:v>16.912565491115654</c:v>
                </c:pt>
                <c:pt idx="338">
                  <c:v>16.912565491115654</c:v>
                </c:pt>
                <c:pt idx="339">
                  <c:v>16.912565491115654</c:v>
                </c:pt>
                <c:pt idx="340">
                  <c:v>16.912565491115654</c:v>
                </c:pt>
                <c:pt idx="341">
                  <c:v>16.912565491115654</c:v>
                </c:pt>
                <c:pt idx="342">
                  <c:v>16.912565491115654</c:v>
                </c:pt>
                <c:pt idx="343">
                  <c:v>16.912565491115654</c:v>
                </c:pt>
                <c:pt idx="344">
                  <c:v>16.912565491115654</c:v>
                </c:pt>
                <c:pt idx="345">
                  <c:v>16.912565491115654</c:v>
                </c:pt>
                <c:pt idx="346">
                  <c:v>16.912565491115654</c:v>
                </c:pt>
                <c:pt idx="347">
                  <c:v>16.912565491115654</c:v>
                </c:pt>
                <c:pt idx="348">
                  <c:v>16.912565491115654</c:v>
                </c:pt>
                <c:pt idx="349">
                  <c:v>16.912565491115654</c:v>
                </c:pt>
                <c:pt idx="350">
                  <c:v>16.912565491115654</c:v>
                </c:pt>
                <c:pt idx="351">
                  <c:v>16.912565491115654</c:v>
                </c:pt>
                <c:pt idx="352">
                  <c:v>16.912565491115654</c:v>
                </c:pt>
                <c:pt idx="353">
                  <c:v>16.912565491115654</c:v>
                </c:pt>
                <c:pt idx="354">
                  <c:v>16.912565491115654</c:v>
                </c:pt>
                <c:pt idx="355">
                  <c:v>16.912565491115654</c:v>
                </c:pt>
                <c:pt idx="356">
                  <c:v>16.912565491115654</c:v>
                </c:pt>
                <c:pt idx="357">
                  <c:v>16.912565491115654</c:v>
                </c:pt>
                <c:pt idx="358">
                  <c:v>16.912565491115654</c:v>
                </c:pt>
                <c:pt idx="359">
                  <c:v>16.912565491115654</c:v>
                </c:pt>
                <c:pt idx="360">
                  <c:v>16.912565491115654</c:v>
                </c:pt>
                <c:pt idx="361">
                  <c:v>16.912565491115654</c:v>
                </c:pt>
                <c:pt idx="362">
                  <c:v>16.912565491115654</c:v>
                </c:pt>
                <c:pt idx="363">
                  <c:v>16.912565491115654</c:v>
                </c:pt>
                <c:pt idx="364">
                  <c:v>16.912565491115654</c:v>
                </c:pt>
                <c:pt idx="365">
                  <c:v>16.912565491115654</c:v>
                </c:pt>
                <c:pt idx="366">
                  <c:v>16.912565491115654</c:v>
                </c:pt>
                <c:pt idx="367">
                  <c:v>16.912565491115654</c:v>
                </c:pt>
                <c:pt idx="368">
                  <c:v>16.912565491115654</c:v>
                </c:pt>
                <c:pt idx="369">
                  <c:v>16.912565491115654</c:v>
                </c:pt>
                <c:pt idx="370">
                  <c:v>16.912565491115654</c:v>
                </c:pt>
                <c:pt idx="371">
                  <c:v>16.912565491115654</c:v>
                </c:pt>
                <c:pt idx="372">
                  <c:v>16.912565491115654</c:v>
                </c:pt>
                <c:pt idx="373">
                  <c:v>16.912565491115654</c:v>
                </c:pt>
                <c:pt idx="374">
                  <c:v>16.912565491115654</c:v>
                </c:pt>
                <c:pt idx="375">
                  <c:v>16.912565491115654</c:v>
                </c:pt>
                <c:pt idx="376">
                  <c:v>16.912565491115654</c:v>
                </c:pt>
                <c:pt idx="377">
                  <c:v>16.912565491115654</c:v>
                </c:pt>
                <c:pt idx="378">
                  <c:v>16.912565491115654</c:v>
                </c:pt>
                <c:pt idx="379">
                  <c:v>16.912565491115654</c:v>
                </c:pt>
                <c:pt idx="380">
                  <c:v>16.912565491115654</c:v>
                </c:pt>
                <c:pt idx="381">
                  <c:v>16.912565491115654</c:v>
                </c:pt>
                <c:pt idx="382">
                  <c:v>16.912565491115654</c:v>
                </c:pt>
                <c:pt idx="383">
                  <c:v>16.912565491115654</c:v>
                </c:pt>
                <c:pt idx="384">
                  <c:v>16.912565491115654</c:v>
                </c:pt>
                <c:pt idx="385">
                  <c:v>16.912565491115654</c:v>
                </c:pt>
                <c:pt idx="386">
                  <c:v>16.912565491115654</c:v>
                </c:pt>
                <c:pt idx="387">
                  <c:v>16.912565491115654</c:v>
                </c:pt>
                <c:pt idx="388">
                  <c:v>16.912565491115654</c:v>
                </c:pt>
                <c:pt idx="389">
                  <c:v>16.912565491115654</c:v>
                </c:pt>
                <c:pt idx="390">
                  <c:v>16.912565491115654</c:v>
                </c:pt>
                <c:pt idx="391">
                  <c:v>16.912565491115654</c:v>
                </c:pt>
                <c:pt idx="392">
                  <c:v>16.912565491115654</c:v>
                </c:pt>
                <c:pt idx="393">
                  <c:v>16.912565491115654</c:v>
                </c:pt>
                <c:pt idx="394">
                  <c:v>16.912565491115654</c:v>
                </c:pt>
                <c:pt idx="395">
                  <c:v>16.912565491115654</c:v>
                </c:pt>
                <c:pt idx="396">
                  <c:v>16.912565491115654</c:v>
                </c:pt>
                <c:pt idx="397">
                  <c:v>16.912565491115654</c:v>
                </c:pt>
                <c:pt idx="398">
                  <c:v>16.912565491115654</c:v>
                </c:pt>
                <c:pt idx="399">
                  <c:v>16.912565491115654</c:v>
                </c:pt>
                <c:pt idx="400">
                  <c:v>16.912565491115654</c:v>
                </c:pt>
                <c:pt idx="401">
                  <c:v>16.912565491115654</c:v>
                </c:pt>
                <c:pt idx="402">
                  <c:v>16.912565491115654</c:v>
                </c:pt>
                <c:pt idx="403">
                  <c:v>16.912565491115654</c:v>
                </c:pt>
                <c:pt idx="404">
                  <c:v>16.912565491115654</c:v>
                </c:pt>
                <c:pt idx="405">
                  <c:v>16.912565491115654</c:v>
                </c:pt>
                <c:pt idx="406">
                  <c:v>16.912565491115654</c:v>
                </c:pt>
                <c:pt idx="407">
                  <c:v>16.912565491115654</c:v>
                </c:pt>
                <c:pt idx="408">
                  <c:v>16.912565491115654</c:v>
                </c:pt>
                <c:pt idx="409">
                  <c:v>16.912565491115654</c:v>
                </c:pt>
                <c:pt idx="410">
                  <c:v>16.912565491115654</c:v>
                </c:pt>
                <c:pt idx="411">
                  <c:v>16.912565491115654</c:v>
                </c:pt>
                <c:pt idx="412">
                  <c:v>16.912565491115654</c:v>
                </c:pt>
                <c:pt idx="413">
                  <c:v>16.912565491115654</c:v>
                </c:pt>
                <c:pt idx="414">
                  <c:v>16.912565491115654</c:v>
                </c:pt>
                <c:pt idx="415">
                  <c:v>16.912565491115654</c:v>
                </c:pt>
                <c:pt idx="416">
                  <c:v>16.912565491115654</c:v>
                </c:pt>
                <c:pt idx="417">
                  <c:v>16.912565491115654</c:v>
                </c:pt>
                <c:pt idx="418">
                  <c:v>16.912565491115654</c:v>
                </c:pt>
                <c:pt idx="419">
                  <c:v>16.912565491115654</c:v>
                </c:pt>
                <c:pt idx="420">
                  <c:v>16.912565491115654</c:v>
                </c:pt>
                <c:pt idx="421">
                  <c:v>16.912565491115654</c:v>
                </c:pt>
                <c:pt idx="422">
                  <c:v>16.912565491115654</c:v>
                </c:pt>
                <c:pt idx="423">
                  <c:v>16.912565491115654</c:v>
                </c:pt>
                <c:pt idx="424">
                  <c:v>16.912565491115654</c:v>
                </c:pt>
                <c:pt idx="425">
                  <c:v>16.912565491115654</c:v>
                </c:pt>
                <c:pt idx="426">
                  <c:v>16.912565491115654</c:v>
                </c:pt>
                <c:pt idx="427">
                  <c:v>16.912565491115654</c:v>
                </c:pt>
                <c:pt idx="428">
                  <c:v>16.912565491115654</c:v>
                </c:pt>
                <c:pt idx="429">
                  <c:v>16.912565491115654</c:v>
                </c:pt>
                <c:pt idx="430">
                  <c:v>16.912565491115654</c:v>
                </c:pt>
                <c:pt idx="431">
                  <c:v>16.912565491115654</c:v>
                </c:pt>
                <c:pt idx="432">
                  <c:v>16.912565491115654</c:v>
                </c:pt>
                <c:pt idx="433">
                  <c:v>16.912565491115654</c:v>
                </c:pt>
                <c:pt idx="434">
                  <c:v>16.912565491115654</c:v>
                </c:pt>
                <c:pt idx="435">
                  <c:v>16.912565491115654</c:v>
                </c:pt>
                <c:pt idx="436">
                  <c:v>16.912565491115654</c:v>
                </c:pt>
                <c:pt idx="437">
                  <c:v>16.912565491115654</c:v>
                </c:pt>
                <c:pt idx="438">
                  <c:v>16.912565491115654</c:v>
                </c:pt>
                <c:pt idx="439">
                  <c:v>16.912565491115654</c:v>
                </c:pt>
                <c:pt idx="440">
                  <c:v>16.912565491115654</c:v>
                </c:pt>
                <c:pt idx="441">
                  <c:v>16.912565491115654</c:v>
                </c:pt>
                <c:pt idx="442">
                  <c:v>16.912565491115654</c:v>
                </c:pt>
                <c:pt idx="443">
                  <c:v>16.912565491115654</c:v>
                </c:pt>
                <c:pt idx="444">
                  <c:v>16.912565491115654</c:v>
                </c:pt>
                <c:pt idx="445">
                  <c:v>16.912565491115654</c:v>
                </c:pt>
                <c:pt idx="446">
                  <c:v>16.912565491115654</c:v>
                </c:pt>
                <c:pt idx="447">
                  <c:v>16.912565491115654</c:v>
                </c:pt>
                <c:pt idx="448">
                  <c:v>16.912565491115654</c:v>
                </c:pt>
                <c:pt idx="449">
                  <c:v>16.912565491115654</c:v>
                </c:pt>
                <c:pt idx="450">
                  <c:v>16.912565491115654</c:v>
                </c:pt>
                <c:pt idx="451">
                  <c:v>16.912565491115654</c:v>
                </c:pt>
                <c:pt idx="452">
                  <c:v>16.912565491115654</c:v>
                </c:pt>
                <c:pt idx="453">
                  <c:v>16.912565491115654</c:v>
                </c:pt>
                <c:pt idx="454">
                  <c:v>16.912565491115654</c:v>
                </c:pt>
                <c:pt idx="455">
                  <c:v>16.912565491115654</c:v>
                </c:pt>
                <c:pt idx="456">
                  <c:v>16.912565491115654</c:v>
                </c:pt>
                <c:pt idx="457">
                  <c:v>16.912565491115654</c:v>
                </c:pt>
                <c:pt idx="458">
                  <c:v>16.912565491115654</c:v>
                </c:pt>
                <c:pt idx="459">
                  <c:v>16.912565491115654</c:v>
                </c:pt>
                <c:pt idx="460">
                  <c:v>16.912565491115654</c:v>
                </c:pt>
                <c:pt idx="461">
                  <c:v>16.912565491115654</c:v>
                </c:pt>
                <c:pt idx="462">
                  <c:v>16.912565491115654</c:v>
                </c:pt>
                <c:pt idx="463">
                  <c:v>16.912565491115654</c:v>
                </c:pt>
                <c:pt idx="464">
                  <c:v>16.912565491115654</c:v>
                </c:pt>
                <c:pt idx="465">
                  <c:v>16.912565491115654</c:v>
                </c:pt>
                <c:pt idx="466">
                  <c:v>16.912565491115654</c:v>
                </c:pt>
                <c:pt idx="467">
                  <c:v>16.912565491115654</c:v>
                </c:pt>
                <c:pt idx="468">
                  <c:v>16.912565491115654</c:v>
                </c:pt>
                <c:pt idx="469">
                  <c:v>16.912565491115654</c:v>
                </c:pt>
                <c:pt idx="470">
                  <c:v>16.912565491115654</c:v>
                </c:pt>
                <c:pt idx="471">
                  <c:v>16.912565491115654</c:v>
                </c:pt>
                <c:pt idx="472">
                  <c:v>16.912565491115654</c:v>
                </c:pt>
                <c:pt idx="473">
                  <c:v>16.912565491115654</c:v>
                </c:pt>
                <c:pt idx="474">
                  <c:v>16.912565491115654</c:v>
                </c:pt>
                <c:pt idx="475">
                  <c:v>16.912565491115654</c:v>
                </c:pt>
                <c:pt idx="476">
                  <c:v>16.912565491115654</c:v>
                </c:pt>
                <c:pt idx="477">
                  <c:v>16.912565491115654</c:v>
                </c:pt>
                <c:pt idx="478">
                  <c:v>16.912565491115654</c:v>
                </c:pt>
                <c:pt idx="479">
                  <c:v>16.912565491115654</c:v>
                </c:pt>
                <c:pt idx="480">
                  <c:v>16.912565491115654</c:v>
                </c:pt>
                <c:pt idx="481">
                  <c:v>16.912565491115654</c:v>
                </c:pt>
                <c:pt idx="482">
                  <c:v>16.912565491115654</c:v>
                </c:pt>
                <c:pt idx="483">
                  <c:v>16.912565491115654</c:v>
                </c:pt>
                <c:pt idx="484">
                  <c:v>16.912565491115654</c:v>
                </c:pt>
                <c:pt idx="485">
                  <c:v>16.912565491115654</c:v>
                </c:pt>
                <c:pt idx="486">
                  <c:v>16.912565491115654</c:v>
                </c:pt>
                <c:pt idx="487">
                  <c:v>16.912565491115654</c:v>
                </c:pt>
                <c:pt idx="488">
                  <c:v>16.912565491115654</c:v>
                </c:pt>
                <c:pt idx="489">
                  <c:v>16.912565491115654</c:v>
                </c:pt>
                <c:pt idx="490">
                  <c:v>16.912565491115654</c:v>
                </c:pt>
                <c:pt idx="491">
                  <c:v>16.912565491115654</c:v>
                </c:pt>
                <c:pt idx="492">
                  <c:v>16.912565491115654</c:v>
                </c:pt>
                <c:pt idx="493">
                  <c:v>16.912565491115654</c:v>
                </c:pt>
                <c:pt idx="494">
                  <c:v>16.912565491115654</c:v>
                </c:pt>
                <c:pt idx="495">
                  <c:v>16.912565491115654</c:v>
                </c:pt>
                <c:pt idx="496">
                  <c:v>16.912565491115654</c:v>
                </c:pt>
                <c:pt idx="497">
                  <c:v>16.912565491115654</c:v>
                </c:pt>
                <c:pt idx="498">
                  <c:v>16.912565491115654</c:v>
                </c:pt>
                <c:pt idx="499">
                  <c:v>16.912565491115654</c:v>
                </c:pt>
                <c:pt idx="500">
                  <c:v>16.912565491115654</c:v>
                </c:pt>
                <c:pt idx="501">
                  <c:v>16.912565491115654</c:v>
                </c:pt>
                <c:pt idx="502">
                  <c:v>16.912565491115654</c:v>
                </c:pt>
                <c:pt idx="503">
                  <c:v>16.912565491115654</c:v>
                </c:pt>
                <c:pt idx="504">
                  <c:v>16.912565491115654</c:v>
                </c:pt>
                <c:pt idx="505">
                  <c:v>16.912565491115654</c:v>
                </c:pt>
                <c:pt idx="506">
                  <c:v>16.912565491115654</c:v>
                </c:pt>
                <c:pt idx="507">
                  <c:v>16.912565491115654</c:v>
                </c:pt>
                <c:pt idx="508">
                  <c:v>16.912565491115654</c:v>
                </c:pt>
                <c:pt idx="509">
                  <c:v>16.912565491115654</c:v>
                </c:pt>
                <c:pt idx="510">
                  <c:v>16.912565491115654</c:v>
                </c:pt>
                <c:pt idx="511">
                  <c:v>16.912565491115654</c:v>
                </c:pt>
                <c:pt idx="512">
                  <c:v>16.912565491115654</c:v>
                </c:pt>
                <c:pt idx="513">
                  <c:v>16.912565491115654</c:v>
                </c:pt>
                <c:pt idx="514">
                  <c:v>16.912565491115654</c:v>
                </c:pt>
                <c:pt idx="515">
                  <c:v>16.912565491115654</c:v>
                </c:pt>
                <c:pt idx="516">
                  <c:v>16.912565491115654</c:v>
                </c:pt>
                <c:pt idx="517">
                  <c:v>16.912565491115654</c:v>
                </c:pt>
                <c:pt idx="518">
                  <c:v>16.912565491115654</c:v>
                </c:pt>
                <c:pt idx="519">
                  <c:v>16.912565491115654</c:v>
                </c:pt>
                <c:pt idx="520">
                  <c:v>16.912565491115654</c:v>
                </c:pt>
                <c:pt idx="521">
                  <c:v>16.912565491115654</c:v>
                </c:pt>
                <c:pt idx="522">
                  <c:v>16.912565491115654</c:v>
                </c:pt>
                <c:pt idx="523">
                  <c:v>16.912565491115654</c:v>
                </c:pt>
                <c:pt idx="524">
                  <c:v>16.912565491115654</c:v>
                </c:pt>
                <c:pt idx="525">
                  <c:v>16.912565491115654</c:v>
                </c:pt>
                <c:pt idx="526">
                  <c:v>16.912565491115654</c:v>
                </c:pt>
                <c:pt idx="527">
                  <c:v>16.912565491115654</c:v>
                </c:pt>
                <c:pt idx="528">
                  <c:v>16.912565491115654</c:v>
                </c:pt>
                <c:pt idx="529">
                  <c:v>16.912565491115654</c:v>
                </c:pt>
                <c:pt idx="530">
                  <c:v>16.912565491115654</c:v>
                </c:pt>
                <c:pt idx="531">
                  <c:v>16.912565491115654</c:v>
                </c:pt>
                <c:pt idx="532">
                  <c:v>16.912565491115654</c:v>
                </c:pt>
                <c:pt idx="533">
                  <c:v>16.912565491115654</c:v>
                </c:pt>
                <c:pt idx="534">
                  <c:v>16.912565491115654</c:v>
                </c:pt>
                <c:pt idx="535">
                  <c:v>16.912565491115654</c:v>
                </c:pt>
                <c:pt idx="536">
                  <c:v>16.912565491115654</c:v>
                </c:pt>
                <c:pt idx="537">
                  <c:v>16.912565491115654</c:v>
                </c:pt>
                <c:pt idx="538">
                  <c:v>16.912565491115654</c:v>
                </c:pt>
                <c:pt idx="539">
                  <c:v>16.912565491115654</c:v>
                </c:pt>
                <c:pt idx="540">
                  <c:v>16.912565491115654</c:v>
                </c:pt>
                <c:pt idx="541">
                  <c:v>16.912565491115654</c:v>
                </c:pt>
                <c:pt idx="542">
                  <c:v>16.912565491115654</c:v>
                </c:pt>
                <c:pt idx="543">
                  <c:v>16.912565491115654</c:v>
                </c:pt>
                <c:pt idx="544">
                  <c:v>16.912565491115654</c:v>
                </c:pt>
                <c:pt idx="545">
                  <c:v>16.912565491115654</c:v>
                </c:pt>
                <c:pt idx="546">
                  <c:v>16.912565491115654</c:v>
                </c:pt>
                <c:pt idx="547">
                  <c:v>16.912565491115654</c:v>
                </c:pt>
                <c:pt idx="548">
                  <c:v>16.912565491115654</c:v>
                </c:pt>
                <c:pt idx="549">
                  <c:v>16.912565491115654</c:v>
                </c:pt>
                <c:pt idx="550">
                  <c:v>16.912565491115654</c:v>
                </c:pt>
                <c:pt idx="551">
                  <c:v>16.912565491115654</c:v>
                </c:pt>
                <c:pt idx="552">
                  <c:v>16.912565491115654</c:v>
                </c:pt>
                <c:pt idx="553">
                  <c:v>16.912565491115654</c:v>
                </c:pt>
                <c:pt idx="554">
                  <c:v>16.912565491115654</c:v>
                </c:pt>
                <c:pt idx="555">
                  <c:v>16.912565491115654</c:v>
                </c:pt>
                <c:pt idx="556">
                  <c:v>16.912565491115654</c:v>
                </c:pt>
                <c:pt idx="557">
                  <c:v>16.912565491115654</c:v>
                </c:pt>
                <c:pt idx="558">
                  <c:v>16.912565491115654</c:v>
                </c:pt>
                <c:pt idx="559">
                  <c:v>16.912565491115654</c:v>
                </c:pt>
                <c:pt idx="560">
                  <c:v>16.912565491115654</c:v>
                </c:pt>
                <c:pt idx="561">
                  <c:v>16.912565491115654</c:v>
                </c:pt>
                <c:pt idx="562">
                  <c:v>16.912565491115654</c:v>
                </c:pt>
                <c:pt idx="563">
                  <c:v>16.912565491115654</c:v>
                </c:pt>
                <c:pt idx="564">
                  <c:v>16.912565491115654</c:v>
                </c:pt>
                <c:pt idx="565">
                  <c:v>16.912565491115654</c:v>
                </c:pt>
                <c:pt idx="566">
                  <c:v>16.912565491115654</c:v>
                </c:pt>
                <c:pt idx="567">
                  <c:v>16.912565491115654</c:v>
                </c:pt>
                <c:pt idx="568">
                  <c:v>16.912565491115654</c:v>
                </c:pt>
                <c:pt idx="569">
                  <c:v>16.912565491115654</c:v>
                </c:pt>
                <c:pt idx="570">
                  <c:v>16.912565491115654</c:v>
                </c:pt>
                <c:pt idx="571">
                  <c:v>16.912565491115654</c:v>
                </c:pt>
                <c:pt idx="572">
                  <c:v>16.912565491115654</c:v>
                </c:pt>
                <c:pt idx="573">
                  <c:v>16.912565491115654</c:v>
                </c:pt>
                <c:pt idx="574">
                  <c:v>16.912565491115654</c:v>
                </c:pt>
                <c:pt idx="575">
                  <c:v>16.912565491115654</c:v>
                </c:pt>
                <c:pt idx="576">
                  <c:v>16.912565491115654</c:v>
                </c:pt>
                <c:pt idx="577">
                  <c:v>16.912565491115654</c:v>
                </c:pt>
                <c:pt idx="578">
                  <c:v>16.912565491115654</c:v>
                </c:pt>
                <c:pt idx="579">
                  <c:v>16.912565491115654</c:v>
                </c:pt>
                <c:pt idx="580">
                  <c:v>16.912565491115654</c:v>
                </c:pt>
                <c:pt idx="581">
                  <c:v>16.912565491115654</c:v>
                </c:pt>
                <c:pt idx="582">
                  <c:v>16.912565491115654</c:v>
                </c:pt>
                <c:pt idx="583">
                  <c:v>16.912565491115654</c:v>
                </c:pt>
                <c:pt idx="584">
                  <c:v>16.912565491115654</c:v>
                </c:pt>
                <c:pt idx="585">
                  <c:v>16.912565491115654</c:v>
                </c:pt>
                <c:pt idx="586">
                  <c:v>16.912565491115654</c:v>
                </c:pt>
                <c:pt idx="587">
                  <c:v>16.912565491115654</c:v>
                </c:pt>
                <c:pt idx="588">
                  <c:v>16.912565491115654</c:v>
                </c:pt>
                <c:pt idx="589">
                  <c:v>16.912565491115654</c:v>
                </c:pt>
                <c:pt idx="590">
                  <c:v>16.912565491115654</c:v>
                </c:pt>
                <c:pt idx="591">
                  <c:v>16.912565491115654</c:v>
                </c:pt>
                <c:pt idx="592">
                  <c:v>16.912565491115654</c:v>
                </c:pt>
                <c:pt idx="593">
                  <c:v>16.912565491115654</c:v>
                </c:pt>
                <c:pt idx="594">
                  <c:v>16.912565491115654</c:v>
                </c:pt>
                <c:pt idx="595">
                  <c:v>16.912565491115654</c:v>
                </c:pt>
                <c:pt idx="596">
                  <c:v>16.912565491115654</c:v>
                </c:pt>
                <c:pt idx="597">
                  <c:v>16.912565491115654</c:v>
                </c:pt>
                <c:pt idx="598">
                  <c:v>16.912565491115654</c:v>
                </c:pt>
                <c:pt idx="599">
                  <c:v>16.912565491115654</c:v>
                </c:pt>
                <c:pt idx="600">
                  <c:v>16.912565491115654</c:v>
                </c:pt>
                <c:pt idx="601">
                  <c:v>16.912565491115654</c:v>
                </c:pt>
                <c:pt idx="602">
                  <c:v>16.912565491115654</c:v>
                </c:pt>
                <c:pt idx="603">
                  <c:v>16.912565491115654</c:v>
                </c:pt>
                <c:pt idx="604">
                  <c:v>16.912565491115654</c:v>
                </c:pt>
                <c:pt idx="605">
                  <c:v>16.912565491115654</c:v>
                </c:pt>
                <c:pt idx="606">
                  <c:v>16.912565491115654</c:v>
                </c:pt>
                <c:pt idx="607">
                  <c:v>16.912565491115654</c:v>
                </c:pt>
                <c:pt idx="608">
                  <c:v>16.912565491115654</c:v>
                </c:pt>
                <c:pt idx="609">
                  <c:v>16.912565491115654</c:v>
                </c:pt>
                <c:pt idx="610">
                  <c:v>16.912565491115654</c:v>
                </c:pt>
                <c:pt idx="611">
                  <c:v>16.912565491115654</c:v>
                </c:pt>
                <c:pt idx="612">
                  <c:v>16.912565491115654</c:v>
                </c:pt>
                <c:pt idx="613">
                  <c:v>16.912565491115654</c:v>
                </c:pt>
                <c:pt idx="614">
                  <c:v>16.912565491115654</c:v>
                </c:pt>
                <c:pt idx="615">
                  <c:v>16.912565491115654</c:v>
                </c:pt>
                <c:pt idx="616">
                  <c:v>16.912565491115654</c:v>
                </c:pt>
                <c:pt idx="617">
                  <c:v>16.912565491115654</c:v>
                </c:pt>
                <c:pt idx="618">
                  <c:v>16.912565491115654</c:v>
                </c:pt>
                <c:pt idx="619">
                  <c:v>16.912565491115654</c:v>
                </c:pt>
                <c:pt idx="620">
                  <c:v>16.912565491115654</c:v>
                </c:pt>
                <c:pt idx="621">
                  <c:v>16.912565491115654</c:v>
                </c:pt>
                <c:pt idx="622">
                  <c:v>16.912565491115654</c:v>
                </c:pt>
                <c:pt idx="623">
                  <c:v>16.912565491115654</c:v>
                </c:pt>
                <c:pt idx="624">
                  <c:v>16.912565491115654</c:v>
                </c:pt>
                <c:pt idx="625">
                  <c:v>16.912565491115654</c:v>
                </c:pt>
                <c:pt idx="626">
                  <c:v>16.912565491115654</c:v>
                </c:pt>
                <c:pt idx="627">
                  <c:v>16.912565491115654</c:v>
                </c:pt>
                <c:pt idx="628">
                  <c:v>16.912565491115654</c:v>
                </c:pt>
                <c:pt idx="629">
                  <c:v>16.912565491115654</c:v>
                </c:pt>
                <c:pt idx="630">
                  <c:v>16.912565491115654</c:v>
                </c:pt>
                <c:pt idx="631">
                  <c:v>16.912565491115654</c:v>
                </c:pt>
                <c:pt idx="632">
                  <c:v>16.912565491115654</c:v>
                </c:pt>
                <c:pt idx="633">
                  <c:v>16.912565491115654</c:v>
                </c:pt>
                <c:pt idx="634">
                  <c:v>16.912565491115654</c:v>
                </c:pt>
                <c:pt idx="635">
                  <c:v>16.912565491115654</c:v>
                </c:pt>
                <c:pt idx="636">
                  <c:v>16.912565491115654</c:v>
                </c:pt>
                <c:pt idx="637">
                  <c:v>16.912565491115654</c:v>
                </c:pt>
                <c:pt idx="638">
                  <c:v>16.912565491115654</c:v>
                </c:pt>
                <c:pt idx="639">
                  <c:v>16.912565491115654</c:v>
                </c:pt>
                <c:pt idx="640">
                  <c:v>16.912565491115654</c:v>
                </c:pt>
                <c:pt idx="641">
                  <c:v>16.912565491115654</c:v>
                </c:pt>
                <c:pt idx="642">
                  <c:v>16.912565491115654</c:v>
                </c:pt>
                <c:pt idx="643">
                  <c:v>16.912565491115654</c:v>
                </c:pt>
                <c:pt idx="644">
                  <c:v>16.912565491115654</c:v>
                </c:pt>
                <c:pt idx="645">
                  <c:v>16.912565491115654</c:v>
                </c:pt>
                <c:pt idx="646">
                  <c:v>16.912565491115654</c:v>
                </c:pt>
                <c:pt idx="647">
                  <c:v>16.912565491115654</c:v>
                </c:pt>
                <c:pt idx="648">
                  <c:v>16.912565491115654</c:v>
                </c:pt>
                <c:pt idx="649">
                  <c:v>16.912565491115654</c:v>
                </c:pt>
                <c:pt idx="650">
                  <c:v>16.912565491115654</c:v>
                </c:pt>
                <c:pt idx="651">
                  <c:v>16.912565491115654</c:v>
                </c:pt>
                <c:pt idx="652">
                  <c:v>16.912565491115654</c:v>
                </c:pt>
                <c:pt idx="653">
                  <c:v>16.912565491115654</c:v>
                </c:pt>
                <c:pt idx="654">
                  <c:v>16.912565491115654</c:v>
                </c:pt>
                <c:pt idx="655">
                  <c:v>16.912565491115654</c:v>
                </c:pt>
                <c:pt idx="656">
                  <c:v>16.912565491115654</c:v>
                </c:pt>
                <c:pt idx="657">
                  <c:v>16.912565491115654</c:v>
                </c:pt>
                <c:pt idx="658">
                  <c:v>16.912565491115654</c:v>
                </c:pt>
                <c:pt idx="659">
                  <c:v>16.912565491115654</c:v>
                </c:pt>
                <c:pt idx="660">
                  <c:v>16.912565491115654</c:v>
                </c:pt>
                <c:pt idx="661">
                  <c:v>16.912565491115654</c:v>
                </c:pt>
                <c:pt idx="662">
                  <c:v>16.912565491115654</c:v>
                </c:pt>
                <c:pt idx="663">
                  <c:v>16.912565491115654</c:v>
                </c:pt>
                <c:pt idx="664">
                  <c:v>16.912565491115654</c:v>
                </c:pt>
                <c:pt idx="665">
                  <c:v>16.912565491115654</c:v>
                </c:pt>
                <c:pt idx="666">
                  <c:v>16.912565491115654</c:v>
                </c:pt>
                <c:pt idx="667">
                  <c:v>16.912565491115654</c:v>
                </c:pt>
                <c:pt idx="668">
                  <c:v>16.912565491115654</c:v>
                </c:pt>
                <c:pt idx="669">
                  <c:v>16.912565491115654</c:v>
                </c:pt>
                <c:pt idx="670">
                  <c:v>16.912565491115654</c:v>
                </c:pt>
                <c:pt idx="671">
                  <c:v>16.912565491115654</c:v>
                </c:pt>
                <c:pt idx="672">
                  <c:v>16.912565491115654</c:v>
                </c:pt>
                <c:pt idx="673">
                  <c:v>16.912565491115654</c:v>
                </c:pt>
                <c:pt idx="674">
                  <c:v>16.912565491115654</c:v>
                </c:pt>
                <c:pt idx="675">
                  <c:v>16.912565491115654</c:v>
                </c:pt>
                <c:pt idx="676">
                  <c:v>16.912565491115654</c:v>
                </c:pt>
                <c:pt idx="677">
                  <c:v>16.912565491115654</c:v>
                </c:pt>
                <c:pt idx="678">
                  <c:v>16.912565491115654</c:v>
                </c:pt>
                <c:pt idx="679">
                  <c:v>16.912565491115654</c:v>
                </c:pt>
                <c:pt idx="680">
                  <c:v>16.912565491115654</c:v>
                </c:pt>
                <c:pt idx="681">
                  <c:v>16.912565491115654</c:v>
                </c:pt>
                <c:pt idx="682">
                  <c:v>16.912565491115654</c:v>
                </c:pt>
                <c:pt idx="683">
                  <c:v>16.912565491115654</c:v>
                </c:pt>
                <c:pt idx="684">
                  <c:v>16.912565491115654</c:v>
                </c:pt>
                <c:pt idx="685">
                  <c:v>16.912565491115654</c:v>
                </c:pt>
                <c:pt idx="686">
                  <c:v>16.912565491115654</c:v>
                </c:pt>
                <c:pt idx="687">
                  <c:v>16.912565491115654</c:v>
                </c:pt>
                <c:pt idx="688">
                  <c:v>16.912565491115654</c:v>
                </c:pt>
                <c:pt idx="689">
                  <c:v>16.912565491115654</c:v>
                </c:pt>
                <c:pt idx="690">
                  <c:v>16.912565491115654</c:v>
                </c:pt>
                <c:pt idx="691">
                  <c:v>16.912565491115654</c:v>
                </c:pt>
                <c:pt idx="692">
                  <c:v>16.912565491115654</c:v>
                </c:pt>
                <c:pt idx="693">
                  <c:v>16.912565491115654</c:v>
                </c:pt>
                <c:pt idx="694">
                  <c:v>16.912565491115654</c:v>
                </c:pt>
                <c:pt idx="695">
                  <c:v>16.912565491115654</c:v>
                </c:pt>
                <c:pt idx="696">
                  <c:v>16.912565491115654</c:v>
                </c:pt>
                <c:pt idx="697">
                  <c:v>16.912565491115654</c:v>
                </c:pt>
                <c:pt idx="698">
                  <c:v>16.912565491115654</c:v>
                </c:pt>
                <c:pt idx="699">
                  <c:v>16.912565491115654</c:v>
                </c:pt>
                <c:pt idx="700">
                  <c:v>16.912565491115654</c:v>
                </c:pt>
                <c:pt idx="701">
                  <c:v>16.912565491115654</c:v>
                </c:pt>
                <c:pt idx="702">
                  <c:v>16.912565491115654</c:v>
                </c:pt>
                <c:pt idx="703">
                  <c:v>16.912565491115654</c:v>
                </c:pt>
                <c:pt idx="704">
                  <c:v>16.912565491115654</c:v>
                </c:pt>
                <c:pt idx="705">
                  <c:v>16.912565491115654</c:v>
                </c:pt>
                <c:pt idx="706">
                  <c:v>16.912565491115654</c:v>
                </c:pt>
                <c:pt idx="707">
                  <c:v>16.912565491115654</c:v>
                </c:pt>
                <c:pt idx="708">
                  <c:v>16.912565491115654</c:v>
                </c:pt>
                <c:pt idx="709">
                  <c:v>16.912565491115654</c:v>
                </c:pt>
                <c:pt idx="710">
                  <c:v>16.912565491115654</c:v>
                </c:pt>
                <c:pt idx="711">
                  <c:v>16.912565491115654</c:v>
                </c:pt>
                <c:pt idx="712">
                  <c:v>16.912565491115654</c:v>
                </c:pt>
                <c:pt idx="713">
                  <c:v>16.912565491115654</c:v>
                </c:pt>
                <c:pt idx="714">
                  <c:v>16.912565491115654</c:v>
                </c:pt>
                <c:pt idx="715">
                  <c:v>16.912565491115654</c:v>
                </c:pt>
                <c:pt idx="716">
                  <c:v>16.912565491115654</c:v>
                </c:pt>
                <c:pt idx="717">
                  <c:v>16.912565491115654</c:v>
                </c:pt>
                <c:pt idx="718">
                  <c:v>16.912565491115654</c:v>
                </c:pt>
                <c:pt idx="719">
                  <c:v>16.912565491115654</c:v>
                </c:pt>
                <c:pt idx="720">
                  <c:v>16.912565491115654</c:v>
                </c:pt>
                <c:pt idx="721">
                  <c:v>16.912565491115654</c:v>
                </c:pt>
                <c:pt idx="722">
                  <c:v>16.912565491115654</c:v>
                </c:pt>
                <c:pt idx="723">
                  <c:v>16.912565491115654</c:v>
                </c:pt>
                <c:pt idx="724">
                  <c:v>16.912565491115654</c:v>
                </c:pt>
                <c:pt idx="725">
                  <c:v>16.912565491115654</c:v>
                </c:pt>
                <c:pt idx="726">
                  <c:v>16.912565491115654</c:v>
                </c:pt>
                <c:pt idx="727">
                  <c:v>16.912565491115654</c:v>
                </c:pt>
                <c:pt idx="728">
                  <c:v>16.912565491115654</c:v>
                </c:pt>
                <c:pt idx="729">
                  <c:v>16.912565491115654</c:v>
                </c:pt>
                <c:pt idx="730">
                  <c:v>16.912565491115654</c:v>
                </c:pt>
                <c:pt idx="731">
                  <c:v>16.912565491115654</c:v>
                </c:pt>
                <c:pt idx="732">
                  <c:v>16.912565491115654</c:v>
                </c:pt>
                <c:pt idx="733">
                  <c:v>16.912565491115654</c:v>
                </c:pt>
                <c:pt idx="734">
                  <c:v>16.912565491115654</c:v>
                </c:pt>
                <c:pt idx="735">
                  <c:v>16.912565491115654</c:v>
                </c:pt>
                <c:pt idx="736">
                  <c:v>16.912565491115654</c:v>
                </c:pt>
                <c:pt idx="737">
                  <c:v>16.912565491115654</c:v>
                </c:pt>
                <c:pt idx="738">
                  <c:v>16.912565491115654</c:v>
                </c:pt>
                <c:pt idx="739">
                  <c:v>16.912565491115654</c:v>
                </c:pt>
                <c:pt idx="740">
                  <c:v>16.912565491115654</c:v>
                </c:pt>
                <c:pt idx="741">
                  <c:v>16.912565491115654</c:v>
                </c:pt>
                <c:pt idx="742">
                  <c:v>16.912565491115654</c:v>
                </c:pt>
                <c:pt idx="743">
                  <c:v>16.912565491115654</c:v>
                </c:pt>
                <c:pt idx="744">
                  <c:v>16.912565491115654</c:v>
                </c:pt>
                <c:pt idx="745">
                  <c:v>16.912565491115654</c:v>
                </c:pt>
                <c:pt idx="746">
                  <c:v>16.912565491115654</c:v>
                </c:pt>
                <c:pt idx="747">
                  <c:v>16.912565491115654</c:v>
                </c:pt>
                <c:pt idx="748">
                  <c:v>16.912565491115654</c:v>
                </c:pt>
                <c:pt idx="749">
                  <c:v>16.912565491115654</c:v>
                </c:pt>
                <c:pt idx="750">
                  <c:v>16.912565491115654</c:v>
                </c:pt>
                <c:pt idx="751">
                  <c:v>16.912565491115654</c:v>
                </c:pt>
                <c:pt idx="752">
                  <c:v>16.912565491115654</c:v>
                </c:pt>
                <c:pt idx="753">
                  <c:v>16.912565491115654</c:v>
                </c:pt>
                <c:pt idx="754">
                  <c:v>16.912565491115654</c:v>
                </c:pt>
                <c:pt idx="755">
                  <c:v>16.912565491115654</c:v>
                </c:pt>
                <c:pt idx="756">
                  <c:v>16.912565491115654</c:v>
                </c:pt>
                <c:pt idx="757">
                  <c:v>16.912565491115654</c:v>
                </c:pt>
                <c:pt idx="758">
                  <c:v>16.912565491115654</c:v>
                </c:pt>
                <c:pt idx="759">
                  <c:v>16.912565491115654</c:v>
                </c:pt>
                <c:pt idx="760">
                  <c:v>16.912565491115654</c:v>
                </c:pt>
                <c:pt idx="761">
                  <c:v>16.912565491115654</c:v>
                </c:pt>
                <c:pt idx="762">
                  <c:v>16.912565491115654</c:v>
                </c:pt>
                <c:pt idx="763">
                  <c:v>16.912565491115654</c:v>
                </c:pt>
                <c:pt idx="764">
                  <c:v>16.912565491115654</c:v>
                </c:pt>
                <c:pt idx="765">
                  <c:v>16.912565491115654</c:v>
                </c:pt>
                <c:pt idx="766">
                  <c:v>16.912565491115654</c:v>
                </c:pt>
                <c:pt idx="767">
                  <c:v>16.912565491115654</c:v>
                </c:pt>
                <c:pt idx="768">
                  <c:v>16.912565491115654</c:v>
                </c:pt>
                <c:pt idx="769">
                  <c:v>16.912565491115654</c:v>
                </c:pt>
                <c:pt idx="770">
                  <c:v>16.912565491115654</c:v>
                </c:pt>
                <c:pt idx="771">
                  <c:v>16.912565491115654</c:v>
                </c:pt>
                <c:pt idx="772">
                  <c:v>16.912565491115654</c:v>
                </c:pt>
                <c:pt idx="773">
                  <c:v>16.912565491115654</c:v>
                </c:pt>
                <c:pt idx="774">
                  <c:v>16.912565491115654</c:v>
                </c:pt>
                <c:pt idx="775">
                  <c:v>16.912565491115654</c:v>
                </c:pt>
                <c:pt idx="776">
                  <c:v>16.912565491115654</c:v>
                </c:pt>
                <c:pt idx="777">
                  <c:v>16.912565491115654</c:v>
                </c:pt>
                <c:pt idx="778">
                  <c:v>16.912565491115654</c:v>
                </c:pt>
                <c:pt idx="779">
                  <c:v>16.912565491115654</c:v>
                </c:pt>
                <c:pt idx="780">
                  <c:v>16.912565491115654</c:v>
                </c:pt>
                <c:pt idx="781">
                  <c:v>16.912565491115654</c:v>
                </c:pt>
                <c:pt idx="782">
                  <c:v>16.912565491115654</c:v>
                </c:pt>
                <c:pt idx="783">
                  <c:v>16.912565491115654</c:v>
                </c:pt>
                <c:pt idx="784">
                  <c:v>16.912565491115654</c:v>
                </c:pt>
                <c:pt idx="785">
                  <c:v>16.912565491115654</c:v>
                </c:pt>
                <c:pt idx="786">
                  <c:v>16.912565491115654</c:v>
                </c:pt>
                <c:pt idx="787">
                  <c:v>16.912565491115654</c:v>
                </c:pt>
                <c:pt idx="788">
                  <c:v>16.912565491115654</c:v>
                </c:pt>
                <c:pt idx="789">
                  <c:v>16.912565491115654</c:v>
                </c:pt>
                <c:pt idx="790">
                  <c:v>16.912565491115654</c:v>
                </c:pt>
                <c:pt idx="791">
                  <c:v>16.912565491115654</c:v>
                </c:pt>
                <c:pt idx="792">
                  <c:v>16.912565491115654</c:v>
                </c:pt>
                <c:pt idx="793">
                  <c:v>16.912565491115654</c:v>
                </c:pt>
                <c:pt idx="794">
                  <c:v>16.912565491115654</c:v>
                </c:pt>
                <c:pt idx="795">
                  <c:v>16.912565491115654</c:v>
                </c:pt>
                <c:pt idx="796">
                  <c:v>16.912565491115654</c:v>
                </c:pt>
                <c:pt idx="797">
                  <c:v>16.912565491115654</c:v>
                </c:pt>
                <c:pt idx="798">
                  <c:v>16.912565491115654</c:v>
                </c:pt>
                <c:pt idx="799">
                  <c:v>16.912565491115654</c:v>
                </c:pt>
                <c:pt idx="800">
                  <c:v>16.912565491115654</c:v>
                </c:pt>
                <c:pt idx="801">
                  <c:v>16.912565491115654</c:v>
                </c:pt>
                <c:pt idx="802">
                  <c:v>16.912565491115654</c:v>
                </c:pt>
                <c:pt idx="803">
                  <c:v>16.912565491115654</c:v>
                </c:pt>
                <c:pt idx="804">
                  <c:v>16.912565491115654</c:v>
                </c:pt>
                <c:pt idx="805">
                  <c:v>16.912565491115654</c:v>
                </c:pt>
                <c:pt idx="806">
                  <c:v>16.912565491115654</c:v>
                </c:pt>
                <c:pt idx="807">
                  <c:v>16.912565491115654</c:v>
                </c:pt>
                <c:pt idx="808">
                  <c:v>16.912565491115654</c:v>
                </c:pt>
                <c:pt idx="809">
                  <c:v>16.912565491115654</c:v>
                </c:pt>
                <c:pt idx="810">
                  <c:v>16.912565491115654</c:v>
                </c:pt>
                <c:pt idx="811">
                  <c:v>16.912565491115654</c:v>
                </c:pt>
                <c:pt idx="812">
                  <c:v>16.912565491115654</c:v>
                </c:pt>
                <c:pt idx="813">
                  <c:v>16.912565491115654</c:v>
                </c:pt>
                <c:pt idx="814">
                  <c:v>16.912565491115654</c:v>
                </c:pt>
                <c:pt idx="815">
                  <c:v>16.912565491115654</c:v>
                </c:pt>
                <c:pt idx="816">
                  <c:v>16.912565491115654</c:v>
                </c:pt>
                <c:pt idx="817">
                  <c:v>16.912565491115654</c:v>
                </c:pt>
                <c:pt idx="818">
                  <c:v>16.912565491115654</c:v>
                </c:pt>
                <c:pt idx="819">
                  <c:v>16.912565491115654</c:v>
                </c:pt>
                <c:pt idx="820">
                  <c:v>16.912565491115654</c:v>
                </c:pt>
                <c:pt idx="821">
                  <c:v>16.912565491115654</c:v>
                </c:pt>
                <c:pt idx="822">
                  <c:v>16.912565491115654</c:v>
                </c:pt>
                <c:pt idx="823">
                  <c:v>16.912565491115654</c:v>
                </c:pt>
                <c:pt idx="824">
                  <c:v>16.912565491115654</c:v>
                </c:pt>
                <c:pt idx="825">
                  <c:v>16.912565491115654</c:v>
                </c:pt>
                <c:pt idx="826">
                  <c:v>16.912565491115654</c:v>
                </c:pt>
                <c:pt idx="827">
                  <c:v>16.912565491115654</c:v>
                </c:pt>
                <c:pt idx="828">
                  <c:v>16.912565491115654</c:v>
                </c:pt>
                <c:pt idx="829">
                  <c:v>16.912565491115654</c:v>
                </c:pt>
                <c:pt idx="830">
                  <c:v>16.912565491115654</c:v>
                </c:pt>
                <c:pt idx="831">
                  <c:v>16.912565491115654</c:v>
                </c:pt>
                <c:pt idx="832">
                  <c:v>16.912565491115654</c:v>
                </c:pt>
                <c:pt idx="833">
                  <c:v>16.912565491115654</c:v>
                </c:pt>
                <c:pt idx="834">
                  <c:v>16.912565491115654</c:v>
                </c:pt>
                <c:pt idx="835">
                  <c:v>16.912565491115654</c:v>
                </c:pt>
                <c:pt idx="836">
                  <c:v>16.912565491115654</c:v>
                </c:pt>
                <c:pt idx="837">
                  <c:v>16.912565491115654</c:v>
                </c:pt>
                <c:pt idx="838">
                  <c:v>16.912565491115654</c:v>
                </c:pt>
                <c:pt idx="839">
                  <c:v>16.912565491115654</c:v>
                </c:pt>
                <c:pt idx="840">
                  <c:v>16.912565491115654</c:v>
                </c:pt>
                <c:pt idx="841">
                  <c:v>16.912565491115654</c:v>
                </c:pt>
                <c:pt idx="842">
                  <c:v>16.912565491115654</c:v>
                </c:pt>
                <c:pt idx="843">
                  <c:v>16.912565491115654</c:v>
                </c:pt>
                <c:pt idx="844">
                  <c:v>16.912565491115654</c:v>
                </c:pt>
                <c:pt idx="845">
                  <c:v>16.912565491115654</c:v>
                </c:pt>
                <c:pt idx="846">
                  <c:v>16.912565491115654</c:v>
                </c:pt>
                <c:pt idx="847">
                  <c:v>16.912565491115654</c:v>
                </c:pt>
                <c:pt idx="848">
                  <c:v>16.912565491115654</c:v>
                </c:pt>
                <c:pt idx="849">
                  <c:v>16.912565491115654</c:v>
                </c:pt>
                <c:pt idx="850">
                  <c:v>16.912565491115654</c:v>
                </c:pt>
                <c:pt idx="851">
                  <c:v>16.912565491115654</c:v>
                </c:pt>
                <c:pt idx="852">
                  <c:v>16.912565491115654</c:v>
                </c:pt>
                <c:pt idx="853">
                  <c:v>16.912565491115654</c:v>
                </c:pt>
                <c:pt idx="854">
                  <c:v>16.912565491115654</c:v>
                </c:pt>
                <c:pt idx="855">
                  <c:v>16.912565491115654</c:v>
                </c:pt>
                <c:pt idx="856">
                  <c:v>16.912565491115654</c:v>
                </c:pt>
                <c:pt idx="857">
                  <c:v>16.912565491115654</c:v>
                </c:pt>
                <c:pt idx="858">
                  <c:v>16.912565491115654</c:v>
                </c:pt>
                <c:pt idx="859">
                  <c:v>16.912565491115654</c:v>
                </c:pt>
                <c:pt idx="860">
                  <c:v>16.912565491115654</c:v>
                </c:pt>
                <c:pt idx="861">
                  <c:v>16.912565491115654</c:v>
                </c:pt>
                <c:pt idx="862">
                  <c:v>16.912565491115654</c:v>
                </c:pt>
                <c:pt idx="863">
                  <c:v>16.912565491115654</c:v>
                </c:pt>
                <c:pt idx="864">
                  <c:v>16.912565491115654</c:v>
                </c:pt>
                <c:pt idx="865">
                  <c:v>16.912565491115654</c:v>
                </c:pt>
                <c:pt idx="866">
                  <c:v>16.912565491115654</c:v>
                </c:pt>
                <c:pt idx="867">
                  <c:v>16.912565491115654</c:v>
                </c:pt>
                <c:pt idx="868">
                  <c:v>16.912565491115654</c:v>
                </c:pt>
                <c:pt idx="869">
                  <c:v>16.912565491115654</c:v>
                </c:pt>
                <c:pt idx="870">
                  <c:v>16.912565491115654</c:v>
                </c:pt>
                <c:pt idx="871">
                  <c:v>16.912565491115654</c:v>
                </c:pt>
                <c:pt idx="872">
                  <c:v>16.912565491115654</c:v>
                </c:pt>
                <c:pt idx="873">
                  <c:v>16.912565491115654</c:v>
                </c:pt>
                <c:pt idx="874">
                  <c:v>16.912565491115654</c:v>
                </c:pt>
                <c:pt idx="875">
                  <c:v>16.912565491115654</c:v>
                </c:pt>
                <c:pt idx="876">
                  <c:v>16.912565491115654</c:v>
                </c:pt>
                <c:pt idx="877">
                  <c:v>16.912565491115654</c:v>
                </c:pt>
                <c:pt idx="878">
                  <c:v>16.912565491115654</c:v>
                </c:pt>
                <c:pt idx="879">
                  <c:v>16.912565491115654</c:v>
                </c:pt>
                <c:pt idx="880">
                  <c:v>16.912565491115654</c:v>
                </c:pt>
                <c:pt idx="881">
                  <c:v>16.912565491115654</c:v>
                </c:pt>
                <c:pt idx="882">
                  <c:v>16.912565491115654</c:v>
                </c:pt>
                <c:pt idx="883">
                  <c:v>16.912565491115654</c:v>
                </c:pt>
                <c:pt idx="884">
                  <c:v>16.912565491115654</c:v>
                </c:pt>
                <c:pt idx="885">
                  <c:v>16.912565491115654</c:v>
                </c:pt>
                <c:pt idx="886">
                  <c:v>16.912565491115654</c:v>
                </c:pt>
                <c:pt idx="887">
                  <c:v>16.912565491115654</c:v>
                </c:pt>
                <c:pt idx="888">
                  <c:v>16.912565491115654</c:v>
                </c:pt>
                <c:pt idx="889">
                  <c:v>16.912565491115654</c:v>
                </c:pt>
                <c:pt idx="890">
                  <c:v>16.912565491115654</c:v>
                </c:pt>
                <c:pt idx="891">
                  <c:v>16.912565491115654</c:v>
                </c:pt>
              </c:numCache>
            </c:numRef>
          </c:val>
          <c:smooth val="0"/>
          <c:extLst>
            <c:ext xmlns:c16="http://schemas.microsoft.com/office/drawing/2014/chart" uri="{C3380CC4-5D6E-409C-BE32-E72D297353CC}">
              <c16:uniqueId val="{00000003-7DF5-4049-9C18-76D54EAFDC14}"/>
            </c:ext>
          </c:extLst>
        </c:ser>
        <c:ser>
          <c:idx val="3"/>
          <c:order val="4"/>
          <c:tx>
            <c:strRef>
              <c:f>USA!$EB$8</c:f>
              <c:strCache>
                <c:ptCount val="1"/>
                <c:pt idx="0">
                  <c:v>+/- 2 std</c:v>
                </c:pt>
              </c:strCache>
            </c:strRef>
          </c:tx>
          <c:spPr>
            <a:ln w="19050" cap="rnd" cmpd="sng" algn="ctr">
              <a:solidFill>
                <a:sysClr val="window" lastClr="FFFFFF">
                  <a:lumMod val="85000"/>
                </a:sysClr>
              </a:solidFill>
              <a:prstDash val="solid"/>
              <a:round/>
              <a:headEnd type="none" w="med" len="med"/>
              <a:tailEnd type="none" w="med" len="med"/>
            </a:ln>
            <a:effectLst/>
          </c:spPr>
          <c:marker>
            <c:symbol val="none"/>
          </c:marker>
          <c:dPt>
            <c:idx val="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9-6564-4F45-8560-A14789827587}"/>
              </c:ext>
            </c:extLst>
          </c:dPt>
          <c:dPt>
            <c:idx val="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A-6564-4F45-8560-A14789827587}"/>
              </c:ext>
            </c:extLst>
          </c:dPt>
          <c:dPt>
            <c:idx val="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B-6564-4F45-8560-A14789827587}"/>
              </c:ext>
            </c:extLst>
          </c:dPt>
          <c:dPt>
            <c:idx val="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C-6564-4F45-8560-A14789827587}"/>
              </c:ext>
            </c:extLst>
          </c:dPt>
          <c:dPt>
            <c:idx val="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D-6564-4F45-8560-A14789827587}"/>
              </c:ext>
            </c:extLst>
          </c:dPt>
          <c:dPt>
            <c:idx val="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E-6564-4F45-8560-A14789827587}"/>
              </c:ext>
            </c:extLst>
          </c:dPt>
          <c:dPt>
            <c:idx val="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F-6564-4F45-8560-A14789827587}"/>
              </c:ext>
            </c:extLst>
          </c:dPt>
          <c:dPt>
            <c:idx val="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0-6564-4F45-8560-A14789827587}"/>
              </c:ext>
            </c:extLst>
          </c:dPt>
          <c:dPt>
            <c:idx val="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1-6564-4F45-8560-A14789827587}"/>
              </c:ext>
            </c:extLst>
          </c:dPt>
          <c:dPt>
            <c:idx val="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2-6564-4F45-8560-A14789827587}"/>
              </c:ext>
            </c:extLst>
          </c:dPt>
          <c:dPt>
            <c:idx val="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3-6564-4F45-8560-A14789827587}"/>
              </c:ext>
            </c:extLst>
          </c:dPt>
          <c:dPt>
            <c:idx val="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4-6564-4F45-8560-A14789827587}"/>
              </c:ext>
            </c:extLst>
          </c:dPt>
          <c:dPt>
            <c:idx val="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5-6564-4F45-8560-A14789827587}"/>
              </c:ext>
            </c:extLst>
          </c:dPt>
          <c:dPt>
            <c:idx val="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6-6564-4F45-8560-A14789827587}"/>
              </c:ext>
            </c:extLst>
          </c:dPt>
          <c:dPt>
            <c:idx val="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7-6564-4F45-8560-A14789827587}"/>
              </c:ext>
            </c:extLst>
          </c:dPt>
          <c:dPt>
            <c:idx val="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8-6564-4F45-8560-A14789827587}"/>
              </c:ext>
            </c:extLst>
          </c:dPt>
          <c:dPt>
            <c:idx val="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9-6564-4F45-8560-A14789827587}"/>
              </c:ext>
            </c:extLst>
          </c:dPt>
          <c:dPt>
            <c:idx val="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A-6564-4F45-8560-A14789827587}"/>
              </c:ext>
            </c:extLst>
          </c:dPt>
          <c:dPt>
            <c:idx val="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B-6564-4F45-8560-A14789827587}"/>
              </c:ext>
            </c:extLst>
          </c:dPt>
          <c:dPt>
            <c:idx val="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C-6564-4F45-8560-A14789827587}"/>
              </c:ext>
            </c:extLst>
          </c:dPt>
          <c:dPt>
            <c:idx val="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D-6564-4F45-8560-A14789827587}"/>
              </c:ext>
            </c:extLst>
          </c:dPt>
          <c:dPt>
            <c:idx val="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E-6564-4F45-8560-A14789827587}"/>
              </c:ext>
            </c:extLst>
          </c:dPt>
          <c:dPt>
            <c:idx val="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F-6564-4F45-8560-A14789827587}"/>
              </c:ext>
            </c:extLst>
          </c:dPt>
          <c:dPt>
            <c:idx val="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0-6564-4F45-8560-A14789827587}"/>
              </c:ext>
            </c:extLst>
          </c:dPt>
          <c:dPt>
            <c:idx val="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1-6564-4F45-8560-A14789827587}"/>
              </c:ext>
            </c:extLst>
          </c:dPt>
          <c:dPt>
            <c:idx val="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2-6564-4F45-8560-A14789827587}"/>
              </c:ext>
            </c:extLst>
          </c:dPt>
          <c:dPt>
            <c:idx val="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3-6564-4F45-8560-A14789827587}"/>
              </c:ext>
            </c:extLst>
          </c:dPt>
          <c:dPt>
            <c:idx val="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4-6564-4F45-8560-A14789827587}"/>
              </c:ext>
            </c:extLst>
          </c:dPt>
          <c:dPt>
            <c:idx val="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5-6564-4F45-8560-A14789827587}"/>
              </c:ext>
            </c:extLst>
          </c:dPt>
          <c:dPt>
            <c:idx val="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6-6564-4F45-8560-A14789827587}"/>
              </c:ext>
            </c:extLst>
          </c:dPt>
          <c:dPt>
            <c:idx val="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7-6564-4F45-8560-A14789827587}"/>
              </c:ext>
            </c:extLst>
          </c:dPt>
          <c:dPt>
            <c:idx val="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8-6564-4F45-8560-A14789827587}"/>
              </c:ext>
            </c:extLst>
          </c:dPt>
          <c:dPt>
            <c:idx val="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9-6564-4F45-8560-A14789827587}"/>
              </c:ext>
            </c:extLst>
          </c:dPt>
          <c:dPt>
            <c:idx val="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A-6564-4F45-8560-A14789827587}"/>
              </c:ext>
            </c:extLst>
          </c:dPt>
          <c:dPt>
            <c:idx val="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B-6564-4F45-8560-A14789827587}"/>
              </c:ext>
            </c:extLst>
          </c:dPt>
          <c:dPt>
            <c:idx val="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C-6564-4F45-8560-A14789827587}"/>
              </c:ext>
            </c:extLst>
          </c:dPt>
          <c:dPt>
            <c:idx val="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D-6564-4F45-8560-A14789827587}"/>
              </c:ext>
            </c:extLst>
          </c:dPt>
          <c:dPt>
            <c:idx val="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E-6564-4F45-8560-A14789827587}"/>
              </c:ext>
            </c:extLst>
          </c:dPt>
          <c:dPt>
            <c:idx val="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F-6564-4F45-8560-A14789827587}"/>
              </c:ext>
            </c:extLst>
          </c:dPt>
          <c:dPt>
            <c:idx val="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0-6564-4F45-8560-A14789827587}"/>
              </c:ext>
            </c:extLst>
          </c:dPt>
          <c:dPt>
            <c:idx val="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1-6564-4F45-8560-A14789827587}"/>
              </c:ext>
            </c:extLst>
          </c:dPt>
          <c:dPt>
            <c:idx val="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2-6564-4F45-8560-A14789827587}"/>
              </c:ext>
            </c:extLst>
          </c:dPt>
          <c:dPt>
            <c:idx val="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3-6564-4F45-8560-A14789827587}"/>
              </c:ext>
            </c:extLst>
          </c:dPt>
          <c:dPt>
            <c:idx val="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4-6564-4F45-8560-A14789827587}"/>
              </c:ext>
            </c:extLst>
          </c:dPt>
          <c:dPt>
            <c:idx val="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5-6564-4F45-8560-A14789827587}"/>
              </c:ext>
            </c:extLst>
          </c:dPt>
          <c:dPt>
            <c:idx val="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6-6564-4F45-8560-A14789827587}"/>
              </c:ext>
            </c:extLst>
          </c:dPt>
          <c:dPt>
            <c:idx val="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7-6564-4F45-8560-A14789827587}"/>
              </c:ext>
            </c:extLst>
          </c:dPt>
          <c:dPt>
            <c:idx val="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8-6564-4F45-8560-A14789827587}"/>
              </c:ext>
            </c:extLst>
          </c:dPt>
          <c:dPt>
            <c:idx val="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9-6564-4F45-8560-A14789827587}"/>
              </c:ext>
            </c:extLst>
          </c:dPt>
          <c:dPt>
            <c:idx val="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A-6564-4F45-8560-A14789827587}"/>
              </c:ext>
            </c:extLst>
          </c:dPt>
          <c:dPt>
            <c:idx val="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B-6564-4F45-8560-A14789827587}"/>
              </c:ext>
            </c:extLst>
          </c:dPt>
          <c:dPt>
            <c:idx val="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C-6564-4F45-8560-A14789827587}"/>
              </c:ext>
            </c:extLst>
          </c:dPt>
          <c:dPt>
            <c:idx val="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D-6564-4F45-8560-A14789827587}"/>
              </c:ext>
            </c:extLst>
          </c:dPt>
          <c:dPt>
            <c:idx val="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E-6564-4F45-8560-A14789827587}"/>
              </c:ext>
            </c:extLst>
          </c:dPt>
          <c:dPt>
            <c:idx val="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F-6564-4F45-8560-A14789827587}"/>
              </c:ext>
            </c:extLst>
          </c:dPt>
          <c:dPt>
            <c:idx val="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0-6564-4F45-8560-A14789827587}"/>
              </c:ext>
            </c:extLst>
          </c:dPt>
          <c:dPt>
            <c:idx val="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1-6564-4F45-8560-A14789827587}"/>
              </c:ext>
            </c:extLst>
          </c:dPt>
          <c:dPt>
            <c:idx val="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2-6564-4F45-8560-A14789827587}"/>
              </c:ext>
            </c:extLst>
          </c:dPt>
          <c:dPt>
            <c:idx val="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3-6564-4F45-8560-A14789827587}"/>
              </c:ext>
            </c:extLst>
          </c:dPt>
          <c:dPt>
            <c:idx val="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4-6564-4F45-8560-A14789827587}"/>
              </c:ext>
            </c:extLst>
          </c:dPt>
          <c:dPt>
            <c:idx val="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5-6564-4F45-8560-A14789827587}"/>
              </c:ext>
            </c:extLst>
          </c:dPt>
          <c:dPt>
            <c:idx val="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6-6564-4F45-8560-A14789827587}"/>
              </c:ext>
            </c:extLst>
          </c:dPt>
          <c:dPt>
            <c:idx val="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7-6564-4F45-8560-A14789827587}"/>
              </c:ext>
            </c:extLst>
          </c:dPt>
          <c:dPt>
            <c:idx val="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8-6564-4F45-8560-A14789827587}"/>
              </c:ext>
            </c:extLst>
          </c:dPt>
          <c:dPt>
            <c:idx val="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9-6564-4F45-8560-A14789827587}"/>
              </c:ext>
            </c:extLst>
          </c:dPt>
          <c:dPt>
            <c:idx val="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A-6564-4F45-8560-A14789827587}"/>
              </c:ext>
            </c:extLst>
          </c:dPt>
          <c:dPt>
            <c:idx val="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B-6564-4F45-8560-A14789827587}"/>
              </c:ext>
            </c:extLst>
          </c:dPt>
          <c:dPt>
            <c:idx val="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C-6564-4F45-8560-A14789827587}"/>
              </c:ext>
            </c:extLst>
          </c:dPt>
          <c:dPt>
            <c:idx val="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D-6564-4F45-8560-A14789827587}"/>
              </c:ext>
            </c:extLst>
          </c:dPt>
          <c:dPt>
            <c:idx val="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E-6564-4F45-8560-A14789827587}"/>
              </c:ext>
            </c:extLst>
          </c:dPt>
          <c:dPt>
            <c:idx val="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F-6564-4F45-8560-A14789827587}"/>
              </c:ext>
            </c:extLst>
          </c:dPt>
          <c:dPt>
            <c:idx val="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0-6564-4F45-8560-A14789827587}"/>
              </c:ext>
            </c:extLst>
          </c:dPt>
          <c:dPt>
            <c:idx val="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1-6564-4F45-8560-A14789827587}"/>
              </c:ext>
            </c:extLst>
          </c:dPt>
          <c:dPt>
            <c:idx val="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2-6564-4F45-8560-A14789827587}"/>
              </c:ext>
            </c:extLst>
          </c:dPt>
          <c:dPt>
            <c:idx val="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3-6564-4F45-8560-A14789827587}"/>
              </c:ext>
            </c:extLst>
          </c:dPt>
          <c:dPt>
            <c:idx val="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4-6564-4F45-8560-A14789827587}"/>
              </c:ext>
            </c:extLst>
          </c:dPt>
          <c:dPt>
            <c:idx val="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5-6564-4F45-8560-A14789827587}"/>
              </c:ext>
            </c:extLst>
          </c:dPt>
          <c:dPt>
            <c:idx val="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6-6564-4F45-8560-A14789827587}"/>
              </c:ext>
            </c:extLst>
          </c:dPt>
          <c:dPt>
            <c:idx val="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7-6564-4F45-8560-A14789827587}"/>
              </c:ext>
            </c:extLst>
          </c:dPt>
          <c:dPt>
            <c:idx val="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8-6564-4F45-8560-A14789827587}"/>
              </c:ext>
            </c:extLst>
          </c:dPt>
          <c:dPt>
            <c:idx val="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9-6564-4F45-8560-A14789827587}"/>
              </c:ext>
            </c:extLst>
          </c:dPt>
          <c:dPt>
            <c:idx val="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A-6564-4F45-8560-A14789827587}"/>
              </c:ext>
            </c:extLst>
          </c:dPt>
          <c:dPt>
            <c:idx val="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B-6564-4F45-8560-A14789827587}"/>
              </c:ext>
            </c:extLst>
          </c:dPt>
          <c:dPt>
            <c:idx val="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C-6564-4F45-8560-A14789827587}"/>
              </c:ext>
            </c:extLst>
          </c:dPt>
          <c:dPt>
            <c:idx val="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D-6564-4F45-8560-A14789827587}"/>
              </c:ext>
            </c:extLst>
          </c:dPt>
          <c:dPt>
            <c:idx val="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E-6564-4F45-8560-A14789827587}"/>
              </c:ext>
            </c:extLst>
          </c:dPt>
          <c:dPt>
            <c:idx val="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F-6564-4F45-8560-A14789827587}"/>
              </c:ext>
            </c:extLst>
          </c:dPt>
          <c:dPt>
            <c:idx val="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0-6564-4F45-8560-A14789827587}"/>
              </c:ext>
            </c:extLst>
          </c:dPt>
          <c:dPt>
            <c:idx val="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1-6564-4F45-8560-A14789827587}"/>
              </c:ext>
            </c:extLst>
          </c:dPt>
          <c:dPt>
            <c:idx val="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2-6564-4F45-8560-A14789827587}"/>
              </c:ext>
            </c:extLst>
          </c:dPt>
          <c:dPt>
            <c:idx val="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3-6564-4F45-8560-A14789827587}"/>
              </c:ext>
            </c:extLst>
          </c:dPt>
          <c:dPt>
            <c:idx val="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4-6564-4F45-8560-A14789827587}"/>
              </c:ext>
            </c:extLst>
          </c:dPt>
          <c:dPt>
            <c:idx val="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5-6564-4F45-8560-A14789827587}"/>
              </c:ext>
            </c:extLst>
          </c:dPt>
          <c:dPt>
            <c:idx val="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6-6564-4F45-8560-A14789827587}"/>
              </c:ext>
            </c:extLst>
          </c:dPt>
          <c:dPt>
            <c:idx val="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7-6564-4F45-8560-A14789827587}"/>
              </c:ext>
            </c:extLst>
          </c:dPt>
          <c:dPt>
            <c:idx val="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8-6564-4F45-8560-A14789827587}"/>
              </c:ext>
            </c:extLst>
          </c:dPt>
          <c:dPt>
            <c:idx val="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9-6564-4F45-8560-A14789827587}"/>
              </c:ext>
            </c:extLst>
          </c:dPt>
          <c:dPt>
            <c:idx val="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A-6564-4F45-8560-A14789827587}"/>
              </c:ext>
            </c:extLst>
          </c:dPt>
          <c:dPt>
            <c:idx val="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B-6564-4F45-8560-A14789827587}"/>
              </c:ext>
            </c:extLst>
          </c:dPt>
          <c:dPt>
            <c:idx val="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C-6564-4F45-8560-A14789827587}"/>
              </c:ext>
            </c:extLst>
          </c:dPt>
          <c:dPt>
            <c:idx val="1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D-6564-4F45-8560-A14789827587}"/>
              </c:ext>
            </c:extLst>
          </c:dPt>
          <c:dPt>
            <c:idx val="1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E-6564-4F45-8560-A14789827587}"/>
              </c:ext>
            </c:extLst>
          </c:dPt>
          <c:dPt>
            <c:idx val="1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F-6564-4F45-8560-A14789827587}"/>
              </c:ext>
            </c:extLst>
          </c:dPt>
          <c:dPt>
            <c:idx val="1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0-6564-4F45-8560-A14789827587}"/>
              </c:ext>
            </c:extLst>
          </c:dPt>
          <c:dPt>
            <c:idx val="1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1-6564-4F45-8560-A14789827587}"/>
              </c:ext>
            </c:extLst>
          </c:dPt>
          <c:dPt>
            <c:idx val="1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2-6564-4F45-8560-A14789827587}"/>
              </c:ext>
            </c:extLst>
          </c:dPt>
          <c:dPt>
            <c:idx val="1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3-6564-4F45-8560-A14789827587}"/>
              </c:ext>
            </c:extLst>
          </c:dPt>
          <c:dPt>
            <c:idx val="1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4-6564-4F45-8560-A14789827587}"/>
              </c:ext>
            </c:extLst>
          </c:dPt>
          <c:dPt>
            <c:idx val="1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5-6564-4F45-8560-A14789827587}"/>
              </c:ext>
            </c:extLst>
          </c:dPt>
          <c:dPt>
            <c:idx val="1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6-6564-4F45-8560-A14789827587}"/>
              </c:ext>
            </c:extLst>
          </c:dPt>
          <c:dPt>
            <c:idx val="1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7-6564-4F45-8560-A14789827587}"/>
              </c:ext>
            </c:extLst>
          </c:dPt>
          <c:dPt>
            <c:idx val="1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8-6564-4F45-8560-A14789827587}"/>
              </c:ext>
            </c:extLst>
          </c:dPt>
          <c:dPt>
            <c:idx val="1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9-6564-4F45-8560-A14789827587}"/>
              </c:ext>
            </c:extLst>
          </c:dPt>
          <c:dPt>
            <c:idx val="1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A-6564-4F45-8560-A14789827587}"/>
              </c:ext>
            </c:extLst>
          </c:dPt>
          <c:dPt>
            <c:idx val="1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B-6564-4F45-8560-A14789827587}"/>
              </c:ext>
            </c:extLst>
          </c:dPt>
          <c:dPt>
            <c:idx val="1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C-6564-4F45-8560-A14789827587}"/>
              </c:ext>
            </c:extLst>
          </c:dPt>
          <c:dPt>
            <c:idx val="1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D-6564-4F45-8560-A14789827587}"/>
              </c:ext>
            </c:extLst>
          </c:dPt>
          <c:dPt>
            <c:idx val="1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E-6564-4F45-8560-A14789827587}"/>
              </c:ext>
            </c:extLst>
          </c:dPt>
          <c:dPt>
            <c:idx val="1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F-6564-4F45-8560-A14789827587}"/>
              </c:ext>
            </c:extLst>
          </c:dPt>
          <c:dPt>
            <c:idx val="1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0-6564-4F45-8560-A14789827587}"/>
              </c:ext>
            </c:extLst>
          </c:dPt>
          <c:dPt>
            <c:idx val="1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1-6564-4F45-8560-A14789827587}"/>
              </c:ext>
            </c:extLst>
          </c:dPt>
          <c:dPt>
            <c:idx val="1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2-6564-4F45-8560-A14789827587}"/>
              </c:ext>
            </c:extLst>
          </c:dPt>
          <c:dPt>
            <c:idx val="1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3-6564-4F45-8560-A14789827587}"/>
              </c:ext>
            </c:extLst>
          </c:dPt>
          <c:dPt>
            <c:idx val="1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4-6564-4F45-8560-A14789827587}"/>
              </c:ext>
            </c:extLst>
          </c:dPt>
          <c:dPt>
            <c:idx val="1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5-6564-4F45-8560-A14789827587}"/>
              </c:ext>
            </c:extLst>
          </c:dPt>
          <c:dPt>
            <c:idx val="1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6-6564-4F45-8560-A14789827587}"/>
              </c:ext>
            </c:extLst>
          </c:dPt>
          <c:dPt>
            <c:idx val="1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7-6564-4F45-8560-A14789827587}"/>
              </c:ext>
            </c:extLst>
          </c:dPt>
          <c:dPt>
            <c:idx val="1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8-6564-4F45-8560-A14789827587}"/>
              </c:ext>
            </c:extLst>
          </c:dPt>
          <c:dPt>
            <c:idx val="1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9-6564-4F45-8560-A14789827587}"/>
              </c:ext>
            </c:extLst>
          </c:dPt>
          <c:dPt>
            <c:idx val="1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A-6564-4F45-8560-A14789827587}"/>
              </c:ext>
            </c:extLst>
          </c:dPt>
          <c:dPt>
            <c:idx val="1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B-6564-4F45-8560-A14789827587}"/>
              </c:ext>
            </c:extLst>
          </c:dPt>
          <c:dPt>
            <c:idx val="1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C-6564-4F45-8560-A14789827587}"/>
              </c:ext>
            </c:extLst>
          </c:dPt>
          <c:dPt>
            <c:idx val="1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D-6564-4F45-8560-A14789827587}"/>
              </c:ext>
            </c:extLst>
          </c:dPt>
          <c:dPt>
            <c:idx val="1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E-6564-4F45-8560-A14789827587}"/>
              </c:ext>
            </c:extLst>
          </c:dPt>
          <c:dPt>
            <c:idx val="1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F-6564-4F45-8560-A14789827587}"/>
              </c:ext>
            </c:extLst>
          </c:dPt>
          <c:dPt>
            <c:idx val="1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0-6564-4F45-8560-A14789827587}"/>
              </c:ext>
            </c:extLst>
          </c:dPt>
          <c:dPt>
            <c:idx val="1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1-6564-4F45-8560-A14789827587}"/>
              </c:ext>
            </c:extLst>
          </c:dPt>
          <c:dPt>
            <c:idx val="1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2-6564-4F45-8560-A14789827587}"/>
              </c:ext>
            </c:extLst>
          </c:dPt>
          <c:dPt>
            <c:idx val="1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3-6564-4F45-8560-A14789827587}"/>
              </c:ext>
            </c:extLst>
          </c:dPt>
          <c:dPt>
            <c:idx val="1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4-6564-4F45-8560-A14789827587}"/>
              </c:ext>
            </c:extLst>
          </c:dPt>
          <c:dPt>
            <c:idx val="1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5-6564-4F45-8560-A14789827587}"/>
              </c:ext>
            </c:extLst>
          </c:dPt>
          <c:dPt>
            <c:idx val="1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6-6564-4F45-8560-A14789827587}"/>
              </c:ext>
            </c:extLst>
          </c:dPt>
          <c:dPt>
            <c:idx val="1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7-6564-4F45-8560-A14789827587}"/>
              </c:ext>
            </c:extLst>
          </c:dPt>
          <c:dPt>
            <c:idx val="1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8-6564-4F45-8560-A14789827587}"/>
              </c:ext>
            </c:extLst>
          </c:dPt>
          <c:dPt>
            <c:idx val="1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9-6564-4F45-8560-A14789827587}"/>
              </c:ext>
            </c:extLst>
          </c:dPt>
          <c:dPt>
            <c:idx val="1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A-6564-4F45-8560-A14789827587}"/>
              </c:ext>
            </c:extLst>
          </c:dPt>
          <c:dPt>
            <c:idx val="1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B-6564-4F45-8560-A14789827587}"/>
              </c:ext>
            </c:extLst>
          </c:dPt>
          <c:dPt>
            <c:idx val="1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C-6564-4F45-8560-A14789827587}"/>
              </c:ext>
            </c:extLst>
          </c:dPt>
          <c:dPt>
            <c:idx val="1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D-6564-4F45-8560-A14789827587}"/>
              </c:ext>
            </c:extLst>
          </c:dPt>
          <c:dPt>
            <c:idx val="1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E-6564-4F45-8560-A14789827587}"/>
              </c:ext>
            </c:extLst>
          </c:dPt>
          <c:dPt>
            <c:idx val="1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F-6564-4F45-8560-A14789827587}"/>
              </c:ext>
            </c:extLst>
          </c:dPt>
          <c:dPt>
            <c:idx val="1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0-6564-4F45-8560-A14789827587}"/>
              </c:ext>
            </c:extLst>
          </c:dPt>
          <c:dPt>
            <c:idx val="1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1-6564-4F45-8560-A14789827587}"/>
              </c:ext>
            </c:extLst>
          </c:dPt>
          <c:dPt>
            <c:idx val="1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2-6564-4F45-8560-A14789827587}"/>
              </c:ext>
            </c:extLst>
          </c:dPt>
          <c:dPt>
            <c:idx val="1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3-6564-4F45-8560-A14789827587}"/>
              </c:ext>
            </c:extLst>
          </c:dPt>
          <c:dPt>
            <c:idx val="1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4-6564-4F45-8560-A14789827587}"/>
              </c:ext>
            </c:extLst>
          </c:dPt>
          <c:dPt>
            <c:idx val="1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5-6564-4F45-8560-A14789827587}"/>
              </c:ext>
            </c:extLst>
          </c:dPt>
          <c:dPt>
            <c:idx val="1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6-6564-4F45-8560-A14789827587}"/>
              </c:ext>
            </c:extLst>
          </c:dPt>
          <c:dPt>
            <c:idx val="1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7-6564-4F45-8560-A14789827587}"/>
              </c:ext>
            </c:extLst>
          </c:dPt>
          <c:dPt>
            <c:idx val="1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8-6564-4F45-8560-A14789827587}"/>
              </c:ext>
            </c:extLst>
          </c:dPt>
          <c:dPt>
            <c:idx val="1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9-6564-4F45-8560-A14789827587}"/>
              </c:ext>
            </c:extLst>
          </c:dPt>
          <c:dPt>
            <c:idx val="1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A-6564-4F45-8560-A14789827587}"/>
              </c:ext>
            </c:extLst>
          </c:dPt>
          <c:dPt>
            <c:idx val="1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B-6564-4F45-8560-A14789827587}"/>
              </c:ext>
            </c:extLst>
          </c:dPt>
          <c:dPt>
            <c:idx val="1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C-6564-4F45-8560-A14789827587}"/>
              </c:ext>
            </c:extLst>
          </c:dPt>
          <c:dPt>
            <c:idx val="1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D-6564-4F45-8560-A14789827587}"/>
              </c:ext>
            </c:extLst>
          </c:dPt>
          <c:dPt>
            <c:idx val="1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E-6564-4F45-8560-A14789827587}"/>
              </c:ext>
            </c:extLst>
          </c:dPt>
          <c:dPt>
            <c:idx val="1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F-6564-4F45-8560-A14789827587}"/>
              </c:ext>
            </c:extLst>
          </c:dPt>
          <c:dPt>
            <c:idx val="1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0-6564-4F45-8560-A14789827587}"/>
              </c:ext>
            </c:extLst>
          </c:dPt>
          <c:dPt>
            <c:idx val="1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1-6564-4F45-8560-A14789827587}"/>
              </c:ext>
            </c:extLst>
          </c:dPt>
          <c:dPt>
            <c:idx val="1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2-6564-4F45-8560-A14789827587}"/>
              </c:ext>
            </c:extLst>
          </c:dPt>
          <c:dPt>
            <c:idx val="1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3-6564-4F45-8560-A14789827587}"/>
              </c:ext>
            </c:extLst>
          </c:dPt>
          <c:dPt>
            <c:idx val="1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4-6564-4F45-8560-A14789827587}"/>
              </c:ext>
            </c:extLst>
          </c:dPt>
          <c:dPt>
            <c:idx val="1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5-6564-4F45-8560-A14789827587}"/>
              </c:ext>
            </c:extLst>
          </c:dPt>
          <c:dPt>
            <c:idx val="1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6-6564-4F45-8560-A14789827587}"/>
              </c:ext>
            </c:extLst>
          </c:dPt>
          <c:dPt>
            <c:idx val="1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7-6564-4F45-8560-A14789827587}"/>
              </c:ext>
            </c:extLst>
          </c:dPt>
          <c:dPt>
            <c:idx val="1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8-6564-4F45-8560-A14789827587}"/>
              </c:ext>
            </c:extLst>
          </c:dPt>
          <c:dPt>
            <c:idx val="1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9-6564-4F45-8560-A14789827587}"/>
              </c:ext>
            </c:extLst>
          </c:dPt>
          <c:dPt>
            <c:idx val="1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A-6564-4F45-8560-A14789827587}"/>
              </c:ext>
            </c:extLst>
          </c:dPt>
          <c:dPt>
            <c:idx val="1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B-6564-4F45-8560-A14789827587}"/>
              </c:ext>
            </c:extLst>
          </c:dPt>
          <c:dPt>
            <c:idx val="1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C-6564-4F45-8560-A14789827587}"/>
              </c:ext>
            </c:extLst>
          </c:dPt>
          <c:dPt>
            <c:idx val="1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D-6564-4F45-8560-A14789827587}"/>
              </c:ext>
            </c:extLst>
          </c:dPt>
          <c:dPt>
            <c:idx val="1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E-6564-4F45-8560-A14789827587}"/>
              </c:ext>
            </c:extLst>
          </c:dPt>
          <c:dPt>
            <c:idx val="1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F-6564-4F45-8560-A14789827587}"/>
              </c:ext>
            </c:extLst>
          </c:dPt>
          <c:dPt>
            <c:idx val="1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0-6564-4F45-8560-A14789827587}"/>
              </c:ext>
            </c:extLst>
          </c:dPt>
          <c:dPt>
            <c:idx val="1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1-6564-4F45-8560-A14789827587}"/>
              </c:ext>
            </c:extLst>
          </c:dPt>
          <c:dPt>
            <c:idx val="1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2-6564-4F45-8560-A14789827587}"/>
              </c:ext>
            </c:extLst>
          </c:dPt>
          <c:dPt>
            <c:idx val="1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3-6564-4F45-8560-A14789827587}"/>
              </c:ext>
            </c:extLst>
          </c:dPt>
          <c:dPt>
            <c:idx val="1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4-6564-4F45-8560-A14789827587}"/>
              </c:ext>
            </c:extLst>
          </c:dPt>
          <c:dPt>
            <c:idx val="1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5-6564-4F45-8560-A14789827587}"/>
              </c:ext>
            </c:extLst>
          </c:dPt>
          <c:dPt>
            <c:idx val="1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6-6564-4F45-8560-A14789827587}"/>
              </c:ext>
            </c:extLst>
          </c:dPt>
          <c:dPt>
            <c:idx val="1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7-6564-4F45-8560-A14789827587}"/>
              </c:ext>
            </c:extLst>
          </c:dPt>
          <c:dPt>
            <c:idx val="1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8-6564-4F45-8560-A14789827587}"/>
              </c:ext>
            </c:extLst>
          </c:dPt>
          <c:dPt>
            <c:idx val="1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9-6564-4F45-8560-A14789827587}"/>
              </c:ext>
            </c:extLst>
          </c:dPt>
          <c:dPt>
            <c:idx val="1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A-6564-4F45-8560-A14789827587}"/>
              </c:ext>
            </c:extLst>
          </c:dPt>
          <c:dPt>
            <c:idx val="1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B-6564-4F45-8560-A14789827587}"/>
              </c:ext>
            </c:extLst>
          </c:dPt>
          <c:dPt>
            <c:idx val="1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C-6564-4F45-8560-A14789827587}"/>
              </c:ext>
            </c:extLst>
          </c:dPt>
          <c:dPt>
            <c:idx val="1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D-6564-4F45-8560-A14789827587}"/>
              </c:ext>
            </c:extLst>
          </c:dPt>
          <c:dPt>
            <c:idx val="1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E-6564-4F45-8560-A14789827587}"/>
              </c:ext>
            </c:extLst>
          </c:dPt>
          <c:dPt>
            <c:idx val="1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F-6564-4F45-8560-A14789827587}"/>
              </c:ext>
            </c:extLst>
          </c:dPt>
          <c:dPt>
            <c:idx val="1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0-6564-4F45-8560-A14789827587}"/>
              </c:ext>
            </c:extLst>
          </c:dPt>
          <c:dPt>
            <c:idx val="2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1-6564-4F45-8560-A14789827587}"/>
              </c:ext>
            </c:extLst>
          </c:dPt>
          <c:dPt>
            <c:idx val="2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2-6564-4F45-8560-A14789827587}"/>
              </c:ext>
            </c:extLst>
          </c:dPt>
          <c:dPt>
            <c:idx val="2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3-6564-4F45-8560-A14789827587}"/>
              </c:ext>
            </c:extLst>
          </c:dPt>
          <c:dPt>
            <c:idx val="2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4-6564-4F45-8560-A14789827587}"/>
              </c:ext>
            </c:extLst>
          </c:dPt>
          <c:dPt>
            <c:idx val="2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5-6564-4F45-8560-A14789827587}"/>
              </c:ext>
            </c:extLst>
          </c:dPt>
          <c:dPt>
            <c:idx val="2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6-6564-4F45-8560-A14789827587}"/>
              </c:ext>
            </c:extLst>
          </c:dPt>
          <c:dPt>
            <c:idx val="2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7-6564-4F45-8560-A14789827587}"/>
              </c:ext>
            </c:extLst>
          </c:dPt>
          <c:dPt>
            <c:idx val="2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8-6564-4F45-8560-A14789827587}"/>
              </c:ext>
            </c:extLst>
          </c:dPt>
          <c:dPt>
            <c:idx val="2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9-6564-4F45-8560-A14789827587}"/>
              </c:ext>
            </c:extLst>
          </c:dPt>
          <c:dPt>
            <c:idx val="2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A-6564-4F45-8560-A14789827587}"/>
              </c:ext>
            </c:extLst>
          </c:dPt>
          <c:dPt>
            <c:idx val="2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B-6564-4F45-8560-A14789827587}"/>
              </c:ext>
            </c:extLst>
          </c:dPt>
          <c:dPt>
            <c:idx val="2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C-6564-4F45-8560-A14789827587}"/>
              </c:ext>
            </c:extLst>
          </c:dPt>
          <c:dPt>
            <c:idx val="2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D-6564-4F45-8560-A14789827587}"/>
              </c:ext>
            </c:extLst>
          </c:dPt>
          <c:dPt>
            <c:idx val="2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E-6564-4F45-8560-A14789827587}"/>
              </c:ext>
            </c:extLst>
          </c:dPt>
          <c:dPt>
            <c:idx val="2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F-6564-4F45-8560-A14789827587}"/>
              </c:ext>
            </c:extLst>
          </c:dPt>
          <c:dPt>
            <c:idx val="2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0-6564-4F45-8560-A14789827587}"/>
              </c:ext>
            </c:extLst>
          </c:dPt>
          <c:dPt>
            <c:idx val="2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1-6564-4F45-8560-A14789827587}"/>
              </c:ext>
            </c:extLst>
          </c:dPt>
          <c:dPt>
            <c:idx val="2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2-6564-4F45-8560-A14789827587}"/>
              </c:ext>
            </c:extLst>
          </c:dPt>
          <c:dPt>
            <c:idx val="2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3-6564-4F45-8560-A14789827587}"/>
              </c:ext>
            </c:extLst>
          </c:dPt>
          <c:dPt>
            <c:idx val="2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4-6564-4F45-8560-A14789827587}"/>
              </c:ext>
            </c:extLst>
          </c:dPt>
          <c:dPt>
            <c:idx val="2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5-6564-4F45-8560-A14789827587}"/>
              </c:ext>
            </c:extLst>
          </c:dPt>
          <c:dPt>
            <c:idx val="2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6-6564-4F45-8560-A14789827587}"/>
              </c:ext>
            </c:extLst>
          </c:dPt>
          <c:dPt>
            <c:idx val="2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7-6564-4F45-8560-A14789827587}"/>
              </c:ext>
            </c:extLst>
          </c:dPt>
          <c:dPt>
            <c:idx val="2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8-6564-4F45-8560-A14789827587}"/>
              </c:ext>
            </c:extLst>
          </c:dPt>
          <c:dPt>
            <c:idx val="2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9-6564-4F45-8560-A14789827587}"/>
              </c:ext>
            </c:extLst>
          </c:dPt>
          <c:dPt>
            <c:idx val="2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A-6564-4F45-8560-A14789827587}"/>
              </c:ext>
            </c:extLst>
          </c:dPt>
          <c:dPt>
            <c:idx val="2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B-6564-4F45-8560-A14789827587}"/>
              </c:ext>
            </c:extLst>
          </c:dPt>
          <c:dPt>
            <c:idx val="2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C-6564-4F45-8560-A14789827587}"/>
              </c:ext>
            </c:extLst>
          </c:dPt>
          <c:dPt>
            <c:idx val="2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D-6564-4F45-8560-A14789827587}"/>
              </c:ext>
            </c:extLst>
          </c:dPt>
          <c:dPt>
            <c:idx val="2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E-6564-4F45-8560-A14789827587}"/>
              </c:ext>
            </c:extLst>
          </c:dPt>
          <c:dPt>
            <c:idx val="2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F-6564-4F45-8560-A14789827587}"/>
              </c:ext>
            </c:extLst>
          </c:dPt>
          <c:dPt>
            <c:idx val="2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0-6564-4F45-8560-A14789827587}"/>
              </c:ext>
            </c:extLst>
          </c:dPt>
          <c:dPt>
            <c:idx val="2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1-6564-4F45-8560-A14789827587}"/>
              </c:ext>
            </c:extLst>
          </c:dPt>
          <c:dPt>
            <c:idx val="2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2-6564-4F45-8560-A14789827587}"/>
              </c:ext>
            </c:extLst>
          </c:dPt>
          <c:dPt>
            <c:idx val="2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3-6564-4F45-8560-A14789827587}"/>
              </c:ext>
            </c:extLst>
          </c:dPt>
          <c:dPt>
            <c:idx val="2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4-6564-4F45-8560-A14789827587}"/>
              </c:ext>
            </c:extLst>
          </c:dPt>
          <c:dPt>
            <c:idx val="2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5-6564-4F45-8560-A14789827587}"/>
              </c:ext>
            </c:extLst>
          </c:dPt>
          <c:dPt>
            <c:idx val="2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6-6564-4F45-8560-A14789827587}"/>
              </c:ext>
            </c:extLst>
          </c:dPt>
          <c:dPt>
            <c:idx val="2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7-6564-4F45-8560-A14789827587}"/>
              </c:ext>
            </c:extLst>
          </c:dPt>
          <c:dPt>
            <c:idx val="2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8-6564-4F45-8560-A14789827587}"/>
              </c:ext>
            </c:extLst>
          </c:dPt>
          <c:dPt>
            <c:idx val="2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9-6564-4F45-8560-A14789827587}"/>
              </c:ext>
            </c:extLst>
          </c:dPt>
          <c:dPt>
            <c:idx val="2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A-6564-4F45-8560-A14789827587}"/>
              </c:ext>
            </c:extLst>
          </c:dPt>
          <c:dPt>
            <c:idx val="2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B-6564-4F45-8560-A14789827587}"/>
              </c:ext>
            </c:extLst>
          </c:dPt>
          <c:dPt>
            <c:idx val="2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C-6564-4F45-8560-A14789827587}"/>
              </c:ext>
            </c:extLst>
          </c:dPt>
          <c:dPt>
            <c:idx val="2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D-6564-4F45-8560-A14789827587}"/>
              </c:ext>
            </c:extLst>
          </c:dPt>
          <c:dPt>
            <c:idx val="2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E-6564-4F45-8560-A14789827587}"/>
              </c:ext>
            </c:extLst>
          </c:dPt>
          <c:dPt>
            <c:idx val="2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F-6564-4F45-8560-A14789827587}"/>
              </c:ext>
            </c:extLst>
          </c:dPt>
          <c:dPt>
            <c:idx val="2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0-6564-4F45-8560-A14789827587}"/>
              </c:ext>
            </c:extLst>
          </c:dPt>
          <c:dPt>
            <c:idx val="2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1-6564-4F45-8560-A14789827587}"/>
              </c:ext>
            </c:extLst>
          </c:dPt>
          <c:dPt>
            <c:idx val="2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2-6564-4F45-8560-A14789827587}"/>
              </c:ext>
            </c:extLst>
          </c:dPt>
          <c:dPt>
            <c:idx val="2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3-6564-4F45-8560-A14789827587}"/>
              </c:ext>
            </c:extLst>
          </c:dPt>
          <c:dPt>
            <c:idx val="2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4-6564-4F45-8560-A14789827587}"/>
              </c:ext>
            </c:extLst>
          </c:dPt>
          <c:dPt>
            <c:idx val="2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5-6564-4F45-8560-A14789827587}"/>
              </c:ext>
            </c:extLst>
          </c:dPt>
          <c:dPt>
            <c:idx val="2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6-6564-4F45-8560-A14789827587}"/>
              </c:ext>
            </c:extLst>
          </c:dPt>
          <c:dPt>
            <c:idx val="2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7-6564-4F45-8560-A14789827587}"/>
              </c:ext>
            </c:extLst>
          </c:dPt>
          <c:dPt>
            <c:idx val="2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8-6564-4F45-8560-A14789827587}"/>
              </c:ext>
            </c:extLst>
          </c:dPt>
          <c:dPt>
            <c:idx val="2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9-6564-4F45-8560-A14789827587}"/>
              </c:ext>
            </c:extLst>
          </c:dPt>
          <c:dPt>
            <c:idx val="2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A-6564-4F45-8560-A14789827587}"/>
              </c:ext>
            </c:extLst>
          </c:dPt>
          <c:dPt>
            <c:idx val="2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B-6564-4F45-8560-A14789827587}"/>
              </c:ext>
            </c:extLst>
          </c:dPt>
          <c:dPt>
            <c:idx val="2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C-6564-4F45-8560-A14789827587}"/>
              </c:ext>
            </c:extLst>
          </c:dPt>
          <c:dPt>
            <c:idx val="2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D-6564-4F45-8560-A14789827587}"/>
              </c:ext>
            </c:extLst>
          </c:dPt>
          <c:dPt>
            <c:idx val="2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E-6564-4F45-8560-A14789827587}"/>
              </c:ext>
            </c:extLst>
          </c:dPt>
          <c:dPt>
            <c:idx val="2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F-6564-4F45-8560-A14789827587}"/>
              </c:ext>
            </c:extLst>
          </c:dPt>
          <c:dPt>
            <c:idx val="2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0-6564-4F45-8560-A14789827587}"/>
              </c:ext>
            </c:extLst>
          </c:dPt>
          <c:dPt>
            <c:idx val="2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1-6564-4F45-8560-A14789827587}"/>
              </c:ext>
            </c:extLst>
          </c:dPt>
          <c:dPt>
            <c:idx val="2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2-6564-4F45-8560-A14789827587}"/>
              </c:ext>
            </c:extLst>
          </c:dPt>
          <c:dPt>
            <c:idx val="2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3-6564-4F45-8560-A14789827587}"/>
              </c:ext>
            </c:extLst>
          </c:dPt>
          <c:dPt>
            <c:idx val="2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4-6564-4F45-8560-A14789827587}"/>
              </c:ext>
            </c:extLst>
          </c:dPt>
          <c:dPt>
            <c:idx val="2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5-6564-4F45-8560-A14789827587}"/>
              </c:ext>
            </c:extLst>
          </c:dPt>
          <c:dPt>
            <c:idx val="2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6-6564-4F45-8560-A14789827587}"/>
              </c:ext>
            </c:extLst>
          </c:dPt>
          <c:dPt>
            <c:idx val="2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7-6564-4F45-8560-A14789827587}"/>
              </c:ext>
            </c:extLst>
          </c:dPt>
          <c:dPt>
            <c:idx val="2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8-6564-4F45-8560-A14789827587}"/>
              </c:ext>
            </c:extLst>
          </c:dPt>
          <c:dPt>
            <c:idx val="2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9-6564-4F45-8560-A14789827587}"/>
              </c:ext>
            </c:extLst>
          </c:dPt>
          <c:dPt>
            <c:idx val="2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A-6564-4F45-8560-A14789827587}"/>
              </c:ext>
            </c:extLst>
          </c:dPt>
          <c:dPt>
            <c:idx val="2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B-6564-4F45-8560-A14789827587}"/>
              </c:ext>
            </c:extLst>
          </c:dPt>
          <c:dPt>
            <c:idx val="2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C-6564-4F45-8560-A14789827587}"/>
              </c:ext>
            </c:extLst>
          </c:dPt>
          <c:dPt>
            <c:idx val="2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D-6564-4F45-8560-A14789827587}"/>
              </c:ext>
            </c:extLst>
          </c:dPt>
          <c:dPt>
            <c:idx val="2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E-6564-4F45-8560-A14789827587}"/>
              </c:ext>
            </c:extLst>
          </c:dPt>
          <c:dPt>
            <c:idx val="2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F-6564-4F45-8560-A14789827587}"/>
              </c:ext>
            </c:extLst>
          </c:dPt>
          <c:dPt>
            <c:idx val="2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0-6564-4F45-8560-A14789827587}"/>
              </c:ext>
            </c:extLst>
          </c:dPt>
          <c:dPt>
            <c:idx val="2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1-6564-4F45-8560-A14789827587}"/>
              </c:ext>
            </c:extLst>
          </c:dPt>
          <c:dPt>
            <c:idx val="2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2-6564-4F45-8560-A14789827587}"/>
              </c:ext>
            </c:extLst>
          </c:dPt>
          <c:dPt>
            <c:idx val="2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3-6564-4F45-8560-A14789827587}"/>
              </c:ext>
            </c:extLst>
          </c:dPt>
          <c:dPt>
            <c:idx val="2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4-6564-4F45-8560-A14789827587}"/>
              </c:ext>
            </c:extLst>
          </c:dPt>
          <c:dPt>
            <c:idx val="2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5-6564-4F45-8560-A14789827587}"/>
              </c:ext>
            </c:extLst>
          </c:dPt>
          <c:dPt>
            <c:idx val="2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6-6564-4F45-8560-A14789827587}"/>
              </c:ext>
            </c:extLst>
          </c:dPt>
          <c:dPt>
            <c:idx val="2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7-6564-4F45-8560-A14789827587}"/>
              </c:ext>
            </c:extLst>
          </c:dPt>
          <c:dPt>
            <c:idx val="2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8-6564-4F45-8560-A14789827587}"/>
              </c:ext>
            </c:extLst>
          </c:dPt>
          <c:dPt>
            <c:idx val="2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9-6564-4F45-8560-A14789827587}"/>
              </c:ext>
            </c:extLst>
          </c:dPt>
          <c:dPt>
            <c:idx val="2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A-6564-4F45-8560-A14789827587}"/>
              </c:ext>
            </c:extLst>
          </c:dPt>
          <c:dPt>
            <c:idx val="2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B-6564-4F45-8560-A14789827587}"/>
              </c:ext>
            </c:extLst>
          </c:dPt>
          <c:dPt>
            <c:idx val="2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C-6564-4F45-8560-A14789827587}"/>
              </c:ext>
            </c:extLst>
          </c:dPt>
          <c:dPt>
            <c:idx val="2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D-6564-4F45-8560-A14789827587}"/>
              </c:ext>
            </c:extLst>
          </c:dPt>
          <c:dPt>
            <c:idx val="2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E-6564-4F45-8560-A14789827587}"/>
              </c:ext>
            </c:extLst>
          </c:dPt>
          <c:dPt>
            <c:idx val="2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F-6564-4F45-8560-A14789827587}"/>
              </c:ext>
            </c:extLst>
          </c:dPt>
          <c:dPt>
            <c:idx val="2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0-6564-4F45-8560-A14789827587}"/>
              </c:ext>
            </c:extLst>
          </c:dPt>
          <c:dPt>
            <c:idx val="2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1-6564-4F45-8560-A14789827587}"/>
              </c:ext>
            </c:extLst>
          </c:dPt>
          <c:dPt>
            <c:idx val="2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2-6564-4F45-8560-A14789827587}"/>
              </c:ext>
            </c:extLst>
          </c:dPt>
          <c:dPt>
            <c:idx val="2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3-6564-4F45-8560-A14789827587}"/>
              </c:ext>
            </c:extLst>
          </c:dPt>
          <c:dPt>
            <c:idx val="2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4-6564-4F45-8560-A14789827587}"/>
              </c:ext>
            </c:extLst>
          </c:dPt>
          <c:dPt>
            <c:idx val="3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5-6564-4F45-8560-A14789827587}"/>
              </c:ext>
            </c:extLst>
          </c:dPt>
          <c:dPt>
            <c:idx val="3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6-6564-4F45-8560-A14789827587}"/>
              </c:ext>
            </c:extLst>
          </c:dPt>
          <c:dPt>
            <c:idx val="3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7-6564-4F45-8560-A14789827587}"/>
              </c:ext>
            </c:extLst>
          </c:dPt>
          <c:dPt>
            <c:idx val="3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8-6564-4F45-8560-A14789827587}"/>
              </c:ext>
            </c:extLst>
          </c:dPt>
          <c:dPt>
            <c:idx val="3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9-6564-4F45-8560-A14789827587}"/>
              </c:ext>
            </c:extLst>
          </c:dPt>
          <c:dPt>
            <c:idx val="3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A-6564-4F45-8560-A14789827587}"/>
              </c:ext>
            </c:extLst>
          </c:dPt>
          <c:dPt>
            <c:idx val="3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B-6564-4F45-8560-A14789827587}"/>
              </c:ext>
            </c:extLst>
          </c:dPt>
          <c:dPt>
            <c:idx val="3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C-6564-4F45-8560-A14789827587}"/>
              </c:ext>
            </c:extLst>
          </c:dPt>
          <c:dPt>
            <c:idx val="3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D-6564-4F45-8560-A14789827587}"/>
              </c:ext>
            </c:extLst>
          </c:dPt>
          <c:dPt>
            <c:idx val="3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E-6564-4F45-8560-A14789827587}"/>
              </c:ext>
            </c:extLst>
          </c:dPt>
          <c:dPt>
            <c:idx val="3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F-6564-4F45-8560-A14789827587}"/>
              </c:ext>
            </c:extLst>
          </c:dPt>
          <c:dPt>
            <c:idx val="3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0-6564-4F45-8560-A14789827587}"/>
              </c:ext>
            </c:extLst>
          </c:dPt>
          <c:dPt>
            <c:idx val="3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1-6564-4F45-8560-A14789827587}"/>
              </c:ext>
            </c:extLst>
          </c:dPt>
          <c:dPt>
            <c:idx val="3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2-6564-4F45-8560-A14789827587}"/>
              </c:ext>
            </c:extLst>
          </c:dPt>
          <c:dPt>
            <c:idx val="3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3-6564-4F45-8560-A14789827587}"/>
              </c:ext>
            </c:extLst>
          </c:dPt>
          <c:dPt>
            <c:idx val="3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4-6564-4F45-8560-A14789827587}"/>
              </c:ext>
            </c:extLst>
          </c:dPt>
          <c:dPt>
            <c:idx val="3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5-6564-4F45-8560-A14789827587}"/>
              </c:ext>
            </c:extLst>
          </c:dPt>
          <c:dPt>
            <c:idx val="3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6-6564-4F45-8560-A14789827587}"/>
              </c:ext>
            </c:extLst>
          </c:dPt>
          <c:dPt>
            <c:idx val="3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7-6564-4F45-8560-A14789827587}"/>
              </c:ext>
            </c:extLst>
          </c:dPt>
          <c:dPt>
            <c:idx val="3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8-6564-4F45-8560-A14789827587}"/>
              </c:ext>
            </c:extLst>
          </c:dPt>
          <c:dPt>
            <c:idx val="3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9-6564-4F45-8560-A14789827587}"/>
              </c:ext>
            </c:extLst>
          </c:dPt>
          <c:dPt>
            <c:idx val="3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A-6564-4F45-8560-A14789827587}"/>
              </c:ext>
            </c:extLst>
          </c:dPt>
          <c:dPt>
            <c:idx val="3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B-6564-4F45-8560-A14789827587}"/>
              </c:ext>
            </c:extLst>
          </c:dPt>
          <c:dPt>
            <c:idx val="3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C-6564-4F45-8560-A14789827587}"/>
              </c:ext>
            </c:extLst>
          </c:dPt>
          <c:dPt>
            <c:idx val="3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D-6564-4F45-8560-A14789827587}"/>
              </c:ext>
            </c:extLst>
          </c:dPt>
          <c:dPt>
            <c:idx val="3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E-6564-4F45-8560-A14789827587}"/>
              </c:ext>
            </c:extLst>
          </c:dPt>
          <c:dPt>
            <c:idx val="3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F-6564-4F45-8560-A14789827587}"/>
              </c:ext>
            </c:extLst>
          </c:dPt>
          <c:dPt>
            <c:idx val="3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0-6564-4F45-8560-A14789827587}"/>
              </c:ext>
            </c:extLst>
          </c:dPt>
          <c:dPt>
            <c:idx val="3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1-6564-4F45-8560-A14789827587}"/>
              </c:ext>
            </c:extLst>
          </c:dPt>
          <c:dPt>
            <c:idx val="3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2-6564-4F45-8560-A14789827587}"/>
              </c:ext>
            </c:extLst>
          </c:dPt>
          <c:dPt>
            <c:idx val="3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3-6564-4F45-8560-A14789827587}"/>
              </c:ext>
            </c:extLst>
          </c:dPt>
          <c:dPt>
            <c:idx val="3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4-6564-4F45-8560-A14789827587}"/>
              </c:ext>
            </c:extLst>
          </c:dPt>
          <c:dPt>
            <c:idx val="3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5-6564-4F45-8560-A14789827587}"/>
              </c:ext>
            </c:extLst>
          </c:dPt>
          <c:dPt>
            <c:idx val="3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6-6564-4F45-8560-A14789827587}"/>
              </c:ext>
            </c:extLst>
          </c:dPt>
          <c:dPt>
            <c:idx val="3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7-6564-4F45-8560-A14789827587}"/>
              </c:ext>
            </c:extLst>
          </c:dPt>
          <c:dPt>
            <c:idx val="3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8-6564-4F45-8560-A14789827587}"/>
              </c:ext>
            </c:extLst>
          </c:dPt>
          <c:dPt>
            <c:idx val="3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9-6564-4F45-8560-A14789827587}"/>
              </c:ext>
            </c:extLst>
          </c:dPt>
          <c:dPt>
            <c:idx val="3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A-6564-4F45-8560-A14789827587}"/>
              </c:ext>
            </c:extLst>
          </c:dPt>
          <c:dPt>
            <c:idx val="3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B-6564-4F45-8560-A14789827587}"/>
              </c:ext>
            </c:extLst>
          </c:dPt>
          <c:dPt>
            <c:idx val="3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C-6564-4F45-8560-A14789827587}"/>
              </c:ext>
            </c:extLst>
          </c:dPt>
          <c:dPt>
            <c:idx val="3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D-6564-4F45-8560-A14789827587}"/>
              </c:ext>
            </c:extLst>
          </c:dPt>
          <c:dPt>
            <c:idx val="3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E-6564-4F45-8560-A14789827587}"/>
              </c:ext>
            </c:extLst>
          </c:dPt>
          <c:dPt>
            <c:idx val="3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F-6564-4F45-8560-A14789827587}"/>
              </c:ext>
            </c:extLst>
          </c:dPt>
          <c:dPt>
            <c:idx val="3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0-6564-4F45-8560-A14789827587}"/>
              </c:ext>
            </c:extLst>
          </c:dPt>
          <c:dPt>
            <c:idx val="3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1-6564-4F45-8560-A14789827587}"/>
              </c:ext>
            </c:extLst>
          </c:dPt>
          <c:dPt>
            <c:idx val="3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2-6564-4F45-8560-A14789827587}"/>
              </c:ext>
            </c:extLst>
          </c:dPt>
          <c:dPt>
            <c:idx val="3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3-6564-4F45-8560-A14789827587}"/>
              </c:ext>
            </c:extLst>
          </c:dPt>
          <c:dPt>
            <c:idx val="3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4-6564-4F45-8560-A14789827587}"/>
              </c:ext>
            </c:extLst>
          </c:dPt>
          <c:dPt>
            <c:idx val="3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5-6564-4F45-8560-A14789827587}"/>
              </c:ext>
            </c:extLst>
          </c:dPt>
          <c:dPt>
            <c:idx val="3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6-6564-4F45-8560-A14789827587}"/>
              </c:ext>
            </c:extLst>
          </c:dPt>
          <c:dPt>
            <c:idx val="3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7-6564-4F45-8560-A14789827587}"/>
              </c:ext>
            </c:extLst>
          </c:dPt>
          <c:dPt>
            <c:idx val="3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8-6564-4F45-8560-A14789827587}"/>
              </c:ext>
            </c:extLst>
          </c:dPt>
          <c:dPt>
            <c:idx val="3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9-6564-4F45-8560-A14789827587}"/>
              </c:ext>
            </c:extLst>
          </c:dPt>
          <c:dPt>
            <c:idx val="3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A-6564-4F45-8560-A14789827587}"/>
              </c:ext>
            </c:extLst>
          </c:dPt>
          <c:dPt>
            <c:idx val="3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B-6564-4F45-8560-A14789827587}"/>
              </c:ext>
            </c:extLst>
          </c:dPt>
          <c:dPt>
            <c:idx val="3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C-6564-4F45-8560-A14789827587}"/>
              </c:ext>
            </c:extLst>
          </c:dPt>
          <c:dPt>
            <c:idx val="3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D-6564-4F45-8560-A14789827587}"/>
              </c:ext>
            </c:extLst>
          </c:dPt>
          <c:dPt>
            <c:idx val="3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E-6564-4F45-8560-A14789827587}"/>
              </c:ext>
            </c:extLst>
          </c:dPt>
          <c:dPt>
            <c:idx val="3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F-6564-4F45-8560-A14789827587}"/>
              </c:ext>
            </c:extLst>
          </c:dPt>
          <c:dPt>
            <c:idx val="3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0-6564-4F45-8560-A14789827587}"/>
              </c:ext>
            </c:extLst>
          </c:dPt>
          <c:dPt>
            <c:idx val="3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1-6564-4F45-8560-A14789827587}"/>
              </c:ext>
            </c:extLst>
          </c:dPt>
          <c:dPt>
            <c:idx val="3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2-6564-4F45-8560-A14789827587}"/>
              </c:ext>
            </c:extLst>
          </c:dPt>
          <c:dPt>
            <c:idx val="3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3-6564-4F45-8560-A14789827587}"/>
              </c:ext>
            </c:extLst>
          </c:dPt>
          <c:dPt>
            <c:idx val="3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4-6564-4F45-8560-A14789827587}"/>
              </c:ext>
            </c:extLst>
          </c:dPt>
          <c:dPt>
            <c:idx val="3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5-6564-4F45-8560-A14789827587}"/>
              </c:ext>
            </c:extLst>
          </c:dPt>
          <c:dPt>
            <c:idx val="3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6-6564-4F45-8560-A14789827587}"/>
              </c:ext>
            </c:extLst>
          </c:dPt>
          <c:dPt>
            <c:idx val="3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7-6564-4F45-8560-A14789827587}"/>
              </c:ext>
            </c:extLst>
          </c:dPt>
          <c:dPt>
            <c:idx val="3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8-6564-4F45-8560-A14789827587}"/>
              </c:ext>
            </c:extLst>
          </c:dPt>
          <c:dPt>
            <c:idx val="3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9-6564-4F45-8560-A14789827587}"/>
              </c:ext>
            </c:extLst>
          </c:dPt>
          <c:dPt>
            <c:idx val="3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A-6564-4F45-8560-A14789827587}"/>
              </c:ext>
            </c:extLst>
          </c:dPt>
          <c:dPt>
            <c:idx val="3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B-6564-4F45-8560-A14789827587}"/>
              </c:ext>
            </c:extLst>
          </c:dPt>
          <c:dPt>
            <c:idx val="3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C-6564-4F45-8560-A14789827587}"/>
              </c:ext>
            </c:extLst>
          </c:dPt>
          <c:dPt>
            <c:idx val="3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D-6564-4F45-8560-A14789827587}"/>
              </c:ext>
            </c:extLst>
          </c:dPt>
          <c:dPt>
            <c:idx val="3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E-6564-4F45-8560-A14789827587}"/>
              </c:ext>
            </c:extLst>
          </c:dPt>
          <c:dPt>
            <c:idx val="3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F-6564-4F45-8560-A14789827587}"/>
              </c:ext>
            </c:extLst>
          </c:dPt>
          <c:dPt>
            <c:idx val="3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0-6564-4F45-8560-A14789827587}"/>
              </c:ext>
            </c:extLst>
          </c:dPt>
          <c:dPt>
            <c:idx val="3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1-6564-4F45-8560-A14789827587}"/>
              </c:ext>
            </c:extLst>
          </c:dPt>
          <c:dPt>
            <c:idx val="3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2-6564-4F45-8560-A14789827587}"/>
              </c:ext>
            </c:extLst>
          </c:dPt>
          <c:dPt>
            <c:idx val="3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3-6564-4F45-8560-A14789827587}"/>
              </c:ext>
            </c:extLst>
          </c:dPt>
          <c:dPt>
            <c:idx val="3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4-6564-4F45-8560-A14789827587}"/>
              </c:ext>
            </c:extLst>
          </c:dPt>
          <c:dPt>
            <c:idx val="3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5-6564-4F45-8560-A14789827587}"/>
              </c:ext>
            </c:extLst>
          </c:dPt>
          <c:dPt>
            <c:idx val="3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6-6564-4F45-8560-A14789827587}"/>
              </c:ext>
            </c:extLst>
          </c:dPt>
          <c:dPt>
            <c:idx val="3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7-6564-4F45-8560-A14789827587}"/>
              </c:ext>
            </c:extLst>
          </c:dPt>
          <c:dPt>
            <c:idx val="3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8-6564-4F45-8560-A14789827587}"/>
              </c:ext>
            </c:extLst>
          </c:dPt>
          <c:dPt>
            <c:idx val="3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9-6564-4F45-8560-A14789827587}"/>
              </c:ext>
            </c:extLst>
          </c:dPt>
          <c:dPt>
            <c:idx val="3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A-6564-4F45-8560-A14789827587}"/>
              </c:ext>
            </c:extLst>
          </c:dPt>
          <c:dPt>
            <c:idx val="3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B-6564-4F45-8560-A14789827587}"/>
              </c:ext>
            </c:extLst>
          </c:dPt>
          <c:dPt>
            <c:idx val="3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C-6564-4F45-8560-A14789827587}"/>
              </c:ext>
            </c:extLst>
          </c:dPt>
          <c:dPt>
            <c:idx val="3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D-6564-4F45-8560-A14789827587}"/>
              </c:ext>
            </c:extLst>
          </c:dPt>
          <c:dPt>
            <c:idx val="3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E-6564-4F45-8560-A14789827587}"/>
              </c:ext>
            </c:extLst>
          </c:dPt>
          <c:dPt>
            <c:idx val="3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F-6564-4F45-8560-A14789827587}"/>
              </c:ext>
            </c:extLst>
          </c:dPt>
          <c:dPt>
            <c:idx val="3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0-6564-4F45-8560-A14789827587}"/>
              </c:ext>
            </c:extLst>
          </c:dPt>
          <c:dPt>
            <c:idx val="3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1-6564-4F45-8560-A14789827587}"/>
              </c:ext>
            </c:extLst>
          </c:dPt>
          <c:dPt>
            <c:idx val="3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2-6564-4F45-8560-A14789827587}"/>
              </c:ext>
            </c:extLst>
          </c:dPt>
          <c:dPt>
            <c:idx val="3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3-6564-4F45-8560-A14789827587}"/>
              </c:ext>
            </c:extLst>
          </c:dPt>
          <c:dPt>
            <c:idx val="3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4-6564-4F45-8560-A14789827587}"/>
              </c:ext>
            </c:extLst>
          </c:dPt>
          <c:dPt>
            <c:idx val="3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5-6564-4F45-8560-A14789827587}"/>
              </c:ext>
            </c:extLst>
          </c:dPt>
          <c:dPt>
            <c:idx val="3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6-6564-4F45-8560-A14789827587}"/>
              </c:ext>
            </c:extLst>
          </c:dPt>
          <c:dPt>
            <c:idx val="3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7-6564-4F45-8560-A14789827587}"/>
              </c:ext>
            </c:extLst>
          </c:dPt>
          <c:dPt>
            <c:idx val="3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8-6564-4F45-8560-A14789827587}"/>
              </c:ext>
            </c:extLst>
          </c:dPt>
          <c:dPt>
            <c:idx val="4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9-6564-4F45-8560-A14789827587}"/>
              </c:ext>
            </c:extLst>
          </c:dPt>
          <c:dPt>
            <c:idx val="4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A-6564-4F45-8560-A14789827587}"/>
              </c:ext>
            </c:extLst>
          </c:dPt>
          <c:dPt>
            <c:idx val="4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B-6564-4F45-8560-A14789827587}"/>
              </c:ext>
            </c:extLst>
          </c:dPt>
          <c:dPt>
            <c:idx val="4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C-6564-4F45-8560-A14789827587}"/>
              </c:ext>
            </c:extLst>
          </c:dPt>
          <c:dPt>
            <c:idx val="4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D-6564-4F45-8560-A14789827587}"/>
              </c:ext>
            </c:extLst>
          </c:dPt>
          <c:dPt>
            <c:idx val="4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E-6564-4F45-8560-A14789827587}"/>
              </c:ext>
            </c:extLst>
          </c:dPt>
          <c:dPt>
            <c:idx val="4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F-6564-4F45-8560-A14789827587}"/>
              </c:ext>
            </c:extLst>
          </c:dPt>
          <c:dPt>
            <c:idx val="4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0-6564-4F45-8560-A14789827587}"/>
              </c:ext>
            </c:extLst>
          </c:dPt>
          <c:dPt>
            <c:idx val="4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1-6564-4F45-8560-A14789827587}"/>
              </c:ext>
            </c:extLst>
          </c:dPt>
          <c:dPt>
            <c:idx val="4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2-6564-4F45-8560-A14789827587}"/>
              </c:ext>
            </c:extLst>
          </c:dPt>
          <c:dPt>
            <c:idx val="4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3-6564-4F45-8560-A14789827587}"/>
              </c:ext>
            </c:extLst>
          </c:dPt>
          <c:dPt>
            <c:idx val="4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4-6564-4F45-8560-A14789827587}"/>
              </c:ext>
            </c:extLst>
          </c:dPt>
          <c:dPt>
            <c:idx val="4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5-6564-4F45-8560-A14789827587}"/>
              </c:ext>
            </c:extLst>
          </c:dPt>
          <c:dPt>
            <c:idx val="4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6-6564-4F45-8560-A14789827587}"/>
              </c:ext>
            </c:extLst>
          </c:dPt>
          <c:dPt>
            <c:idx val="4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7-6564-4F45-8560-A14789827587}"/>
              </c:ext>
            </c:extLst>
          </c:dPt>
          <c:dPt>
            <c:idx val="4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8-6564-4F45-8560-A14789827587}"/>
              </c:ext>
            </c:extLst>
          </c:dPt>
          <c:dPt>
            <c:idx val="4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9-6564-4F45-8560-A14789827587}"/>
              </c:ext>
            </c:extLst>
          </c:dPt>
          <c:dPt>
            <c:idx val="4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A-6564-4F45-8560-A14789827587}"/>
              </c:ext>
            </c:extLst>
          </c:dPt>
          <c:dPt>
            <c:idx val="4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B-6564-4F45-8560-A14789827587}"/>
              </c:ext>
            </c:extLst>
          </c:dPt>
          <c:dPt>
            <c:idx val="4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C-6564-4F45-8560-A14789827587}"/>
              </c:ext>
            </c:extLst>
          </c:dPt>
          <c:dPt>
            <c:idx val="4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D-6564-4F45-8560-A14789827587}"/>
              </c:ext>
            </c:extLst>
          </c:dPt>
          <c:dPt>
            <c:idx val="4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E-6564-4F45-8560-A14789827587}"/>
              </c:ext>
            </c:extLst>
          </c:dPt>
          <c:dPt>
            <c:idx val="4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F-6564-4F45-8560-A14789827587}"/>
              </c:ext>
            </c:extLst>
          </c:dPt>
          <c:dPt>
            <c:idx val="4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0-6564-4F45-8560-A14789827587}"/>
              </c:ext>
            </c:extLst>
          </c:dPt>
          <c:dPt>
            <c:idx val="4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1-6564-4F45-8560-A14789827587}"/>
              </c:ext>
            </c:extLst>
          </c:dPt>
          <c:dPt>
            <c:idx val="4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2-6564-4F45-8560-A14789827587}"/>
              </c:ext>
            </c:extLst>
          </c:dPt>
          <c:dPt>
            <c:idx val="4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3-6564-4F45-8560-A14789827587}"/>
              </c:ext>
            </c:extLst>
          </c:dPt>
          <c:dPt>
            <c:idx val="4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4-6564-4F45-8560-A14789827587}"/>
              </c:ext>
            </c:extLst>
          </c:dPt>
          <c:dPt>
            <c:idx val="4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5-6564-4F45-8560-A14789827587}"/>
              </c:ext>
            </c:extLst>
          </c:dPt>
          <c:dPt>
            <c:idx val="4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6-6564-4F45-8560-A14789827587}"/>
              </c:ext>
            </c:extLst>
          </c:dPt>
          <c:dPt>
            <c:idx val="4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7-6564-4F45-8560-A14789827587}"/>
              </c:ext>
            </c:extLst>
          </c:dPt>
          <c:dPt>
            <c:idx val="4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8-6564-4F45-8560-A14789827587}"/>
              </c:ext>
            </c:extLst>
          </c:dPt>
          <c:dPt>
            <c:idx val="4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9-6564-4F45-8560-A14789827587}"/>
              </c:ext>
            </c:extLst>
          </c:dPt>
          <c:dPt>
            <c:idx val="4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A-6564-4F45-8560-A14789827587}"/>
              </c:ext>
            </c:extLst>
          </c:dPt>
          <c:dPt>
            <c:idx val="4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B-6564-4F45-8560-A14789827587}"/>
              </c:ext>
            </c:extLst>
          </c:dPt>
          <c:dPt>
            <c:idx val="4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C-6564-4F45-8560-A14789827587}"/>
              </c:ext>
            </c:extLst>
          </c:dPt>
          <c:dPt>
            <c:idx val="4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D-6564-4F45-8560-A14789827587}"/>
              </c:ext>
            </c:extLst>
          </c:dPt>
          <c:dPt>
            <c:idx val="4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E-6564-4F45-8560-A14789827587}"/>
              </c:ext>
            </c:extLst>
          </c:dPt>
          <c:dPt>
            <c:idx val="4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F-6564-4F45-8560-A14789827587}"/>
              </c:ext>
            </c:extLst>
          </c:dPt>
          <c:dPt>
            <c:idx val="4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0-6564-4F45-8560-A14789827587}"/>
              </c:ext>
            </c:extLst>
          </c:dPt>
          <c:dPt>
            <c:idx val="4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1-6564-4F45-8560-A14789827587}"/>
              </c:ext>
            </c:extLst>
          </c:dPt>
          <c:dPt>
            <c:idx val="4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2-6564-4F45-8560-A14789827587}"/>
              </c:ext>
            </c:extLst>
          </c:dPt>
          <c:dPt>
            <c:idx val="4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3-6564-4F45-8560-A14789827587}"/>
              </c:ext>
            </c:extLst>
          </c:dPt>
          <c:dPt>
            <c:idx val="4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4-6564-4F45-8560-A14789827587}"/>
              </c:ext>
            </c:extLst>
          </c:dPt>
          <c:dPt>
            <c:idx val="4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5-6564-4F45-8560-A14789827587}"/>
              </c:ext>
            </c:extLst>
          </c:dPt>
          <c:dPt>
            <c:idx val="4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6-6564-4F45-8560-A14789827587}"/>
              </c:ext>
            </c:extLst>
          </c:dPt>
          <c:dPt>
            <c:idx val="4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7-6564-4F45-8560-A14789827587}"/>
              </c:ext>
            </c:extLst>
          </c:dPt>
          <c:dPt>
            <c:idx val="4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8-6564-4F45-8560-A14789827587}"/>
              </c:ext>
            </c:extLst>
          </c:dPt>
          <c:dPt>
            <c:idx val="4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9-6564-4F45-8560-A14789827587}"/>
              </c:ext>
            </c:extLst>
          </c:dPt>
          <c:dPt>
            <c:idx val="4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A-6564-4F45-8560-A14789827587}"/>
              </c:ext>
            </c:extLst>
          </c:dPt>
          <c:dPt>
            <c:idx val="4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B-6564-4F45-8560-A14789827587}"/>
              </c:ext>
            </c:extLst>
          </c:dPt>
          <c:dPt>
            <c:idx val="4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C-6564-4F45-8560-A14789827587}"/>
              </c:ext>
            </c:extLst>
          </c:dPt>
          <c:dPt>
            <c:idx val="4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D-6564-4F45-8560-A14789827587}"/>
              </c:ext>
            </c:extLst>
          </c:dPt>
          <c:dPt>
            <c:idx val="4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E-6564-4F45-8560-A14789827587}"/>
              </c:ext>
            </c:extLst>
          </c:dPt>
          <c:dPt>
            <c:idx val="4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F-6564-4F45-8560-A14789827587}"/>
              </c:ext>
            </c:extLst>
          </c:dPt>
          <c:dPt>
            <c:idx val="4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0-6564-4F45-8560-A14789827587}"/>
              </c:ext>
            </c:extLst>
          </c:dPt>
          <c:dPt>
            <c:idx val="4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1-6564-4F45-8560-A14789827587}"/>
              </c:ext>
            </c:extLst>
          </c:dPt>
          <c:dPt>
            <c:idx val="4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2-6564-4F45-8560-A14789827587}"/>
              </c:ext>
            </c:extLst>
          </c:dPt>
          <c:dPt>
            <c:idx val="4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3-6564-4F45-8560-A14789827587}"/>
              </c:ext>
            </c:extLst>
          </c:dPt>
          <c:dPt>
            <c:idx val="4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4-6564-4F45-8560-A14789827587}"/>
              </c:ext>
            </c:extLst>
          </c:dPt>
          <c:dPt>
            <c:idx val="4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5-6564-4F45-8560-A14789827587}"/>
              </c:ext>
            </c:extLst>
          </c:dPt>
          <c:dPt>
            <c:idx val="4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6-6564-4F45-8560-A14789827587}"/>
              </c:ext>
            </c:extLst>
          </c:dPt>
          <c:dPt>
            <c:idx val="4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7-6564-4F45-8560-A14789827587}"/>
              </c:ext>
            </c:extLst>
          </c:dPt>
          <c:dPt>
            <c:idx val="4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8-6564-4F45-8560-A14789827587}"/>
              </c:ext>
            </c:extLst>
          </c:dPt>
          <c:dPt>
            <c:idx val="4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9-6564-4F45-8560-A14789827587}"/>
              </c:ext>
            </c:extLst>
          </c:dPt>
          <c:dPt>
            <c:idx val="4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A-6564-4F45-8560-A14789827587}"/>
              </c:ext>
            </c:extLst>
          </c:dPt>
          <c:dPt>
            <c:idx val="4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B-6564-4F45-8560-A14789827587}"/>
              </c:ext>
            </c:extLst>
          </c:dPt>
          <c:dPt>
            <c:idx val="4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C-6564-4F45-8560-A14789827587}"/>
              </c:ext>
            </c:extLst>
          </c:dPt>
          <c:dPt>
            <c:idx val="4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D-6564-4F45-8560-A14789827587}"/>
              </c:ext>
            </c:extLst>
          </c:dPt>
          <c:dPt>
            <c:idx val="4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E-6564-4F45-8560-A14789827587}"/>
              </c:ext>
            </c:extLst>
          </c:dPt>
          <c:dPt>
            <c:idx val="4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F-6564-4F45-8560-A14789827587}"/>
              </c:ext>
            </c:extLst>
          </c:dPt>
          <c:dPt>
            <c:idx val="4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0-6564-4F45-8560-A14789827587}"/>
              </c:ext>
            </c:extLst>
          </c:dPt>
          <c:dPt>
            <c:idx val="4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1-6564-4F45-8560-A14789827587}"/>
              </c:ext>
            </c:extLst>
          </c:dPt>
          <c:dPt>
            <c:idx val="4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2-6564-4F45-8560-A14789827587}"/>
              </c:ext>
            </c:extLst>
          </c:dPt>
          <c:dPt>
            <c:idx val="4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3-6564-4F45-8560-A14789827587}"/>
              </c:ext>
            </c:extLst>
          </c:dPt>
          <c:dPt>
            <c:idx val="4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4-6564-4F45-8560-A14789827587}"/>
              </c:ext>
            </c:extLst>
          </c:dPt>
          <c:dPt>
            <c:idx val="4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5-6564-4F45-8560-A14789827587}"/>
              </c:ext>
            </c:extLst>
          </c:dPt>
          <c:dPt>
            <c:idx val="4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6-6564-4F45-8560-A14789827587}"/>
              </c:ext>
            </c:extLst>
          </c:dPt>
          <c:dPt>
            <c:idx val="4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7-6564-4F45-8560-A14789827587}"/>
              </c:ext>
            </c:extLst>
          </c:dPt>
          <c:dPt>
            <c:idx val="4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8-6564-4F45-8560-A14789827587}"/>
              </c:ext>
            </c:extLst>
          </c:dPt>
          <c:dPt>
            <c:idx val="4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9-6564-4F45-8560-A14789827587}"/>
              </c:ext>
            </c:extLst>
          </c:dPt>
          <c:dPt>
            <c:idx val="4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A-6564-4F45-8560-A14789827587}"/>
              </c:ext>
            </c:extLst>
          </c:dPt>
          <c:dPt>
            <c:idx val="4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B-6564-4F45-8560-A14789827587}"/>
              </c:ext>
            </c:extLst>
          </c:dPt>
          <c:dPt>
            <c:idx val="4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C-6564-4F45-8560-A14789827587}"/>
              </c:ext>
            </c:extLst>
          </c:dPt>
          <c:dPt>
            <c:idx val="4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D-6564-4F45-8560-A14789827587}"/>
              </c:ext>
            </c:extLst>
          </c:dPt>
          <c:dPt>
            <c:idx val="4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E-6564-4F45-8560-A14789827587}"/>
              </c:ext>
            </c:extLst>
          </c:dPt>
          <c:dPt>
            <c:idx val="4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F-6564-4F45-8560-A14789827587}"/>
              </c:ext>
            </c:extLst>
          </c:dPt>
          <c:dPt>
            <c:idx val="4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0-6564-4F45-8560-A14789827587}"/>
              </c:ext>
            </c:extLst>
          </c:dPt>
          <c:dPt>
            <c:idx val="4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1-6564-4F45-8560-A14789827587}"/>
              </c:ext>
            </c:extLst>
          </c:dPt>
          <c:dPt>
            <c:idx val="4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2-6564-4F45-8560-A14789827587}"/>
              </c:ext>
            </c:extLst>
          </c:dPt>
          <c:dPt>
            <c:idx val="4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3-6564-4F45-8560-A14789827587}"/>
              </c:ext>
            </c:extLst>
          </c:dPt>
          <c:dPt>
            <c:idx val="4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4-6564-4F45-8560-A14789827587}"/>
              </c:ext>
            </c:extLst>
          </c:dPt>
          <c:dPt>
            <c:idx val="4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5-6564-4F45-8560-A14789827587}"/>
              </c:ext>
            </c:extLst>
          </c:dPt>
          <c:dPt>
            <c:idx val="4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6-6564-4F45-8560-A14789827587}"/>
              </c:ext>
            </c:extLst>
          </c:dPt>
          <c:dPt>
            <c:idx val="4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7-6564-4F45-8560-A14789827587}"/>
              </c:ext>
            </c:extLst>
          </c:dPt>
          <c:dPt>
            <c:idx val="4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8-6564-4F45-8560-A14789827587}"/>
              </c:ext>
            </c:extLst>
          </c:dPt>
          <c:dPt>
            <c:idx val="4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9-6564-4F45-8560-A14789827587}"/>
              </c:ext>
            </c:extLst>
          </c:dPt>
          <c:dPt>
            <c:idx val="4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A-6564-4F45-8560-A14789827587}"/>
              </c:ext>
            </c:extLst>
          </c:dPt>
          <c:dPt>
            <c:idx val="4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B-6564-4F45-8560-A14789827587}"/>
              </c:ext>
            </c:extLst>
          </c:dPt>
          <c:dPt>
            <c:idx val="4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C-6564-4F45-8560-A14789827587}"/>
              </c:ext>
            </c:extLst>
          </c:dPt>
          <c:dPt>
            <c:idx val="5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D-6564-4F45-8560-A14789827587}"/>
              </c:ext>
            </c:extLst>
          </c:dPt>
          <c:dPt>
            <c:idx val="5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E-6564-4F45-8560-A14789827587}"/>
              </c:ext>
            </c:extLst>
          </c:dPt>
          <c:dPt>
            <c:idx val="5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F-6564-4F45-8560-A14789827587}"/>
              </c:ext>
            </c:extLst>
          </c:dPt>
          <c:dPt>
            <c:idx val="5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0-6564-4F45-8560-A14789827587}"/>
              </c:ext>
            </c:extLst>
          </c:dPt>
          <c:dPt>
            <c:idx val="5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1-6564-4F45-8560-A14789827587}"/>
              </c:ext>
            </c:extLst>
          </c:dPt>
          <c:dPt>
            <c:idx val="5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2-6564-4F45-8560-A14789827587}"/>
              </c:ext>
            </c:extLst>
          </c:dPt>
          <c:dPt>
            <c:idx val="5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3-6564-4F45-8560-A14789827587}"/>
              </c:ext>
            </c:extLst>
          </c:dPt>
          <c:dPt>
            <c:idx val="5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4-6564-4F45-8560-A14789827587}"/>
              </c:ext>
            </c:extLst>
          </c:dPt>
          <c:dPt>
            <c:idx val="5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5-6564-4F45-8560-A14789827587}"/>
              </c:ext>
            </c:extLst>
          </c:dPt>
          <c:dPt>
            <c:idx val="5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6-6564-4F45-8560-A14789827587}"/>
              </c:ext>
            </c:extLst>
          </c:dPt>
          <c:dPt>
            <c:idx val="5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7-6564-4F45-8560-A14789827587}"/>
              </c:ext>
            </c:extLst>
          </c:dPt>
          <c:dPt>
            <c:idx val="5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8-6564-4F45-8560-A14789827587}"/>
              </c:ext>
            </c:extLst>
          </c:dPt>
          <c:dPt>
            <c:idx val="5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9-6564-4F45-8560-A14789827587}"/>
              </c:ext>
            </c:extLst>
          </c:dPt>
          <c:dPt>
            <c:idx val="5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A-6564-4F45-8560-A14789827587}"/>
              </c:ext>
            </c:extLst>
          </c:dPt>
          <c:dPt>
            <c:idx val="5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B-6564-4F45-8560-A14789827587}"/>
              </c:ext>
            </c:extLst>
          </c:dPt>
          <c:dPt>
            <c:idx val="5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C-6564-4F45-8560-A14789827587}"/>
              </c:ext>
            </c:extLst>
          </c:dPt>
          <c:dPt>
            <c:idx val="5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D-6564-4F45-8560-A14789827587}"/>
              </c:ext>
            </c:extLst>
          </c:dPt>
          <c:dPt>
            <c:idx val="5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E-6564-4F45-8560-A14789827587}"/>
              </c:ext>
            </c:extLst>
          </c:dPt>
          <c:dPt>
            <c:idx val="5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F-6564-4F45-8560-A14789827587}"/>
              </c:ext>
            </c:extLst>
          </c:dPt>
          <c:dPt>
            <c:idx val="5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0-6564-4F45-8560-A14789827587}"/>
              </c:ext>
            </c:extLst>
          </c:dPt>
          <c:dPt>
            <c:idx val="5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1-6564-4F45-8560-A14789827587}"/>
              </c:ext>
            </c:extLst>
          </c:dPt>
          <c:dPt>
            <c:idx val="5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2-6564-4F45-8560-A14789827587}"/>
              </c:ext>
            </c:extLst>
          </c:dPt>
          <c:dPt>
            <c:idx val="5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3-6564-4F45-8560-A14789827587}"/>
              </c:ext>
            </c:extLst>
          </c:dPt>
          <c:dPt>
            <c:idx val="5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4-6564-4F45-8560-A14789827587}"/>
              </c:ext>
            </c:extLst>
          </c:dPt>
          <c:dPt>
            <c:idx val="5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5-6564-4F45-8560-A14789827587}"/>
              </c:ext>
            </c:extLst>
          </c:dPt>
          <c:dPt>
            <c:idx val="5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6-6564-4F45-8560-A14789827587}"/>
              </c:ext>
            </c:extLst>
          </c:dPt>
          <c:dPt>
            <c:idx val="5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7-6564-4F45-8560-A14789827587}"/>
              </c:ext>
            </c:extLst>
          </c:dPt>
          <c:dPt>
            <c:idx val="5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8-6564-4F45-8560-A14789827587}"/>
              </c:ext>
            </c:extLst>
          </c:dPt>
          <c:dPt>
            <c:idx val="5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9-6564-4F45-8560-A14789827587}"/>
              </c:ext>
            </c:extLst>
          </c:dPt>
          <c:dPt>
            <c:idx val="5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A-6564-4F45-8560-A14789827587}"/>
              </c:ext>
            </c:extLst>
          </c:dPt>
          <c:dPt>
            <c:idx val="5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B-6564-4F45-8560-A14789827587}"/>
              </c:ext>
            </c:extLst>
          </c:dPt>
          <c:dPt>
            <c:idx val="5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C-6564-4F45-8560-A14789827587}"/>
              </c:ext>
            </c:extLst>
          </c:dPt>
          <c:dPt>
            <c:idx val="5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D-6564-4F45-8560-A14789827587}"/>
              </c:ext>
            </c:extLst>
          </c:dPt>
          <c:dPt>
            <c:idx val="5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E-6564-4F45-8560-A14789827587}"/>
              </c:ext>
            </c:extLst>
          </c:dPt>
          <c:dPt>
            <c:idx val="5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F-6564-4F45-8560-A14789827587}"/>
              </c:ext>
            </c:extLst>
          </c:dPt>
          <c:dPt>
            <c:idx val="5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0-6564-4F45-8560-A14789827587}"/>
              </c:ext>
            </c:extLst>
          </c:dPt>
          <c:dPt>
            <c:idx val="5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1-6564-4F45-8560-A14789827587}"/>
              </c:ext>
            </c:extLst>
          </c:dPt>
          <c:dPt>
            <c:idx val="5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2-6564-4F45-8560-A14789827587}"/>
              </c:ext>
            </c:extLst>
          </c:dPt>
          <c:dPt>
            <c:idx val="5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3-6564-4F45-8560-A14789827587}"/>
              </c:ext>
            </c:extLst>
          </c:dPt>
          <c:dPt>
            <c:idx val="5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4-6564-4F45-8560-A14789827587}"/>
              </c:ext>
            </c:extLst>
          </c:dPt>
          <c:dPt>
            <c:idx val="5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5-6564-4F45-8560-A14789827587}"/>
              </c:ext>
            </c:extLst>
          </c:dPt>
          <c:dPt>
            <c:idx val="5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6-6564-4F45-8560-A14789827587}"/>
              </c:ext>
            </c:extLst>
          </c:dPt>
          <c:dPt>
            <c:idx val="5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7-6564-4F45-8560-A14789827587}"/>
              </c:ext>
            </c:extLst>
          </c:dPt>
          <c:dPt>
            <c:idx val="5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8-6564-4F45-8560-A14789827587}"/>
              </c:ext>
            </c:extLst>
          </c:dPt>
          <c:dPt>
            <c:idx val="5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9-6564-4F45-8560-A14789827587}"/>
              </c:ext>
            </c:extLst>
          </c:dPt>
          <c:dPt>
            <c:idx val="5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A-6564-4F45-8560-A14789827587}"/>
              </c:ext>
            </c:extLst>
          </c:dPt>
          <c:dPt>
            <c:idx val="5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B-6564-4F45-8560-A14789827587}"/>
              </c:ext>
            </c:extLst>
          </c:dPt>
          <c:dPt>
            <c:idx val="5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C-6564-4F45-8560-A14789827587}"/>
              </c:ext>
            </c:extLst>
          </c:dPt>
          <c:dPt>
            <c:idx val="5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D-6564-4F45-8560-A14789827587}"/>
              </c:ext>
            </c:extLst>
          </c:dPt>
          <c:dPt>
            <c:idx val="5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E-6564-4F45-8560-A14789827587}"/>
              </c:ext>
            </c:extLst>
          </c:dPt>
          <c:dPt>
            <c:idx val="5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F-6564-4F45-8560-A14789827587}"/>
              </c:ext>
            </c:extLst>
          </c:dPt>
          <c:dPt>
            <c:idx val="5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0-6564-4F45-8560-A14789827587}"/>
              </c:ext>
            </c:extLst>
          </c:dPt>
          <c:dPt>
            <c:idx val="5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1-6564-4F45-8560-A14789827587}"/>
              </c:ext>
            </c:extLst>
          </c:dPt>
          <c:dPt>
            <c:idx val="5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2-6564-4F45-8560-A14789827587}"/>
              </c:ext>
            </c:extLst>
          </c:dPt>
          <c:dPt>
            <c:idx val="5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3-6564-4F45-8560-A14789827587}"/>
              </c:ext>
            </c:extLst>
          </c:dPt>
          <c:dPt>
            <c:idx val="5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4-6564-4F45-8560-A14789827587}"/>
              </c:ext>
            </c:extLst>
          </c:dPt>
          <c:dPt>
            <c:idx val="5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5-6564-4F45-8560-A14789827587}"/>
              </c:ext>
            </c:extLst>
          </c:dPt>
          <c:dPt>
            <c:idx val="5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6-6564-4F45-8560-A14789827587}"/>
              </c:ext>
            </c:extLst>
          </c:dPt>
          <c:dPt>
            <c:idx val="5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7-6564-4F45-8560-A14789827587}"/>
              </c:ext>
            </c:extLst>
          </c:dPt>
          <c:dPt>
            <c:idx val="5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8-6564-4F45-8560-A14789827587}"/>
              </c:ext>
            </c:extLst>
          </c:dPt>
          <c:dPt>
            <c:idx val="5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9-6564-4F45-8560-A14789827587}"/>
              </c:ext>
            </c:extLst>
          </c:dPt>
          <c:dPt>
            <c:idx val="5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A-6564-4F45-8560-A14789827587}"/>
              </c:ext>
            </c:extLst>
          </c:dPt>
          <c:dPt>
            <c:idx val="5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B-6564-4F45-8560-A14789827587}"/>
              </c:ext>
            </c:extLst>
          </c:dPt>
          <c:dPt>
            <c:idx val="5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C-6564-4F45-8560-A14789827587}"/>
              </c:ext>
            </c:extLst>
          </c:dPt>
          <c:dPt>
            <c:idx val="5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D-6564-4F45-8560-A14789827587}"/>
              </c:ext>
            </c:extLst>
          </c:dPt>
          <c:dPt>
            <c:idx val="5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E-6564-4F45-8560-A14789827587}"/>
              </c:ext>
            </c:extLst>
          </c:dPt>
          <c:dPt>
            <c:idx val="5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F-6564-4F45-8560-A14789827587}"/>
              </c:ext>
            </c:extLst>
          </c:dPt>
          <c:dPt>
            <c:idx val="5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0-6564-4F45-8560-A14789827587}"/>
              </c:ext>
            </c:extLst>
          </c:dPt>
          <c:dPt>
            <c:idx val="5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1-6564-4F45-8560-A14789827587}"/>
              </c:ext>
            </c:extLst>
          </c:dPt>
          <c:dPt>
            <c:idx val="5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2-6564-4F45-8560-A14789827587}"/>
              </c:ext>
            </c:extLst>
          </c:dPt>
          <c:dPt>
            <c:idx val="5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3-6564-4F45-8560-A14789827587}"/>
              </c:ext>
            </c:extLst>
          </c:dPt>
          <c:dPt>
            <c:idx val="5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4-6564-4F45-8560-A14789827587}"/>
              </c:ext>
            </c:extLst>
          </c:dPt>
          <c:dPt>
            <c:idx val="5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5-6564-4F45-8560-A14789827587}"/>
              </c:ext>
            </c:extLst>
          </c:dPt>
          <c:dPt>
            <c:idx val="5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6-6564-4F45-8560-A14789827587}"/>
              </c:ext>
            </c:extLst>
          </c:dPt>
          <c:dPt>
            <c:idx val="5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7-6564-4F45-8560-A14789827587}"/>
              </c:ext>
            </c:extLst>
          </c:dPt>
          <c:dPt>
            <c:idx val="5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8-6564-4F45-8560-A14789827587}"/>
              </c:ext>
            </c:extLst>
          </c:dPt>
          <c:dPt>
            <c:idx val="5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9-6564-4F45-8560-A14789827587}"/>
              </c:ext>
            </c:extLst>
          </c:dPt>
          <c:dPt>
            <c:idx val="5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A-6564-4F45-8560-A14789827587}"/>
              </c:ext>
            </c:extLst>
          </c:dPt>
          <c:dPt>
            <c:idx val="5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B-6564-4F45-8560-A14789827587}"/>
              </c:ext>
            </c:extLst>
          </c:dPt>
          <c:dPt>
            <c:idx val="5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C-6564-4F45-8560-A14789827587}"/>
              </c:ext>
            </c:extLst>
          </c:dPt>
          <c:dPt>
            <c:idx val="5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D-6564-4F45-8560-A14789827587}"/>
              </c:ext>
            </c:extLst>
          </c:dPt>
          <c:dPt>
            <c:idx val="5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E-6564-4F45-8560-A14789827587}"/>
              </c:ext>
            </c:extLst>
          </c:dPt>
          <c:dPt>
            <c:idx val="5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F-6564-4F45-8560-A14789827587}"/>
              </c:ext>
            </c:extLst>
          </c:dPt>
          <c:dPt>
            <c:idx val="5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0-6564-4F45-8560-A14789827587}"/>
              </c:ext>
            </c:extLst>
          </c:dPt>
          <c:dPt>
            <c:idx val="5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1-6564-4F45-8560-A14789827587}"/>
              </c:ext>
            </c:extLst>
          </c:dPt>
          <c:dPt>
            <c:idx val="5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2-6564-4F45-8560-A14789827587}"/>
              </c:ext>
            </c:extLst>
          </c:dPt>
          <c:dPt>
            <c:idx val="5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3-6564-4F45-8560-A14789827587}"/>
              </c:ext>
            </c:extLst>
          </c:dPt>
          <c:dPt>
            <c:idx val="5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4-6564-4F45-8560-A14789827587}"/>
              </c:ext>
            </c:extLst>
          </c:dPt>
          <c:dPt>
            <c:idx val="5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5-6564-4F45-8560-A14789827587}"/>
              </c:ext>
            </c:extLst>
          </c:dPt>
          <c:dPt>
            <c:idx val="5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6-6564-4F45-8560-A14789827587}"/>
              </c:ext>
            </c:extLst>
          </c:dPt>
          <c:dPt>
            <c:idx val="5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7-6564-4F45-8560-A14789827587}"/>
              </c:ext>
            </c:extLst>
          </c:dPt>
          <c:dPt>
            <c:idx val="5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8-6564-4F45-8560-A14789827587}"/>
              </c:ext>
            </c:extLst>
          </c:dPt>
          <c:dPt>
            <c:idx val="5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9-6564-4F45-8560-A14789827587}"/>
              </c:ext>
            </c:extLst>
          </c:dPt>
          <c:dPt>
            <c:idx val="5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A-6564-4F45-8560-A14789827587}"/>
              </c:ext>
            </c:extLst>
          </c:dPt>
          <c:dPt>
            <c:idx val="5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B-6564-4F45-8560-A14789827587}"/>
              </c:ext>
            </c:extLst>
          </c:dPt>
          <c:dPt>
            <c:idx val="5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C-6564-4F45-8560-A14789827587}"/>
              </c:ext>
            </c:extLst>
          </c:dPt>
          <c:dPt>
            <c:idx val="5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D-6564-4F45-8560-A14789827587}"/>
              </c:ext>
            </c:extLst>
          </c:dPt>
          <c:dPt>
            <c:idx val="5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E-6564-4F45-8560-A14789827587}"/>
              </c:ext>
            </c:extLst>
          </c:dPt>
          <c:dPt>
            <c:idx val="5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F-6564-4F45-8560-A14789827587}"/>
              </c:ext>
            </c:extLst>
          </c:dPt>
          <c:dPt>
            <c:idx val="5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0-6564-4F45-8560-A14789827587}"/>
              </c:ext>
            </c:extLst>
          </c:dPt>
          <c:dPt>
            <c:idx val="6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1-6564-4F45-8560-A14789827587}"/>
              </c:ext>
            </c:extLst>
          </c:dPt>
          <c:dPt>
            <c:idx val="6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2-6564-4F45-8560-A14789827587}"/>
              </c:ext>
            </c:extLst>
          </c:dPt>
          <c:dPt>
            <c:idx val="6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3-6564-4F45-8560-A14789827587}"/>
              </c:ext>
            </c:extLst>
          </c:dPt>
          <c:dPt>
            <c:idx val="6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4-6564-4F45-8560-A14789827587}"/>
              </c:ext>
            </c:extLst>
          </c:dPt>
          <c:dPt>
            <c:idx val="6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5-6564-4F45-8560-A14789827587}"/>
              </c:ext>
            </c:extLst>
          </c:dPt>
          <c:dPt>
            <c:idx val="6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6-6564-4F45-8560-A14789827587}"/>
              </c:ext>
            </c:extLst>
          </c:dPt>
          <c:dPt>
            <c:idx val="6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7-6564-4F45-8560-A14789827587}"/>
              </c:ext>
            </c:extLst>
          </c:dPt>
          <c:dPt>
            <c:idx val="6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8-6564-4F45-8560-A14789827587}"/>
              </c:ext>
            </c:extLst>
          </c:dPt>
          <c:dPt>
            <c:idx val="6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9-6564-4F45-8560-A14789827587}"/>
              </c:ext>
            </c:extLst>
          </c:dPt>
          <c:dPt>
            <c:idx val="6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A-6564-4F45-8560-A14789827587}"/>
              </c:ext>
            </c:extLst>
          </c:dPt>
          <c:dPt>
            <c:idx val="6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B-6564-4F45-8560-A14789827587}"/>
              </c:ext>
            </c:extLst>
          </c:dPt>
          <c:dPt>
            <c:idx val="6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C-6564-4F45-8560-A14789827587}"/>
              </c:ext>
            </c:extLst>
          </c:dPt>
          <c:dPt>
            <c:idx val="6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D-6564-4F45-8560-A14789827587}"/>
              </c:ext>
            </c:extLst>
          </c:dPt>
          <c:dPt>
            <c:idx val="6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E-6564-4F45-8560-A14789827587}"/>
              </c:ext>
            </c:extLst>
          </c:dPt>
          <c:dPt>
            <c:idx val="6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F-6564-4F45-8560-A14789827587}"/>
              </c:ext>
            </c:extLst>
          </c:dPt>
          <c:dPt>
            <c:idx val="6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0-6564-4F45-8560-A14789827587}"/>
              </c:ext>
            </c:extLst>
          </c:dPt>
          <c:dPt>
            <c:idx val="6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1-6564-4F45-8560-A14789827587}"/>
              </c:ext>
            </c:extLst>
          </c:dPt>
          <c:dPt>
            <c:idx val="6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2-6564-4F45-8560-A14789827587}"/>
              </c:ext>
            </c:extLst>
          </c:dPt>
          <c:dPt>
            <c:idx val="6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3-6564-4F45-8560-A14789827587}"/>
              </c:ext>
            </c:extLst>
          </c:dPt>
          <c:dPt>
            <c:idx val="6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4-6564-4F45-8560-A14789827587}"/>
              </c:ext>
            </c:extLst>
          </c:dPt>
          <c:dPt>
            <c:idx val="6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5-6564-4F45-8560-A14789827587}"/>
              </c:ext>
            </c:extLst>
          </c:dPt>
          <c:dPt>
            <c:idx val="6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6-6564-4F45-8560-A14789827587}"/>
              </c:ext>
            </c:extLst>
          </c:dPt>
          <c:dPt>
            <c:idx val="6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7-6564-4F45-8560-A14789827587}"/>
              </c:ext>
            </c:extLst>
          </c:dPt>
          <c:dPt>
            <c:idx val="6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8-6564-4F45-8560-A14789827587}"/>
              </c:ext>
            </c:extLst>
          </c:dPt>
          <c:dPt>
            <c:idx val="6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9-6564-4F45-8560-A14789827587}"/>
              </c:ext>
            </c:extLst>
          </c:dPt>
          <c:dPt>
            <c:idx val="6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A-6564-4F45-8560-A14789827587}"/>
              </c:ext>
            </c:extLst>
          </c:dPt>
          <c:dPt>
            <c:idx val="6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B-6564-4F45-8560-A14789827587}"/>
              </c:ext>
            </c:extLst>
          </c:dPt>
          <c:dPt>
            <c:idx val="6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C-6564-4F45-8560-A14789827587}"/>
              </c:ext>
            </c:extLst>
          </c:dPt>
          <c:dPt>
            <c:idx val="6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D-6564-4F45-8560-A14789827587}"/>
              </c:ext>
            </c:extLst>
          </c:dPt>
          <c:dPt>
            <c:idx val="6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E-6564-4F45-8560-A14789827587}"/>
              </c:ext>
            </c:extLst>
          </c:dPt>
          <c:dPt>
            <c:idx val="6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F-6564-4F45-8560-A14789827587}"/>
              </c:ext>
            </c:extLst>
          </c:dPt>
          <c:dPt>
            <c:idx val="6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0-6564-4F45-8560-A14789827587}"/>
              </c:ext>
            </c:extLst>
          </c:dPt>
          <c:dPt>
            <c:idx val="6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1-6564-4F45-8560-A14789827587}"/>
              </c:ext>
            </c:extLst>
          </c:dPt>
          <c:dPt>
            <c:idx val="6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2-6564-4F45-8560-A14789827587}"/>
              </c:ext>
            </c:extLst>
          </c:dPt>
          <c:dPt>
            <c:idx val="6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3-6564-4F45-8560-A14789827587}"/>
              </c:ext>
            </c:extLst>
          </c:dPt>
          <c:dPt>
            <c:idx val="6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4-6564-4F45-8560-A14789827587}"/>
              </c:ext>
            </c:extLst>
          </c:dPt>
          <c:dPt>
            <c:idx val="6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5-6564-4F45-8560-A14789827587}"/>
              </c:ext>
            </c:extLst>
          </c:dPt>
          <c:dPt>
            <c:idx val="6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6-6564-4F45-8560-A14789827587}"/>
              </c:ext>
            </c:extLst>
          </c:dPt>
          <c:dPt>
            <c:idx val="6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7-6564-4F45-8560-A14789827587}"/>
              </c:ext>
            </c:extLst>
          </c:dPt>
          <c:dPt>
            <c:idx val="6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8-6564-4F45-8560-A14789827587}"/>
              </c:ext>
            </c:extLst>
          </c:dPt>
          <c:dPt>
            <c:idx val="6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9-6564-4F45-8560-A14789827587}"/>
              </c:ext>
            </c:extLst>
          </c:dPt>
          <c:dPt>
            <c:idx val="6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A-6564-4F45-8560-A14789827587}"/>
              </c:ext>
            </c:extLst>
          </c:dPt>
          <c:dPt>
            <c:idx val="6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B-6564-4F45-8560-A14789827587}"/>
              </c:ext>
            </c:extLst>
          </c:dPt>
          <c:dPt>
            <c:idx val="6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C-6564-4F45-8560-A14789827587}"/>
              </c:ext>
            </c:extLst>
          </c:dPt>
          <c:dPt>
            <c:idx val="6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D-6564-4F45-8560-A14789827587}"/>
              </c:ext>
            </c:extLst>
          </c:dPt>
          <c:dPt>
            <c:idx val="6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E-6564-4F45-8560-A14789827587}"/>
              </c:ext>
            </c:extLst>
          </c:dPt>
          <c:dPt>
            <c:idx val="6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F-6564-4F45-8560-A14789827587}"/>
              </c:ext>
            </c:extLst>
          </c:dPt>
          <c:dPt>
            <c:idx val="6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0-6564-4F45-8560-A14789827587}"/>
              </c:ext>
            </c:extLst>
          </c:dPt>
          <c:dPt>
            <c:idx val="6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1-6564-4F45-8560-A14789827587}"/>
              </c:ext>
            </c:extLst>
          </c:dPt>
          <c:dPt>
            <c:idx val="6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2-6564-4F45-8560-A14789827587}"/>
              </c:ext>
            </c:extLst>
          </c:dPt>
          <c:dPt>
            <c:idx val="6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3-6564-4F45-8560-A14789827587}"/>
              </c:ext>
            </c:extLst>
          </c:dPt>
          <c:dPt>
            <c:idx val="6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4-6564-4F45-8560-A14789827587}"/>
              </c:ext>
            </c:extLst>
          </c:dPt>
          <c:dPt>
            <c:idx val="6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5-6564-4F45-8560-A14789827587}"/>
              </c:ext>
            </c:extLst>
          </c:dPt>
          <c:dPt>
            <c:idx val="6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6-6564-4F45-8560-A14789827587}"/>
              </c:ext>
            </c:extLst>
          </c:dPt>
          <c:dPt>
            <c:idx val="6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7-6564-4F45-8560-A14789827587}"/>
              </c:ext>
            </c:extLst>
          </c:dPt>
          <c:dPt>
            <c:idx val="6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8-6564-4F45-8560-A14789827587}"/>
              </c:ext>
            </c:extLst>
          </c:dPt>
          <c:dPt>
            <c:idx val="6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9-6564-4F45-8560-A14789827587}"/>
              </c:ext>
            </c:extLst>
          </c:dPt>
          <c:dPt>
            <c:idx val="6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A-6564-4F45-8560-A14789827587}"/>
              </c:ext>
            </c:extLst>
          </c:dPt>
          <c:dPt>
            <c:idx val="6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B-6564-4F45-8560-A14789827587}"/>
              </c:ext>
            </c:extLst>
          </c:dPt>
          <c:dPt>
            <c:idx val="6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C-6564-4F45-8560-A14789827587}"/>
              </c:ext>
            </c:extLst>
          </c:dPt>
          <c:dPt>
            <c:idx val="6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D-6564-4F45-8560-A14789827587}"/>
              </c:ext>
            </c:extLst>
          </c:dPt>
          <c:dPt>
            <c:idx val="6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E-6564-4F45-8560-A14789827587}"/>
              </c:ext>
            </c:extLst>
          </c:dPt>
          <c:dPt>
            <c:idx val="6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F-6564-4F45-8560-A14789827587}"/>
              </c:ext>
            </c:extLst>
          </c:dPt>
          <c:dPt>
            <c:idx val="6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0-6564-4F45-8560-A14789827587}"/>
              </c:ext>
            </c:extLst>
          </c:dPt>
          <c:dPt>
            <c:idx val="6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1-6564-4F45-8560-A14789827587}"/>
              </c:ext>
            </c:extLst>
          </c:dPt>
          <c:dPt>
            <c:idx val="6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2-6564-4F45-8560-A14789827587}"/>
              </c:ext>
            </c:extLst>
          </c:dPt>
          <c:dPt>
            <c:idx val="6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3-6564-4F45-8560-A14789827587}"/>
              </c:ext>
            </c:extLst>
          </c:dPt>
          <c:dPt>
            <c:idx val="6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4-6564-4F45-8560-A14789827587}"/>
              </c:ext>
            </c:extLst>
          </c:dPt>
          <c:dPt>
            <c:idx val="6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5-6564-4F45-8560-A14789827587}"/>
              </c:ext>
            </c:extLst>
          </c:dPt>
          <c:dPt>
            <c:idx val="6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6-6564-4F45-8560-A14789827587}"/>
              </c:ext>
            </c:extLst>
          </c:dPt>
          <c:dPt>
            <c:idx val="6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7-6564-4F45-8560-A14789827587}"/>
              </c:ext>
            </c:extLst>
          </c:dPt>
          <c:dPt>
            <c:idx val="6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8-6564-4F45-8560-A14789827587}"/>
              </c:ext>
            </c:extLst>
          </c:dPt>
          <c:dPt>
            <c:idx val="6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9-6564-4F45-8560-A14789827587}"/>
              </c:ext>
            </c:extLst>
          </c:dPt>
          <c:dPt>
            <c:idx val="6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A-6564-4F45-8560-A14789827587}"/>
              </c:ext>
            </c:extLst>
          </c:dPt>
          <c:dPt>
            <c:idx val="6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B-6564-4F45-8560-A14789827587}"/>
              </c:ext>
            </c:extLst>
          </c:dPt>
          <c:dPt>
            <c:idx val="6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C-6564-4F45-8560-A14789827587}"/>
              </c:ext>
            </c:extLst>
          </c:dPt>
          <c:dPt>
            <c:idx val="6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D-6564-4F45-8560-A14789827587}"/>
              </c:ext>
            </c:extLst>
          </c:dPt>
          <c:dPt>
            <c:idx val="6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E-6564-4F45-8560-A14789827587}"/>
              </c:ext>
            </c:extLst>
          </c:dPt>
          <c:dPt>
            <c:idx val="6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F-6564-4F45-8560-A14789827587}"/>
              </c:ext>
            </c:extLst>
          </c:dPt>
          <c:dPt>
            <c:idx val="6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0-6564-4F45-8560-A14789827587}"/>
              </c:ext>
            </c:extLst>
          </c:dPt>
          <c:dPt>
            <c:idx val="6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1-6564-4F45-8560-A14789827587}"/>
              </c:ext>
            </c:extLst>
          </c:dPt>
          <c:dPt>
            <c:idx val="6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2-6564-4F45-8560-A14789827587}"/>
              </c:ext>
            </c:extLst>
          </c:dPt>
          <c:dPt>
            <c:idx val="6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3-6564-4F45-8560-A14789827587}"/>
              </c:ext>
            </c:extLst>
          </c:dPt>
          <c:dPt>
            <c:idx val="6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4-6564-4F45-8560-A14789827587}"/>
              </c:ext>
            </c:extLst>
          </c:dPt>
          <c:dPt>
            <c:idx val="6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5-6564-4F45-8560-A14789827587}"/>
              </c:ext>
            </c:extLst>
          </c:dPt>
          <c:dPt>
            <c:idx val="6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6-6564-4F45-8560-A14789827587}"/>
              </c:ext>
            </c:extLst>
          </c:dPt>
          <c:dPt>
            <c:idx val="6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7-6564-4F45-8560-A14789827587}"/>
              </c:ext>
            </c:extLst>
          </c:dPt>
          <c:dPt>
            <c:idx val="6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8-6564-4F45-8560-A14789827587}"/>
              </c:ext>
            </c:extLst>
          </c:dPt>
          <c:dPt>
            <c:idx val="6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9-6564-4F45-8560-A14789827587}"/>
              </c:ext>
            </c:extLst>
          </c:dPt>
          <c:dPt>
            <c:idx val="6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A-6564-4F45-8560-A14789827587}"/>
              </c:ext>
            </c:extLst>
          </c:dPt>
          <c:dPt>
            <c:idx val="6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B-6564-4F45-8560-A14789827587}"/>
              </c:ext>
            </c:extLst>
          </c:dPt>
          <c:dPt>
            <c:idx val="6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C-6564-4F45-8560-A14789827587}"/>
              </c:ext>
            </c:extLst>
          </c:dPt>
          <c:dPt>
            <c:idx val="6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D-6564-4F45-8560-A14789827587}"/>
              </c:ext>
            </c:extLst>
          </c:dPt>
          <c:dPt>
            <c:idx val="6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E-6564-4F45-8560-A14789827587}"/>
              </c:ext>
            </c:extLst>
          </c:dPt>
          <c:dPt>
            <c:idx val="6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F-6564-4F45-8560-A14789827587}"/>
              </c:ext>
            </c:extLst>
          </c:dPt>
          <c:dPt>
            <c:idx val="6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0-6564-4F45-8560-A14789827587}"/>
              </c:ext>
            </c:extLst>
          </c:dPt>
          <c:dPt>
            <c:idx val="6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1-6564-4F45-8560-A14789827587}"/>
              </c:ext>
            </c:extLst>
          </c:dPt>
          <c:dPt>
            <c:idx val="6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2-6564-4F45-8560-A14789827587}"/>
              </c:ext>
            </c:extLst>
          </c:dPt>
          <c:dPt>
            <c:idx val="6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3-6564-4F45-8560-A14789827587}"/>
              </c:ext>
            </c:extLst>
          </c:dPt>
          <c:dPt>
            <c:idx val="6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4-6564-4F45-8560-A14789827587}"/>
              </c:ext>
            </c:extLst>
          </c:dPt>
          <c:dPt>
            <c:idx val="7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5-6564-4F45-8560-A14789827587}"/>
              </c:ext>
            </c:extLst>
          </c:dPt>
          <c:dPt>
            <c:idx val="7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6-6564-4F45-8560-A14789827587}"/>
              </c:ext>
            </c:extLst>
          </c:dPt>
          <c:dPt>
            <c:idx val="7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7-6564-4F45-8560-A14789827587}"/>
              </c:ext>
            </c:extLst>
          </c:dPt>
          <c:dPt>
            <c:idx val="7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8-6564-4F45-8560-A14789827587}"/>
              </c:ext>
            </c:extLst>
          </c:dPt>
          <c:dPt>
            <c:idx val="7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9-6564-4F45-8560-A14789827587}"/>
              </c:ext>
            </c:extLst>
          </c:dPt>
          <c:dPt>
            <c:idx val="7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A-6564-4F45-8560-A14789827587}"/>
              </c:ext>
            </c:extLst>
          </c:dPt>
          <c:dPt>
            <c:idx val="7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B-6564-4F45-8560-A14789827587}"/>
              </c:ext>
            </c:extLst>
          </c:dPt>
          <c:dPt>
            <c:idx val="7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C-6564-4F45-8560-A14789827587}"/>
              </c:ext>
            </c:extLst>
          </c:dPt>
          <c:dPt>
            <c:idx val="7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D-6564-4F45-8560-A14789827587}"/>
              </c:ext>
            </c:extLst>
          </c:dPt>
          <c:dPt>
            <c:idx val="7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E-6564-4F45-8560-A14789827587}"/>
              </c:ext>
            </c:extLst>
          </c:dPt>
          <c:dPt>
            <c:idx val="7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F-6564-4F45-8560-A14789827587}"/>
              </c:ext>
            </c:extLst>
          </c:dPt>
          <c:dPt>
            <c:idx val="7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0-6564-4F45-8560-A14789827587}"/>
              </c:ext>
            </c:extLst>
          </c:dPt>
          <c:dPt>
            <c:idx val="7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1-6564-4F45-8560-A14789827587}"/>
              </c:ext>
            </c:extLst>
          </c:dPt>
          <c:dPt>
            <c:idx val="7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2-6564-4F45-8560-A14789827587}"/>
              </c:ext>
            </c:extLst>
          </c:dPt>
          <c:dPt>
            <c:idx val="7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3-6564-4F45-8560-A14789827587}"/>
              </c:ext>
            </c:extLst>
          </c:dPt>
          <c:dPt>
            <c:idx val="7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4-6564-4F45-8560-A14789827587}"/>
              </c:ext>
            </c:extLst>
          </c:dPt>
          <c:dPt>
            <c:idx val="7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5-6564-4F45-8560-A14789827587}"/>
              </c:ext>
            </c:extLst>
          </c:dPt>
          <c:dPt>
            <c:idx val="7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6-6564-4F45-8560-A14789827587}"/>
              </c:ext>
            </c:extLst>
          </c:dPt>
          <c:dPt>
            <c:idx val="7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7-6564-4F45-8560-A14789827587}"/>
              </c:ext>
            </c:extLst>
          </c:dPt>
          <c:dPt>
            <c:idx val="7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8-6564-4F45-8560-A14789827587}"/>
              </c:ext>
            </c:extLst>
          </c:dPt>
          <c:dPt>
            <c:idx val="7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9-6564-4F45-8560-A14789827587}"/>
              </c:ext>
            </c:extLst>
          </c:dPt>
          <c:dPt>
            <c:idx val="7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A-6564-4F45-8560-A14789827587}"/>
              </c:ext>
            </c:extLst>
          </c:dPt>
          <c:dPt>
            <c:idx val="7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B-6564-4F45-8560-A14789827587}"/>
              </c:ext>
            </c:extLst>
          </c:dPt>
          <c:dPt>
            <c:idx val="7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C-6564-4F45-8560-A14789827587}"/>
              </c:ext>
            </c:extLst>
          </c:dPt>
          <c:dPt>
            <c:idx val="7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D-6564-4F45-8560-A14789827587}"/>
              </c:ext>
            </c:extLst>
          </c:dPt>
          <c:dPt>
            <c:idx val="7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E-6564-4F45-8560-A14789827587}"/>
              </c:ext>
            </c:extLst>
          </c:dPt>
          <c:dPt>
            <c:idx val="7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F-6564-4F45-8560-A14789827587}"/>
              </c:ext>
            </c:extLst>
          </c:dPt>
          <c:dPt>
            <c:idx val="7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0-6564-4F45-8560-A14789827587}"/>
              </c:ext>
            </c:extLst>
          </c:dPt>
          <c:dPt>
            <c:idx val="7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1-6564-4F45-8560-A14789827587}"/>
              </c:ext>
            </c:extLst>
          </c:dPt>
          <c:dPt>
            <c:idx val="7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2-6564-4F45-8560-A14789827587}"/>
              </c:ext>
            </c:extLst>
          </c:dPt>
          <c:dPt>
            <c:idx val="7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3-6564-4F45-8560-A14789827587}"/>
              </c:ext>
            </c:extLst>
          </c:dPt>
          <c:dPt>
            <c:idx val="7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4-6564-4F45-8560-A14789827587}"/>
              </c:ext>
            </c:extLst>
          </c:dPt>
          <c:dPt>
            <c:idx val="7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5-6564-4F45-8560-A14789827587}"/>
              </c:ext>
            </c:extLst>
          </c:dPt>
          <c:dPt>
            <c:idx val="7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6-6564-4F45-8560-A14789827587}"/>
              </c:ext>
            </c:extLst>
          </c:dPt>
          <c:dPt>
            <c:idx val="7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7-6564-4F45-8560-A14789827587}"/>
              </c:ext>
            </c:extLst>
          </c:dPt>
          <c:dPt>
            <c:idx val="7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8-6564-4F45-8560-A14789827587}"/>
              </c:ext>
            </c:extLst>
          </c:dPt>
          <c:dPt>
            <c:idx val="7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9-6564-4F45-8560-A14789827587}"/>
              </c:ext>
            </c:extLst>
          </c:dPt>
          <c:dPt>
            <c:idx val="7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A-6564-4F45-8560-A14789827587}"/>
              </c:ext>
            </c:extLst>
          </c:dPt>
          <c:dPt>
            <c:idx val="7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B-6564-4F45-8560-A14789827587}"/>
              </c:ext>
            </c:extLst>
          </c:dPt>
          <c:dPt>
            <c:idx val="7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C-6564-4F45-8560-A14789827587}"/>
              </c:ext>
            </c:extLst>
          </c:dPt>
          <c:dPt>
            <c:idx val="7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D-6564-4F45-8560-A14789827587}"/>
              </c:ext>
            </c:extLst>
          </c:dPt>
          <c:dPt>
            <c:idx val="7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E-6564-4F45-8560-A14789827587}"/>
              </c:ext>
            </c:extLst>
          </c:dPt>
          <c:dPt>
            <c:idx val="7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F-6564-4F45-8560-A14789827587}"/>
              </c:ext>
            </c:extLst>
          </c:dPt>
          <c:dPt>
            <c:idx val="7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0-6564-4F45-8560-A14789827587}"/>
              </c:ext>
            </c:extLst>
          </c:dPt>
          <c:dPt>
            <c:idx val="7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1-6564-4F45-8560-A14789827587}"/>
              </c:ext>
            </c:extLst>
          </c:dPt>
          <c:dPt>
            <c:idx val="7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2-6564-4F45-8560-A14789827587}"/>
              </c:ext>
            </c:extLst>
          </c:dPt>
          <c:dPt>
            <c:idx val="7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3-6564-4F45-8560-A14789827587}"/>
              </c:ext>
            </c:extLst>
          </c:dPt>
          <c:dPt>
            <c:idx val="7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4-6564-4F45-8560-A14789827587}"/>
              </c:ext>
            </c:extLst>
          </c:dPt>
          <c:dPt>
            <c:idx val="7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5-6564-4F45-8560-A14789827587}"/>
              </c:ext>
            </c:extLst>
          </c:dPt>
          <c:dPt>
            <c:idx val="7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6-6564-4F45-8560-A14789827587}"/>
              </c:ext>
            </c:extLst>
          </c:dPt>
          <c:dPt>
            <c:idx val="7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7-6564-4F45-8560-A14789827587}"/>
              </c:ext>
            </c:extLst>
          </c:dPt>
          <c:dPt>
            <c:idx val="7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8-6564-4F45-8560-A14789827587}"/>
              </c:ext>
            </c:extLst>
          </c:dPt>
          <c:dPt>
            <c:idx val="7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9-6564-4F45-8560-A14789827587}"/>
              </c:ext>
            </c:extLst>
          </c:dPt>
          <c:dPt>
            <c:idx val="7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A-6564-4F45-8560-A14789827587}"/>
              </c:ext>
            </c:extLst>
          </c:dPt>
          <c:dPt>
            <c:idx val="7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B-6564-4F45-8560-A14789827587}"/>
              </c:ext>
            </c:extLst>
          </c:dPt>
          <c:dPt>
            <c:idx val="7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C-6564-4F45-8560-A14789827587}"/>
              </c:ext>
            </c:extLst>
          </c:dPt>
          <c:dPt>
            <c:idx val="7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D-6564-4F45-8560-A14789827587}"/>
              </c:ext>
            </c:extLst>
          </c:dPt>
          <c:dPt>
            <c:idx val="7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E-6564-4F45-8560-A14789827587}"/>
              </c:ext>
            </c:extLst>
          </c:dPt>
          <c:dPt>
            <c:idx val="7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F-6564-4F45-8560-A14789827587}"/>
              </c:ext>
            </c:extLst>
          </c:dPt>
          <c:dPt>
            <c:idx val="7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0-6564-4F45-8560-A14789827587}"/>
              </c:ext>
            </c:extLst>
          </c:dPt>
          <c:dPt>
            <c:idx val="7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1-6564-4F45-8560-A14789827587}"/>
              </c:ext>
            </c:extLst>
          </c:dPt>
          <c:dPt>
            <c:idx val="7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2-6564-4F45-8560-A14789827587}"/>
              </c:ext>
            </c:extLst>
          </c:dPt>
          <c:dPt>
            <c:idx val="7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3-6564-4F45-8560-A14789827587}"/>
              </c:ext>
            </c:extLst>
          </c:dPt>
          <c:dPt>
            <c:idx val="7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4-6564-4F45-8560-A14789827587}"/>
              </c:ext>
            </c:extLst>
          </c:dPt>
          <c:dPt>
            <c:idx val="7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5-6564-4F45-8560-A14789827587}"/>
              </c:ext>
            </c:extLst>
          </c:dPt>
          <c:dPt>
            <c:idx val="7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6-6564-4F45-8560-A14789827587}"/>
              </c:ext>
            </c:extLst>
          </c:dPt>
          <c:dPt>
            <c:idx val="7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7-6564-4F45-8560-A14789827587}"/>
              </c:ext>
            </c:extLst>
          </c:dPt>
          <c:dPt>
            <c:idx val="7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8-6564-4F45-8560-A14789827587}"/>
              </c:ext>
            </c:extLst>
          </c:dPt>
          <c:dPt>
            <c:idx val="7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9-6564-4F45-8560-A14789827587}"/>
              </c:ext>
            </c:extLst>
          </c:dPt>
          <c:dPt>
            <c:idx val="7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A-6564-4F45-8560-A14789827587}"/>
              </c:ext>
            </c:extLst>
          </c:dPt>
          <c:dPt>
            <c:idx val="7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B-6564-4F45-8560-A14789827587}"/>
              </c:ext>
            </c:extLst>
          </c:dPt>
          <c:dPt>
            <c:idx val="7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C-6564-4F45-8560-A14789827587}"/>
              </c:ext>
            </c:extLst>
          </c:dPt>
          <c:dPt>
            <c:idx val="7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D-6564-4F45-8560-A14789827587}"/>
              </c:ext>
            </c:extLst>
          </c:dPt>
          <c:dPt>
            <c:idx val="7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E-6564-4F45-8560-A14789827587}"/>
              </c:ext>
            </c:extLst>
          </c:dPt>
          <c:dPt>
            <c:idx val="7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F-6564-4F45-8560-A14789827587}"/>
              </c:ext>
            </c:extLst>
          </c:dPt>
          <c:dPt>
            <c:idx val="7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0-6564-4F45-8560-A14789827587}"/>
              </c:ext>
            </c:extLst>
          </c:dPt>
          <c:dPt>
            <c:idx val="7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1-6564-4F45-8560-A14789827587}"/>
              </c:ext>
            </c:extLst>
          </c:dPt>
          <c:dPt>
            <c:idx val="7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2-6564-4F45-8560-A14789827587}"/>
              </c:ext>
            </c:extLst>
          </c:dPt>
          <c:dPt>
            <c:idx val="7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3-6564-4F45-8560-A14789827587}"/>
              </c:ext>
            </c:extLst>
          </c:dPt>
          <c:dPt>
            <c:idx val="7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4-6564-4F45-8560-A14789827587}"/>
              </c:ext>
            </c:extLst>
          </c:dPt>
          <c:dPt>
            <c:idx val="7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5-6564-4F45-8560-A14789827587}"/>
              </c:ext>
            </c:extLst>
          </c:dPt>
          <c:dPt>
            <c:idx val="7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6-6564-4F45-8560-A14789827587}"/>
              </c:ext>
            </c:extLst>
          </c:dPt>
          <c:dPt>
            <c:idx val="7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7-6564-4F45-8560-A14789827587}"/>
              </c:ext>
            </c:extLst>
          </c:dPt>
          <c:dPt>
            <c:idx val="7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8-6564-4F45-8560-A14789827587}"/>
              </c:ext>
            </c:extLst>
          </c:dPt>
          <c:dPt>
            <c:idx val="7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9-6564-4F45-8560-A14789827587}"/>
              </c:ext>
            </c:extLst>
          </c:dPt>
          <c:dPt>
            <c:idx val="7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A-6564-4F45-8560-A14789827587}"/>
              </c:ext>
            </c:extLst>
          </c:dPt>
          <c:dPt>
            <c:idx val="7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B-6564-4F45-8560-A14789827587}"/>
              </c:ext>
            </c:extLst>
          </c:dPt>
          <c:dPt>
            <c:idx val="7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C-6564-4F45-8560-A14789827587}"/>
              </c:ext>
            </c:extLst>
          </c:dPt>
          <c:dPt>
            <c:idx val="7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D-6564-4F45-8560-A14789827587}"/>
              </c:ext>
            </c:extLst>
          </c:dPt>
          <c:dPt>
            <c:idx val="7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E-6564-4F45-8560-A14789827587}"/>
              </c:ext>
            </c:extLst>
          </c:dPt>
          <c:dPt>
            <c:idx val="7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F-6564-4F45-8560-A14789827587}"/>
              </c:ext>
            </c:extLst>
          </c:dPt>
          <c:dPt>
            <c:idx val="7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0-6564-4F45-8560-A14789827587}"/>
              </c:ext>
            </c:extLst>
          </c:dPt>
          <c:dPt>
            <c:idx val="7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1-6564-4F45-8560-A14789827587}"/>
              </c:ext>
            </c:extLst>
          </c:dPt>
          <c:dPt>
            <c:idx val="7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2-6564-4F45-8560-A14789827587}"/>
              </c:ext>
            </c:extLst>
          </c:dPt>
          <c:dPt>
            <c:idx val="7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3-6564-4F45-8560-A14789827587}"/>
              </c:ext>
            </c:extLst>
          </c:dPt>
          <c:dPt>
            <c:idx val="7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4-6564-4F45-8560-A14789827587}"/>
              </c:ext>
            </c:extLst>
          </c:dPt>
          <c:dPt>
            <c:idx val="7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5-6564-4F45-8560-A14789827587}"/>
              </c:ext>
            </c:extLst>
          </c:dPt>
          <c:dPt>
            <c:idx val="7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6-6564-4F45-8560-A14789827587}"/>
              </c:ext>
            </c:extLst>
          </c:dPt>
          <c:dPt>
            <c:idx val="7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7-6564-4F45-8560-A14789827587}"/>
              </c:ext>
            </c:extLst>
          </c:dPt>
          <c:dPt>
            <c:idx val="7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8-6564-4F45-8560-A14789827587}"/>
              </c:ext>
            </c:extLst>
          </c:dPt>
          <c:dPt>
            <c:idx val="8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9-6564-4F45-8560-A14789827587}"/>
              </c:ext>
            </c:extLst>
          </c:dPt>
          <c:dPt>
            <c:idx val="8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A-6564-4F45-8560-A14789827587}"/>
              </c:ext>
            </c:extLst>
          </c:dPt>
          <c:dPt>
            <c:idx val="8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B-6564-4F45-8560-A14789827587}"/>
              </c:ext>
            </c:extLst>
          </c:dPt>
          <c:dPt>
            <c:idx val="8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C-6564-4F45-8560-A14789827587}"/>
              </c:ext>
            </c:extLst>
          </c:dPt>
          <c:dPt>
            <c:idx val="8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D-6564-4F45-8560-A14789827587}"/>
              </c:ext>
            </c:extLst>
          </c:dPt>
          <c:dPt>
            <c:idx val="8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E-6564-4F45-8560-A14789827587}"/>
              </c:ext>
            </c:extLst>
          </c:dPt>
          <c:dPt>
            <c:idx val="8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F-6564-4F45-8560-A14789827587}"/>
              </c:ext>
            </c:extLst>
          </c:dPt>
          <c:dPt>
            <c:idx val="8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0-6564-4F45-8560-A14789827587}"/>
              </c:ext>
            </c:extLst>
          </c:dPt>
          <c:dPt>
            <c:idx val="8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1-6564-4F45-8560-A14789827587}"/>
              </c:ext>
            </c:extLst>
          </c:dPt>
          <c:dPt>
            <c:idx val="8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2-6564-4F45-8560-A14789827587}"/>
              </c:ext>
            </c:extLst>
          </c:dPt>
          <c:dPt>
            <c:idx val="8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3-6564-4F45-8560-A14789827587}"/>
              </c:ext>
            </c:extLst>
          </c:dPt>
          <c:dPt>
            <c:idx val="8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4-6564-4F45-8560-A14789827587}"/>
              </c:ext>
            </c:extLst>
          </c:dPt>
          <c:dPt>
            <c:idx val="8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5-6564-4F45-8560-A14789827587}"/>
              </c:ext>
            </c:extLst>
          </c:dPt>
          <c:dPt>
            <c:idx val="8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6-6564-4F45-8560-A14789827587}"/>
              </c:ext>
            </c:extLst>
          </c:dPt>
          <c:dPt>
            <c:idx val="8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7-6564-4F45-8560-A14789827587}"/>
              </c:ext>
            </c:extLst>
          </c:dPt>
          <c:dPt>
            <c:idx val="8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8-6564-4F45-8560-A14789827587}"/>
              </c:ext>
            </c:extLst>
          </c:dPt>
          <c:dPt>
            <c:idx val="8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9-6564-4F45-8560-A14789827587}"/>
              </c:ext>
            </c:extLst>
          </c:dPt>
          <c:dPt>
            <c:idx val="8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A-6564-4F45-8560-A14789827587}"/>
              </c:ext>
            </c:extLst>
          </c:dPt>
          <c:dPt>
            <c:idx val="8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B-6564-4F45-8560-A14789827587}"/>
              </c:ext>
            </c:extLst>
          </c:dPt>
          <c:dPt>
            <c:idx val="8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C-6564-4F45-8560-A14789827587}"/>
              </c:ext>
            </c:extLst>
          </c:dPt>
          <c:dPt>
            <c:idx val="8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D-6564-4F45-8560-A14789827587}"/>
              </c:ext>
            </c:extLst>
          </c:dPt>
          <c:dPt>
            <c:idx val="8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E-6564-4F45-8560-A14789827587}"/>
              </c:ext>
            </c:extLst>
          </c:dPt>
          <c:dPt>
            <c:idx val="8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F-6564-4F45-8560-A14789827587}"/>
              </c:ext>
            </c:extLst>
          </c:dPt>
          <c:dPt>
            <c:idx val="8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0-6564-4F45-8560-A14789827587}"/>
              </c:ext>
            </c:extLst>
          </c:dPt>
          <c:dPt>
            <c:idx val="8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1-6564-4F45-8560-A14789827587}"/>
              </c:ext>
            </c:extLst>
          </c:dPt>
          <c:dPt>
            <c:idx val="8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2-6564-4F45-8560-A14789827587}"/>
              </c:ext>
            </c:extLst>
          </c:dPt>
          <c:dPt>
            <c:idx val="8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3-6564-4F45-8560-A14789827587}"/>
              </c:ext>
            </c:extLst>
          </c:dPt>
          <c:dPt>
            <c:idx val="8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4-6564-4F45-8560-A14789827587}"/>
              </c:ext>
            </c:extLst>
          </c:dPt>
          <c:dPt>
            <c:idx val="8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5-6564-4F45-8560-A14789827587}"/>
              </c:ext>
            </c:extLst>
          </c:dPt>
          <c:dPt>
            <c:idx val="8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6-6564-4F45-8560-A14789827587}"/>
              </c:ext>
            </c:extLst>
          </c:dPt>
          <c:dPt>
            <c:idx val="8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7-6564-4F45-8560-A14789827587}"/>
              </c:ext>
            </c:extLst>
          </c:dPt>
          <c:dPt>
            <c:idx val="8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8-6564-4F45-8560-A14789827587}"/>
              </c:ext>
            </c:extLst>
          </c:dPt>
          <c:dPt>
            <c:idx val="8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9-6564-4F45-8560-A14789827587}"/>
              </c:ext>
            </c:extLst>
          </c:dPt>
          <c:dPt>
            <c:idx val="8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A-6564-4F45-8560-A14789827587}"/>
              </c:ext>
            </c:extLst>
          </c:dPt>
          <c:dPt>
            <c:idx val="8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B-6564-4F45-8560-A14789827587}"/>
              </c:ext>
            </c:extLst>
          </c:dPt>
          <c:dPt>
            <c:idx val="8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C-6564-4F45-8560-A14789827587}"/>
              </c:ext>
            </c:extLst>
          </c:dPt>
          <c:dPt>
            <c:idx val="8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D-6564-4F45-8560-A14789827587}"/>
              </c:ext>
            </c:extLst>
          </c:dPt>
          <c:dPt>
            <c:idx val="8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E-6564-4F45-8560-A14789827587}"/>
              </c:ext>
            </c:extLst>
          </c:dPt>
          <c:dPt>
            <c:idx val="8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F-6564-4F45-8560-A14789827587}"/>
              </c:ext>
            </c:extLst>
          </c:dPt>
          <c:dPt>
            <c:idx val="8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0-6564-4F45-8560-A14789827587}"/>
              </c:ext>
            </c:extLst>
          </c:dPt>
          <c:dPt>
            <c:idx val="8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1-6564-4F45-8560-A14789827587}"/>
              </c:ext>
            </c:extLst>
          </c:dPt>
          <c:dPt>
            <c:idx val="8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2-6564-4F45-8560-A14789827587}"/>
              </c:ext>
            </c:extLst>
          </c:dPt>
          <c:dPt>
            <c:idx val="8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3-6564-4F45-8560-A14789827587}"/>
              </c:ext>
            </c:extLst>
          </c:dPt>
          <c:dPt>
            <c:idx val="8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4-6564-4F45-8560-A14789827587}"/>
              </c:ext>
            </c:extLst>
          </c:dPt>
          <c:dPt>
            <c:idx val="8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5-6564-4F45-8560-A14789827587}"/>
              </c:ext>
            </c:extLst>
          </c:dPt>
          <c:dPt>
            <c:idx val="8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6-6564-4F45-8560-A14789827587}"/>
              </c:ext>
            </c:extLst>
          </c:dPt>
          <c:dPt>
            <c:idx val="8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7-6564-4F45-8560-A14789827587}"/>
              </c:ext>
            </c:extLst>
          </c:dPt>
          <c:dPt>
            <c:idx val="8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8-6564-4F45-8560-A14789827587}"/>
              </c:ext>
            </c:extLst>
          </c:dPt>
          <c:dPt>
            <c:idx val="8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9-6564-4F45-8560-A14789827587}"/>
              </c:ext>
            </c:extLst>
          </c:dPt>
          <c:dPt>
            <c:idx val="8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A-6564-4F45-8560-A14789827587}"/>
              </c:ext>
            </c:extLst>
          </c:dPt>
          <c:dPt>
            <c:idx val="8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B-6564-4F45-8560-A14789827587}"/>
              </c:ext>
            </c:extLst>
          </c:dPt>
          <c:dPt>
            <c:idx val="8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C-6564-4F45-8560-A14789827587}"/>
              </c:ext>
            </c:extLst>
          </c:dPt>
          <c:dPt>
            <c:idx val="8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D-6564-4F45-8560-A14789827587}"/>
              </c:ext>
            </c:extLst>
          </c:dPt>
          <c:dPt>
            <c:idx val="8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E-6564-4F45-8560-A14789827587}"/>
              </c:ext>
            </c:extLst>
          </c:dPt>
          <c:dPt>
            <c:idx val="8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F-6564-4F45-8560-A14789827587}"/>
              </c:ext>
            </c:extLst>
          </c:dPt>
          <c:dPt>
            <c:idx val="8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0-6564-4F45-8560-A14789827587}"/>
              </c:ext>
            </c:extLst>
          </c:dPt>
          <c:dPt>
            <c:idx val="8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1-6564-4F45-8560-A14789827587}"/>
              </c:ext>
            </c:extLst>
          </c:dPt>
          <c:dPt>
            <c:idx val="8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2-6564-4F45-8560-A14789827587}"/>
              </c:ext>
            </c:extLst>
          </c:dPt>
          <c:dPt>
            <c:idx val="8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3-6564-4F45-8560-A14789827587}"/>
              </c:ext>
            </c:extLst>
          </c:dPt>
          <c:dPt>
            <c:idx val="8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4-6564-4F45-8560-A14789827587}"/>
              </c:ext>
            </c:extLst>
          </c:dPt>
          <c:dPt>
            <c:idx val="8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5-6564-4F45-8560-A14789827587}"/>
              </c:ext>
            </c:extLst>
          </c:dPt>
          <c:dPt>
            <c:idx val="8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6-6564-4F45-8560-A14789827587}"/>
              </c:ext>
            </c:extLst>
          </c:dPt>
          <c:dPt>
            <c:idx val="8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7-6564-4F45-8560-A14789827587}"/>
              </c:ext>
            </c:extLst>
          </c:dPt>
          <c:dPt>
            <c:idx val="8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8-6564-4F45-8560-A14789827587}"/>
              </c:ext>
            </c:extLst>
          </c:dPt>
          <c:dPt>
            <c:idx val="8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9-6564-4F45-8560-A14789827587}"/>
              </c:ext>
            </c:extLst>
          </c:dPt>
          <c:dPt>
            <c:idx val="8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A-6564-4F45-8560-A14789827587}"/>
              </c:ext>
            </c:extLst>
          </c:dPt>
          <c:dPt>
            <c:idx val="8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B-6564-4F45-8560-A14789827587}"/>
              </c:ext>
            </c:extLst>
          </c:dPt>
          <c:dPt>
            <c:idx val="8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C-6564-4F45-8560-A14789827587}"/>
              </c:ext>
            </c:extLst>
          </c:dPt>
          <c:dPt>
            <c:idx val="8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D-6564-4F45-8560-A14789827587}"/>
              </c:ext>
            </c:extLst>
          </c:dPt>
          <c:dPt>
            <c:idx val="8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E-6564-4F45-8560-A14789827587}"/>
              </c:ext>
            </c:extLst>
          </c:dPt>
          <c:dPt>
            <c:idx val="8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F-6564-4F45-8560-A14789827587}"/>
              </c:ext>
            </c:extLst>
          </c:dPt>
          <c:dPt>
            <c:idx val="8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0-6564-4F45-8560-A14789827587}"/>
              </c:ext>
            </c:extLst>
          </c:dPt>
          <c:dPt>
            <c:idx val="8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1-6564-4F45-8560-A14789827587}"/>
              </c:ext>
            </c:extLst>
          </c:dPt>
          <c:dPt>
            <c:idx val="8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2-6564-4F45-8560-A14789827587}"/>
              </c:ext>
            </c:extLst>
          </c:dPt>
          <c:dPt>
            <c:idx val="8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3-6564-4F45-8560-A14789827587}"/>
              </c:ext>
            </c:extLst>
          </c:dPt>
          <c:dPt>
            <c:idx val="8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4-6564-4F45-8560-A14789827587}"/>
              </c:ext>
            </c:extLst>
          </c:dPt>
          <c:dPt>
            <c:idx val="8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5-6564-4F45-8560-A14789827587}"/>
              </c:ext>
            </c:extLst>
          </c:dPt>
          <c:dPt>
            <c:idx val="8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6-6564-4F45-8560-A14789827587}"/>
              </c:ext>
            </c:extLst>
          </c:dPt>
          <c:dPt>
            <c:idx val="8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7-6564-4F45-8560-A14789827587}"/>
              </c:ext>
            </c:extLst>
          </c:dPt>
          <c:dPt>
            <c:idx val="8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8-6564-4F45-8560-A14789827587}"/>
              </c:ext>
            </c:extLst>
          </c:dPt>
          <c:dPt>
            <c:idx val="8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9-6564-4F45-8560-A14789827587}"/>
              </c:ext>
            </c:extLst>
          </c:dPt>
          <c:dPt>
            <c:idx val="8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A-6564-4F45-8560-A14789827587}"/>
              </c:ext>
            </c:extLst>
          </c:dPt>
          <c:dPt>
            <c:idx val="8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B-6564-4F45-8560-A14789827587}"/>
              </c:ext>
            </c:extLst>
          </c:dPt>
          <c:dPt>
            <c:idx val="8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C-6564-4F45-8560-A14789827587}"/>
              </c:ext>
            </c:extLst>
          </c:dPt>
          <c:dPt>
            <c:idx val="8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D-6564-4F45-8560-A14789827587}"/>
              </c:ext>
            </c:extLst>
          </c:dPt>
          <c:dPt>
            <c:idx val="8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E-6564-4F45-8560-A14789827587}"/>
              </c:ext>
            </c:extLst>
          </c:dPt>
          <c:dPt>
            <c:idx val="8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F-6564-4F45-8560-A14789827587}"/>
              </c:ext>
            </c:extLst>
          </c:dPt>
          <c:dPt>
            <c:idx val="8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0-6564-4F45-8560-A14789827587}"/>
              </c:ext>
            </c:extLst>
          </c:dPt>
          <c:dPt>
            <c:idx val="8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1-6564-4F45-8560-A14789827587}"/>
              </c:ext>
            </c:extLst>
          </c:dPt>
          <c:dPt>
            <c:idx val="8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2-6564-4F45-8560-A14789827587}"/>
              </c:ext>
            </c:extLst>
          </c:dPt>
          <c:dPt>
            <c:idx val="8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3-6564-4F45-8560-A14789827587}"/>
              </c:ext>
            </c:extLst>
          </c:dPt>
          <c:dPt>
            <c:idx val="8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4-6564-4F45-8560-A14789827587}"/>
              </c:ext>
            </c:extLst>
          </c:dPt>
          <c:dPt>
            <c:idx val="8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5-6564-4F45-8560-A14789827587}"/>
              </c:ext>
            </c:extLst>
          </c:dPt>
          <c:cat>
            <c:numRef>
              <c:f>USA!$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USA!$EB$9:$EB$901</c:f>
              <c:numCache>
                <c:formatCode>0.00</c:formatCode>
                <c:ptCount val="893"/>
                <c:pt idx="0">
                  <c:v>23.979437737702789</c:v>
                </c:pt>
                <c:pt idx="1">
                  <c:v>23.979437737702789</c:v>
                </c:pt>
                <c:pt idx="2">
                  <c:v>23.979437737702789</c:v>
                </c:pt>
                <c:pt idx="3">
                  <c:v>23.979437737702789</c:v>
                </c:pt>
                <c:pt idx="4">
                  <c:v>23.979437737702789</c:v>
                </c:pt>
                <c:pt idx="5">
                  <c:v>23.979437737702789</c:v>
                </c:pt>
                <c:pt idx="6">
                  <c:v>23.979437737702789</c:v>
                </c:pt>
                <c:pt idx="7">
                  <c:v>23.979437737702789</c:v>
                </c:pt>
                <c:pt idx="8">
                  <c:v>23.979437737702789</c:v>
                </c:pt>
                <c:pt idx="9">
                  <c:v>23.979437737702789</c:v>
                </c:pt>
                <c:pt idx="10">
                  <c:v>23.979437737702789</c:v>
                </c:pt>
                <c:pt idx="11">
                  <c:v>23.979437737702789</c:v>
                </c:pt>
                <c:pt idx="12">
                  <c:v>23.979437737702789</c:v>
                </c:pt>
                <c:pt idx="13">
                  <c:v>23.979437737702789</c:v>
                </c:pt>
                <c:pt idx="14">
                  <c:v>23.979437737702789</c:v>
                </c:pt>
                <c:pt idx="15">
                  <c:v>23.979437737702789</c:v>
                </c:pt>
                <c:pt idx="16">
                  <c:v>23.979437737702789</c:v>
                </c:pt>
                <c:pt idx="17">
                  <c:v>23.979437737702789</c:v>
                </c:pt>
                <c:pt idx="18">
                  <c:v>23.979437737702789</c:v>
                </c:pt>
                <c:pt idx="19">
                  <c:v>23.979437737702789</c:v>
                </c:pt>
                <c:pt idx="20">
                  <c:v>23.979437737702789</c:v>
                </c:pt>
                <c:pt idx="21">
                  <c:v>23.979437737702789</c:v>
                </c:pt>
                <c:pt idx="22">
                  <c:v>23.979437737702789</c:v>
                </c:pt>
                <c:pt idx="23">
                  <c:v>23.979437737702789</c:v>
                </c:pt>
                <c:pt idx="24">
                  <c:v>23.979437737702789</c:v>
                </c:pt>
                <c:pt idx="25">
                  <c:v>23.979437737702789</c:v>
                </c:pt>
                <c:pt idx="26">
                  <c:v>23.979437737702789</c:v>
                </c:pt>
                <c:pt idx="27">
                  <c:v>23.979437737702789</c:v>
                </c:pt>
                <c:pt idx="28">
                  <c:v>23.979437737702789</c:v>
                </c:pt>
                <c:pt idx="29">
                  <c:v>23.979437737702789</c:v>
                </c:pt>
                <c:pt idx="30">
                  <c:v>23.979437737702789</c:v>
                </c:pt>
                <c:pt idx="31">
                  <c:v>23.979437737702789</c:v>
                </c:pt>
                <c:pt idx="32">
                  <c:v>23.979437737702789</c:v>
                </c:pt>
                <c:pt idx="33">
                  <c:v>23.979437737702789</c:v>
                </c:pt>
                <c:pt idx="34">
                  <c:v>23.979437737702789</c:v>
                </c:pt>
                <c:pt idx="35">
                  <c:v>23.979437737702789</c:v>
                </c:pt>
                <c:pt idx="36">
                  <c:v>23.979437737702789</c:v>
                </c:pt>
                <c:pt idx="37">
                  <c:v>23.979437737702789</c:v>
                </c:pt>
                <c:pt idx="38">
                  <c:v>23.979437737702789</c:v>
                </c:pt>
                <c:pt idx="39">
                  <c:v>23.979437737702789</c:v>
                </c:pt>
                <c:pt idx="40">
                  <c:v>23.979437737702789</c:v>
                </c:pt>
                <c:pt idx="41">
                  <c:v>23.979437737702789</c:v>
                </c:pt>
                <c:pt idx="42">
                  <c:v>23.979437737702789</c:v>
                </c:pt>
                <c:pt idx="43">
                  <c:v>23.979437737702789</c:v>
                </c:pt>
                <c:pt idx="44">
                  <c:v>23.979437737702789</c:v>
                </c:pt>
                <c:pt idx="45">
                  <c:v>23.979437737702789</c:v>
                </c:pt>
                <c:pt idx="46">
                  <c:v>23.979437737702789</c:v>
                </c:pt>
                <c:pt idx="47">
                  <c:v>23.979437737702789</c:v>
                </c:pt>
                <c:pt idx="48">
                  <c:v>23.979437737702789</c:v>
                </c:pt>
                <c:pt idx="49">
                  <c:v>23.979437737702789</c:v>
                </c:pt>
                <c:pt idx="50">
                  <c:v>23.979437737702789</c:v>
                </c:pt>
                <c:pt idx="51">
                  <c:v>23.979437737702789</c:v>
                </c:pt>
                <c:pt idx="52">
                  <c:v>23.979437737702789</c:v>
                </c:pt>
                <c:pt idx="53">
                  <c:v>23.979437737702789</c:v>
                </c:pt>
                <c:pt idx="54">
                  <c:v>23.979437737702789</c:v>
                </c:pt>
                <c:pt idx="55">
                  <c:v>23.979437737702789</c:v>
                </c:pt>
                <c:pt idx="56">
                  <c:v>23.979437737702789</c:v>
                </c:pt>
                <c:pt idx="57">
                  <c:v>23.979437737702789</c:v>
                </c:pt>
                <c:pt idx="58">
                  <c:v>23.979437737702789</c:v>
                </c:pt>
                <c:pt idx="59">
                  <c:v>23.979437737702789</c:v>
                </c:pt>
                <c:pt idx="60">
                  <c:v>23.979437737702789</c:v>
                </c:pt>
                <c:pt idx="61">
                  <c:v>23.979437737702789</c:v>
                </c:pt>
                <c:pt idx="62">
                  <c:v>23.979437737702789</c:v>
                </c:pt>
                <c:pt idx="63">
                  <c:v>23.979437737702789</c:v>
                </c:pt>
                <c:pt idx="64">
                  <c:v>23.979437737702789</c:v>
                </c:pt>
                <c:pt idx="65">
                  <c:v>23.979437737702789</c:v>
                </c:pt>
                <c:pt idx="66">
                  <c:v>23.979437737702789</c:v>
                </c:pt>
                <c:pt idx="67">
                  <c:v>23.979437737702789</c:v>
                </c:pt>
                <c:pt idx="68">
                  <c:v>23.979437737702789</c:v>
                </c:pt>
                <c:pt idx="69">
                  <c:v>23.979437737702789</c:v>
                </c:pt>
                <c:pt idx="70">
                  <c:v>23.979437737702789</c:v>
                </c:pt>
                <c:pt idx="71">
                  <c:v>23.979437737702789</c:v>
                </c:pt>
                <c:pt idx="72">
                  <c:v>23.979437737702789</c:v>
                </c:pt>
                <c:pt idx="73">
                  <c:v>23.979437737702789</c:v>
                </c:pt>
                <c:pt idx="74">
                  <c:v>23.979437737702789</c:v>
                </c:pt>
                <c:pt idx="75">
                  <c:v>23.979437737702789</c:v>
                </c:pt>
                <c:pt idx="76">
                  <c:v>23.979437737702789</c:v>
                </c:pt>
                <c:pt idx="77">
                  <c:v>23.979437737702789</c:v>
                </c:pt>
                <c:pt idx="78">
                  <c:v>23.979437737702789</c:v>
                </c:pt>
                <c:pt idx="79">
                  <c:v>23.979437737702789</c:v>
                </c:pt>
                <c:pt idx="80">
                  <c:v>23.979437737702789</c:v>
                </c:pt>
                <c:pt idx="81">
                  <c:v>23.979437737702789</c:v>
                </c:pt>
                <c:pt idx="82">
                  <c:v>23.979437737702789</c:v>
                </c:pt>
                <c:pt idx="83">
                  <c:v>23.979437737702789</c:v>
                </c:pt>
                <c:pt idx="84">
                  <c:v>23.979437737702789</c:v>
                </c:pt>
                <c:pt idx="85">
                  <c:v>23.979437737702789</c:v>
                </c:pt>
                <c:pt idx="86">
                  <c:v>23.979437737702789</c:v>
                </c:pt>
                <c:pt idx="87">
                  <c:v>23.979437737702789</c:v>
                </c:pt>
                <c:pt idx="88">
                  <c:v>23.979437737702789</c:v>
                </c:pt>
                <c:pt idx="89">
                  <c:v>23.979437737702789</c:v>
                </c:pt>
                <c:pt idx="90">
                  <c:v>23.979437737702789</c:v>
                </c:pt>
                <c:pt idx="91">
                  <c:v>23.979437737702789</c:v>
                </c:pt>
                <c:pt idx="92">
                  <c:v>23.979437737702789</c:v>
                </c:pt>
                <c:pt idx="93">
                  <c:v>23.979437737702789</c:v>
                </c:pt>
                <c:pt idx="94">
                  <c:v>23.979437737702789</c:v>
                </c:pt>
                <c:pt idx="95">
                  <c:v>23.979437737702789</c:v>
                </c:pt>
                <c:pt idx="96">
                  <c:v>23.979437737702789</c:v>
                </c:pt>
                <c:pt idx="97">
                  <c:v>23.979437737702789</c:v>
                </c:pt>
                <c:pt idx="98">
                  <c:v>23.979437737702789</c:v>
                </c:pt>
                <c:pt idx="99">
                  <c:v>23.979437737702789</c:v>
                </c:pt>
                <c:pt idx="100">
                  <c:v>23.979437737702789</c:v>
                </c:pt>
                <c:pt idx="101">
                  <c:v>23.979437737702789</c:v>
                </c:pt>
                <c:pt idx="102">
                  <c:v>23.979437737702789</c:v>
                </c:pt>
                <c:pt idx="103">
                  <c:v>23.979437737702789</c:v>
                </c:pt>
                <c:pt idx="104">
                  <c:v>23.979437737702789</c:v>
                </c:pt>
                <c:pt idx="105">
                  <c:v>23.979437737702789</c:v>
                </c:pt>
                <c:pt idx="106">
                  <c:v>23.979437737702789</c:v>
                </c:pt>
                <c:pt idx="107">
                  <c:v>23.979437737702789</c:v>
                </c:pt>
                <c:pt idx="108">
                  <c:v>23.979437737702789</c:v>
                </c:pt>
                <c:pt idx="109">
                  <c:v>23.979437737702789</c:v>
                </c:pt>
                <c:pt idx="110">
                  <c:v>23.979437737702789</c:v>
                </c:pt>
                <c:pt idx="111">
                  <c:v>23.979437737702789</c:v>
                </c:pt>
                <c:pt idx="112">
                  <c:v>23.979437737702789</c:v>
                </c:pt>
                <c:pt idx="113">
                  <c:v>23.979437737702789</c:v>
                </c:pt>
                <c:pt idx="114">
                  <c:v>23.979437737702789</c:v>
                </c:pt>
                <c:pt idx="115">
                  <c:v>23.979437737702789</c:v>
                </c:pt>
                <c:pt idx="116">
                  <c:v>23.979437737702789</c:v>
                </c:pt>
                <c:pt idx="117">
                  <c:v>23.979437737702789</c:v>
                </c:pt>
                <c:pt idx="118">
                  <c:v>23.979437737702789</c:v>
                </c:pt>
                <c:pt idx="119">
                  <c:v>23.979437737702789</c:v>
                </c:pt>
                <c:pt idx="120">
                  <c:v>23.979437737702789</c:v>
                </c:pt>
                <c:pt idx="121">
                  <c:v>23.979437737702789</c:v>
                </c:pt>
                <c:pt idx="122">
                  <c:v>23.979437737702789</c:v>
                </c:pt>
                <c:pt idx="123">
                  <c:v>23.979437737702789</c:v>
                </c:pt>
                <c:pt idx="124">
                  <c:v>23.979437737702789</c:v>
                </c:pt>
                <c:pt idx="125">
                  <c:v>23.979437737702789</c:v>
                </c:pt>
                <c:pt idx="126">
                  <c:v>23.979437737702789</c:v>
                </c:pt>
                <c:pt idx="127">
                  <c:v>23.979437737702789</c:v>
                </c:pt>
                <c:pt idx="128">
                  <c:v>23.979437737702789</c:v>
                </c:pt>
                <c:pt idx="129">
                  <c:v>23.979437737702789</c:v>
                </c:pt>
                <c:pt idx="130">
                  <c:v>23.979437737702789</c:v>
                </c:pt>
                <c:pt idx="131">
                  <c:v>23.979437737702789</c:v>
                </c:pt>
                <c:pt idx="132">
                  <c:v>23.979437737702789</c:v>
                </c:pt>
                <c:pt idx="133">
                  <c:v>23.979437737702789</c:v>
                </c:pt>
                <c:pt idx="134">
                  <c:v>23.979437737702789</c:v>
                </c:pt>
                <c:pt idx="135">
                  <c:v>23.979437737702789</c:v>
                </c:pt>
                <c:pt idx="136">
                  <c:v>23.979437737702789</c:v>
                </c:pt>
                <c:pt idx="137">
                  <c:v>23.979437737702789</c:v>
                </c:pt>
                <c:pt idx="138">
                  <c:v>23.979437737702789</c:v>
                </c:pt>
                <c:pt idx="139">
                  <c:v>23.979437737702789</c:v>
                </c:pt>
                <c:pt idx="140">
                  <c:v>23.979437737702789</c:v>
                </c:pt>
                <c:pt idx="141">
                  <c:v>23.979437737702789</c:v>
                </c:pt>
                <c:pt idx="142">
                  <c:v>23.979437737702789</c:v>
                </c:pt>
                <c:pt idx="143">
                  <c:v>23.979437737702789</c:v>
                </c:pt>
                <c:pt idx="144">
                  <c:v>23.979437737702789</c:v>
                </c:pt>
                <c:pt idx="145">
                  <c:v>23.979437737702789</c:v>
                </c:pt>
                <c:pt idx="146">
                  <c:v>23.979437737702789</c:v>
                </c:pt>
                <c:pt idx="147">
                  <c:v>23.979437737702789</c:v>
                </c:pt>
                <c:pt idx="148">
                  <c:v>23.979437737702789</c:v>
                </c:pt>
                <c:pt idx="149">
                  <c:v>23.979437737702789</c:v>
                </c:pt>
                <c:pt idx="150">
                  <c:v>23.979437737702789</c:v>
                </c:pt>
                <c:pt idx="151">
                  <c:v>23.979437737702789</c:v>
                </c:pt>
                <c:pt idx="152">
                  <c:v>23.979437737702789</c:v>
                </c:pt>
                <c:pt idx="153">
                  <c:v>23.979437737702789</c:v>
                </c:pt>
                <c:pt idx="154">
                  <c:v>23.979437737702789</c:v>
                </c:pt>
                <c:pt idx="155">
                  <c:v>23.979437737702789</c:v>
                </c:pt>
                <c:pt idx="156">
                  <c:v>23.979437737702789</c:v>
                </c:pt>
                <c:pt idx="157">
                  <c:v>23.979437737702789</c:v>
                </c:pt>
                <c:pt idx="158">
                  <c:v>23.979437737702789</c:v>
                </c:pt>
                <c:pt idx="159">
                  <c:v>23.979437737702789</c:v>
                </c:pt>
                <c:pt idx="160">
                  <c:v>23.979437737702789</c:v>
                </c:pt>
                <c:pt idx="161">
                  <c:v>23.979437737702789</c:v>
                </c:pt>
                <c:pt idx="162">
                  <c:v>23.979437737702789</c:v>
                </c:pt>
                <c:pt idx="163">
                  <c:v>23.979437737702789</c:v>
                </c:pt>
                <c:pt idx="164">
                  <c:v>23.979437737702789</c:v>
                </c:pt>
                <c:pt idx="165">
                  <c:v>23.979437737702789</c:v>
                </c:pt>
                <c:pt idx="166">
                  <c:v>23.979437737702789</c:v>
                </c:pt>
                <c:pt idx="167">
                  <c:v>23.979437737702789</c:v>
                </c:pt>
                <c:pt idx="168">
                  <c:v>23.979437737702789</c:v>
                </c:pt>
                <c:pt idx="169">
                  <c:v>23.979437737702789</c:v>
                </c:pt>
                <c:pt idx="170">
                  <c:v>23.979437737702789</c:v>
                </c:pt>
                <c:pt idx="171">
                  <c:v>23.979437737702789</c:v>
                </c:pt>
                <c:pt idx="172">
                  <c:v>23.979437737702789</c:v>
                </c:pt>
                <c:pt idx="173">
                  <c:v>23.979437737702789</c:v>
                </c:pt>
                <c:pt idx="174">
                  <c:v>23.979437737702789</c:v>
                </c:pt>
                <c:pt idx="175">
                  <c:v>23.979437737702789</c:v>
                </c:pt>
                <c:pt idx="176">
                  <c:v>23.979437737702789</c:v>
                </c:pt>
                <c:pt idx="177">
                  <c:v>23.979437737702789</c:v>
                </c:pt>
                <c:pt idx="178">
                  <c:v>23.979437737702789</c:v>
                </c:pt>
                <c:pt idx="179">
                  <c:v>23.979437737702789</c:v>
                </c:pt>
                <c:pt idx="180">
                  <c:v>23.979437737702789</c:v>
                </c:pt>
                <c:pt idx="181">
                  <c:v>23.979437737702789</c:v>
                </c:pt>
                <c:pt idx="182">
                  <c:v>23.979437737702789</c:v>
                </c:pt>
                <c:pt idx="183">
                  <c:v>23.979437737702789</c:v>
                </c:pt>
                <c:pt idx="184">
                  <c:v>23.979437737702789</c:v>
                </c:pt>
                <c:pt idx="185">
                  <c:v>23.979437737702789</c:v>
                </c:pt>
                <c:pt idx="186">
                  <c:v>23.979437737702789</c:v>
                </c:pt>
                <c:pt idx="187">
                  <c:v>23.979437737702789</c:v>
                </c:pt>
                <c:pt idx="188">
                  <c:v>23.979437737702789</c:v>
                </c:pt>
                <c:pt idx="189">
                  <c:v>23.979437737702789</c:v>
                </c:pt>
                <c:pt idx="190">
                  <c:v>23.979437737702789</c:v>
                </c:pt>
                <c:pt idx="191">
                  <c:v>23.979437737702789</c:v>
                </c:pt>
                <c:pt idx="192">
                  <c:v>23.979437737702789</c:v>
                </c:pt>
                <c:pt idx="193">
                  <c:v>23.979437737702789</c:v>
                </c:pt>
                <c:pt idx="194">
                  <c:v>23.979437737702789</c:v>
                </c:pt>
                <c:pt idx="195">
                  <c:v>23.979437737702789</c:v>
                </c:pt>
                <c:pt idx="196">
                  <c:v>23.979437737702789</c:v>
                </c:pt>
                <c:pt idx="197">
                  <c:v>23.979437737702789</c:v>
                </c:pt>
                <c:pt idx="198">
                  <c:v>23.979437737702789</c:v>
                </c:pt>
                <c:pt idx="199">
                  <c:v>23.979437737702789</c:v>
                </c:pt>
                <c:pt idx="200">
                  <c:v>23.979437737702789</c:v>
                </c:pt>
                <c:pt idx="201">
                  <c:v>23.979437737702789</c:v>
                </c:pt>
                <c:pt idx="202">
                  <c:v>23.979437737702789</c:v>
                </c:pt>
                <c:pt idx="203">
                  <c:v>23.979437737702789</c:v>
                </c:pt>
                <c:pt idx="204">
                  <c:v>23.979437737702789</c:v>
                </c:pt>
                <c:pt idx="205">
                  <c:v>23.979437737702789</c:v>
                </c:pt>
                <c:pt idx="206">
                  <c:v>23.979437737702789</c:v>
                </c:pt>
                <c:pt idx="207">
                  <c:v>23.979437737702789</c:v>
                </c:pt>
                <c:pt idx="208">
                  <c:v>23.979437737702789</c:v>
                </c:pt>
                <c:pt idx="209">
                  <c:v>23.979437737702789</c:v>
                </c:pt>
                <c:pt idx="210">
                  <c:v>23.979437737702789</c:v>
                </c:pt>
                <c:pt idx="211">
                  <c:v>23.979437737702789</c:v>
                </c:pt>
                <c:pt idx="212">
                  <c:v>23.979437737702789</c:v>
                </c:pt>
                <c:pt idx="213">
                  <c:v>23.979437737702789</c:v>
                </c:pt>
                <c:pt idx="214">
                  <c:v>23.979437737702789</c:v>
                </c:pt>
                <c:pt idx="215">
                  <c:v>23.979437737702789</c:v>
                </c:pt>
                <c:pt idx="216">
                  <c:v>23.979437737702789</c:v>
                </c:pt>
                <c:pt idx="217">
                  <c:v>23.979437737702789</c:v>
                </c:pt>
                <c:pt idx="218">
                  <c:v>23.979437737702789</c:v>
                </c:pt>
                <c:pt idx="219">
                  <c:v>23.979437737702789</c:v>
                </c:pt>
                <c:pt idx="220">
                  <c:v>23.979437737702789</c:v>
                </c:pt>
                <c:pt idx="221">
                  <c:v>23.979437737702789</c:v>
                </c:pt>
                <c:pt idx="222">
                  <c:v>23.979437737702789</c:v>
                </c:pt>
                <c:pt idx="223">
                  <c:v>23.979437737702789</c:v>
                </c:pt>
                <c:pt idx="224">
                  <c:v>23.979437737702789</c:v>
                </c:pt>
                <c:pt idx="225">
                  <c:v>23.979437737702789</c:v>
                </c:pt>
                <c:pt idx="226">
                  <c:v>23.979437737702789</c:v>
                </c:pt>
                <c:pt idx="227">
                  <c:v>23.979437737702789</c:v>
                </c:pt>
                <c:pt idx="228">
                  <c:v>23.979437737702789</c:v>
                </c:pt>
                <c:pt idx="229">
                  <c:v>23.979437737702789</c:v>
                </c:pt>
                <c:pt idx="230">
                  <c:v>23.979437737702789</c:v>
                </c:pt>
                <c:pt idx="231">
                  <c:v>23.979437737702789</c:v>
                </c:pt>
                <c:pt idx="232">
                  <c:v>23.979437737702789</c:v>
                </c:pt>
                <c:pt idx="233">
                  <c:v>23.979437737702789</c:v>
                </c:pt>
                <c:pt idx="234">
                  <c:v>23.979437737702789</c:v>
                </c:pt>
                <c:pt idx="235">
                  <c:v>23.979437737702789</c:v>
                </c:pt>
                <c:pt idx="236">
                  <c:v>23.979437737702789</c:v>
                </c:pt>
                <c:pt idx="237">
                  <c:v>23.979437737702789</c:v>
                </c:pt>
                <c:pt idx="238">
                  <c:v>23.979437737702789</c:v>
                </c:pt>
                <c:pt idx="239">
                  <c:v>23.979437737702789</c:v>
                </c:pt>
                <c:pt idx="240">
                  <c:v>23.979437737702789</c:v>
                </c:pt>
                <c:pt idx="241">
                  <c:v>23.979437737702789</c:v>
                </c:pt>
                <c:pt idx="242">
                  <c:v>23.979437737702789</c:v>
                </c:pt>
                <c:pt idx="243">
                  <c:v>23.979437737702789</c:v>
                </c:pt>
                <c:pt idx="244">
                  <c:v>23.979437737702789</c:v>
                </c:pt>
                <c:pt idx="245">
                  <c:v>23.979437737702789</c:v>
                </c:pt>
                <c:pt idx="246">
                  <c:v>23.979437737702789</c:v>
                </c:pt>
                <c:pt idx="247">
                  <c:v>23.979437737702789</c:v>
                </c:pt>
                <c:pt idx="248">
                  <c:v>23.979437737702789</c:v>
                </c:pt>
                <c:pt idx="249">
                  <c:v>23.979437737702789</c:v>
                </c:pt>
                <c:pt idx="250">
                  <c:v>23.979437737702789</c:v>
                </c:pt>
                <c:pt idx="251">
                  <c:v>23.979437737702789</c:v>
                </c:pt>
                <c:pt idx="252">
                  <c:v>23.979437737702789</c:v>
                </c:pt>
                <c:pt idx="253">
                  <c:v>23.979437737702789</c:v>
                </c:pt>
                <c:pt idx="254">
                  <c:v>23.979437737702789</c:v>
                </c:pt>
                <c:pt idx="255">
                  <c:v>23.979437737702789</c:v>
                </c:pt>
                <c:pt idx="256">
                  <c:v>23.979437737702789</c:v>
                </c:pt>
                <c:pt idx="257">
                  <c:v>23.979437737702789</c:v>
                </c:pt>
                <c:pt idx="258">
                  <c:v>23.979437737702789</c:v>
                </c:pt>
                <c:pt idx="259">
                  <c:v>23.979437737702789</c:v>
                </c:pt>
                <c:pt idx="260">
                  <c:v>23.979437737702789</c:v>
                </c:pt>
                <c:pt idx="261">
                  <c:v>23.979437737702789</c:v>
                </c:pt>
                <c:pt idx="262">
                  <c:v>23.979437737702789</c:v>
                </c:pt>
                <c:pt idx="263">
                  <c:v>23.979437737702789</c:v>
                </c:pt>
                <c:pt idx="264">
                  <c:v>23.979437737702789</c:v>
                </c:pt>
                <c:pt idx="265">
                  <c:v>23.979437737702789</c:v>
                </c:pt>
                <c:pt idx="266">
                  <c:v>23.979437737702789</c:v>
                </c:pt>
                <c:pt idx="267">
                  <c:v>23.979437737702789</c:v>
                </c:pt>
                <c:pt idx="268">
                  <c:v>23.979437737702789</c:v>
                </c:pt>
                <c:pt idx="269">
                  <c:v>23.979437737702789</c:v>
                </c:pt>
                <c:pt idx="270">
                  <c:v>23.979437737702789</c:v>
                </c:pt>
                <c:pt idx="271">
                  <c:v>23.979437737702789</c:v>
                </c:pt>
                <c:pt idx="272">
                  <c:v>23.979437737702789</c:v>
                </c:pt>
                <c:pt idx="273">
                  <c:v>23.979437737702789</c:v>
                </c:pt>
                <c:pt idx="274">
                  <c:v>23.979437737702789</c:v>
                </c:pt>
                <c:pt idx="275">
                  <c:v>23.979437737702789</c:v>
                </c:pt>
                <c:pt idx="276">
                  <c:v>23.979437737702789</c:v>
                </c:pt>
                <c:pt idx="277">
                  <c:v>23.979437737702789</c:v>
                </c:pt>
                <c:pt idx="278">
                  <c:v>23.979437737702789</c:v>
                </c:pt>
                <c:pt idx="279">
                  <c:v>23.979437737702789</c:v>
                </c:pt>
                <c:pt idx="280">
                  <c:v>23.979437737702789</c:v>
                </c:pt>
                <c:pt idx="281">
                  <c:v>23.979437737702789</c:v>
                </c:pt>
                <c:pt idx="282">
                  <c:v>23.979437737702789</c:v>
                </c:pt>
                <c:pt idx="283">
                  <c:v>23.979437737702789</c:v>
                </c:pt>
                <c:pt idx="284">
                  <c:v>23.979437737702789</c:v>
                </c:pt>
                <c:pt idx="285">
                  <c:v>23.979437737702789</c:v>
                </c:pt>
                <c:pt idx="286">
                  <c:v>23.979437737702789</c:v>
                </c:pt>
                <c:pt idx="287">
                  <c:v>23.979437737702789</c:v>
                </c:pt>
                <c:pt idx="288">
                  <c:v>23.979437737702789</c:v>
                </c:pt>
                <c:pt idx="289">
                  <c:v>23.979437737702789</c:v>
                </c:pt>
                <c:pt idx="290">
                  <c:v>23.979437737702789</c:v>
                </c:pt>
                <c:pt idx="291">
                  <c:v>23.979437737702789</c:v>
                </c:pt>
                <c:pt idx="292">
                  <c:v>23.979437737702789</c:v>
                </c:pt>
                <c:pt idx="293">
                  <c:v>23.979437737702789</c:v>
                </c:pt>
                <c:pt idx="294">
                  <c:v>23.979437737702789</c:v>
                </c:pt>
                <c:pt idx="295">
                  <c:v>23.979437737702789</c:v>
                </c:pt>
                <c:pt idx="296">
                  <c:v>23.979437737702789</c:v>
                </c:pt>
                <c:pt idx="297">
                  <c:v>23.979437737702789</c:v>
                </c:pt>
                <c:pt idx="298">
                  <c:v>23.979437737702789</c:v>
                </c:pt>
                <c:pt idx="299">
                  <c:v>23.979437737702789</c:v>
                </c:pt>
                <c:pt idx="300">
                  <c:v>23.979437737702789</c:v>
                </c:pt>
                <c:pt idx="301">
                  <c:v>23.979437737702789</c:v>
                </c:pt>
                <c:pt idx="302">
                  <c:v>23.979437737702789</c:v>
                </c:pt>
                <c:pt idx="303">
                  <c:v>23.979437737702789</c:v>
                </c:pt>
                <c:pt idx="304">
                  <c:v>23.979437737702789</c:v>
                </c:pt>
                <c:pt idx="305">
                  <c:v>23.979437737702789</c:v>
                </c:pt>
                <c:pt idx="306">
                  <c:v>23.979437737702789</c:v>
                </c:pt>
                <c:pt idx="307">
                  <c:v>23.979437737702789</c:v>
                </c:pt>
                <c:pt idx="308">
                  <c:v>23.979437737702789</c:v>
                </c:pt>
                <c:pt idx="309">
                  <c:v>23.979437737702789</c:v>
                </c:pt>
                <c:pt idx="310">
                  <c:v>23.979437737702789</c:v>
                </c:pt>
                <c:pt idx="311">
                  <c:v>23.979437737702789</c:v>
                </c:pt>
                <c:pt idx="312">
                  <c:v>23.979437737702789</c:v>
                </c:pt>
                <c:pt idx="313">
                  <c:v>23.979437737702789</c:v>
                </c:pt>
                <c:pt idx="314">
                  <c:v>23.979437737702789</c:v>
                </c:pt>
                <c:pt idx="315">
                  <c:v>23.979437737702789</c:v>
                </c:pt>
                <c:pt idx="316">
                  <c:v>23.979437737702789</c:v>
                </c:pt>
                <c:pt idx="317">
                  <c:v>23.979437737702789</c:v>
                </c:pt>
                <c:pt idx="318">
                  <c:v>23.979437737702789</c:v>
                </c:pt>
                <c:pt idx="319">
                  <c:v>23.979437737702789</c:v>
                </c:pt>
                <c:pt idx="320">
                  <c:v>23.979437737702789</c:v>
                </c:pt>
                <c:pt idx="321">
                  <c:v>23.979437737702789</c:v>
                </c:pt>
                <c:pt idx="322">
                  <c:v>23.979437737702789</c:v>
                </c:pt>
                <c:pt idx="323">
                  <c:v>23.979437737702789</c:v>
                </c:pt>
                <c:pt idx="324">
                  <c:v>23.979437737702789</c:v>
                </c:pt>
                <c:pt idx="325">
                  <c:v>23.979437737702789</c:v>
                </c:pt>
                <c:pt idx="326">
                  <c:v>23.979437737702789</c:v>
                </c:pt>
                <c:pt idx="327">
                  <c:v>23.979437737702789</c:v>
                </c:pt>
                <c:pt idx="328">
                  <c:v>23.979437737702789</c:v>
                </c:pt>
                <c:pt idx="329">
                  <c:v>23.979437737702789</c:v>
                </c:pt>
                <c:pt idx="330">
                  <c:v>23.979437737702789</c:v>
                </c:pt>
                <c:pt idx="331">
                  <c:v>23.979437737702789</c:v>
                </c:pt>
                <c:pt idx="332">
                  <c:v>23.979437737702789</c:v>
                </c:pt>
                <c:pt idx="333">
                  <c:v>23.979437737702789</c:v>
                </c:pt>
                <c:pt idx="334">
                  <c:v>23.979437737702789</c:v>
                </c:pt>
                <c:pt idx="335">
                  <c:v>23.979437737702789</c:v>
                </c:pt>
                <c:pt idx="336">
                  <c:v>23.979437737702789</c:v>
                </c:pt>
                <c:pt idx="337">
                  <c:v>23.979437737702789</c:v>
                </c:pt>
                <c:pt idx="338">
                  <c:v>23.979437737702789</c:v>
                </c:pt>
                <c:pt idx="339">
                  <c:v>23.979437737702789</c:v>
                </c:pt>
                <c:pt idx="340">
                  <c:v>23.979437737702789</c:v>
                </c:pt>
                <c:pt idx="341">
                  <c:v>23.979437737702789</c:v>
                </c:pt>
                <c:pt idx="342">
                  <c:v>23.979437737702789</c:v>
                </c:pt>
                <c:pt idx="343">
                  <c:v>23.979437737702789</c:v>
                </c:pt>
                <c:pt idx="344">
                  <c:v>23.979437737702789</c:v>
                </c:pt>
                <c:pt idx="345">
                  <c:v>23.979437737702789</c:v>
                </c:pt>
                <c:pt idx="346">
                  <c:v>23.979437737702789</c:v>
                </c:pt>
                <c:pt idx="347">
                  <c:v>23.979437737702789</c:v>
                </c:pt>
                <c:pt idx="348">
                  <c:v>23.979437737702789</c:v>
                </c:pt>
                <c:pt idx="349">
                  <c:v>23.979437737702789</c:v>
                </c:pt>
                <c:pt idx="350">
                  <c:v>23.979437737702789</c:v>
                </c:pt>
                <c:pt idx="351">
                  <c:v>23.979437737702789</c:v>
                </c:pt>
                <c:pt idx="352">
                  <c:v>23.979437737702789</c:v>
                </c:pt>
                <c:pt idx="353">
                  <c:v>23.979437737702789</c:v>
                </c:pt>
                <c:pt idx="354">
                  <c:v>23.979437737702789</c:v>
                </c:pt>
                <c:pt idx="355">
                  <c:v>23.979437737702789</c:v>
                </c:pt>
                <c:pt idx="356">
                  <c:v>23.979437737702789</c:v>
                </c:pt>
                <c:pt idx="357">
                  <c:v>23.979437737702789</c:v>
                </c:pt>
                <c:pt idx="358">
                  <c:v>23.979437737702789</c:v>
                </c:pt>
                <c:pt idx="359">
                  <c:v>23.979437737702789</c:v>
                </c:pt>
                <c:pt idx="360">
                  <c:v>23.979437737702789</c:v>
                </c:pt>
                <c:pt idx="361">
                  <c:v>23.979437737702789</c:v>
                </c:pt>
                <c:pt idx="362">
                  <c:v>23.979437737702789</c:v>
                </c:pt>
                <c:pt idx="363">
                  <c:v>23.979437737702789</c:v>
                </c:pt>
                <c:pt idx="364">
                  <c:v>23.979437737702789</c:v>
                </c:pt>
                <c:pt idx="365">
                  <c:v>23.979437737702789</c:v>
                </c:pt>
                <c:pt idx="366">
                  <c:v>23.979437737702789</c:v>
                </c:pt>
                <c:pt idx="367">
                  <c:v>23.979437737702789</c:v>
                </c:pt>
                <c:pt idx="368">
                  <c:v>23.979437737702789</c:v>
                </c:pt>
                <c:pt idx="369">
                  <c:v>23.979437737702789</c:v>
                </c:pt>
                <c:pt idx="370">
                  <c:v>23.979437737702789</c:v>
                </c:pt>
                <c:pt idx="371">
                  <c:v>23.979437737702789</c:v>
                </c:pt>
                <c:pt idx="372">
                  <c:v>23.979437737702789</c:v>
                </c:pt>
                <c:pt idx="373">
                  <c:v>23.979437737702789</c:v>
                </c:pt>
                <c:pt idx="374">
                  <c:v>23.979437737702789</c:v>
                </c:pt>
                <c:pt idx="375">
                  <c:v>23.979437737702789</c:v>
                </c:pt>
                <c:pt idx="376">
                  <c:v>23.979437737702789</c:v>
                </c:pt>
                <c:pt idx="377">
                  <c:v>23.979437737702789</c:v>
                </c:pt>
                <c:pt idx="378">
                  <c:v>23.979437737702789</c:v>
                </c:pt>
                <c:pt idx="379">
                  <c:v>23.979437737702789</c:v>
                </c:pt>
                <c:pt idx="380">
                  <c:v>23.979437737702789</c:v>
                </c:pt>
                <c:pt idx="381">
                  <c:v>23.979437737702789</c:v>
                </c:pt>
                <c:pt idx="382">
                  <c:v>23.979437737702789</c:v>
                </c:pt>
                <c:pt idx="383">
                  <c:v>23.979437737702789</c:v>
                </c:pt>
                <c:pt idx="384">
                  <c:v>23.979437737702789</c:v>
                </c:pt>
                <c:pt idx="385">
                  <c:v>23.979437737702789</c:v>
                </c:pt>
                <c:pt idx="386">
                  <c:v>23.979437737702789</c:v>
                </c:pt>
                <c:pt idx="387">
                  <c:v>23.979437737702789</c:v>
                </c:pt>
                <c:pt idx="388">
                  <c:v>23.979437737702789</c:v>
                </c:pt>
                <c:pt idx="389">
                  <c:v>23.979437737702789</c:v>
                </c:pt>
                <c:pt idx="390">
                  <c:v>23.979437737702789</c:v>
                </c:pt>
                <c:pt idx="391">
                  <c:v>23.979437737702789</c:v>
                </c:pt>
                <c:pt idx="392">
                  <c:v>23.979437737702789</c:v>
                </c:pt>
                <c:pt idx="393">
                  <c:v>23.979437737702789</c:v>
                </c:pt>
                <c:pt idx="394">
                  <c:v>23.979437737702789</c:v>
                </c:pt>
                <c:pt idx="395">
                  <c:v>23.979437737702789</c:v>
                </c:pt>
                <c:pt idx="396">
                  <c:v>23.979437737702789</c:v>
                </c:pt>
                <c:pt idx="397">
                  <c:v>23.979437737702789</c:v>
                </c:pt>
                <c:pt idx="398">
                  <c:v>23.979437737702789</c:v>
                </c:pt>
                <c:pt idx="399">
                  <c:v>23.979437737702789</c:v>
                </c:pt>
                <c:pt idx="400">
                  <c:v>23.979437737702789</c:v>
                </c:pt>
                <c:pt idx="401">
                  <c:v>23.979437737702789</c:v>
                </c:pt>
                <c:pt idx="402">
                  <c:v>23.979437737702789</c:v>
                </c:pt>
                <c:pt idx="403">
                  <c:v>23.979437737702789</c:v>
                </c:pt>
                <c:pt idx="404">
                  <c:v>23.979437737702789</c:v>
                </c:pt>
                <c:pt idx="405">
                  <c:v>23.979437737702789</c:v>
                </c:pt>
                <c:pt idx="406">
                  <c:v>23.979437737702789</c:v>
                </c:pt>
                <c:pt idx="407">
                  <c:v>23.979437737702789</c:v>
                </c:pt>
                <c:pt idx="408">
                  <c:v>23.979437737702789</c:v>
                </c:pt>
                <c:pt idx="409">
                  <c:v>23.979437737702789</c:v>
                </c:pt>
                <c:pt idx="410">
                  <c:v>23.979437737702789</c:v>
                </c:pt>
                <c:pt idx="411">
                  <c:v>23.979437737702789</c:v>
                </c:pt>
                <c:pt idx="412">
                  <c:v>23.979437737702789</c:v>
                </c:pt>
                <c:pt idx="413">
                  <c:v>23.979437737702789</c:v>
                </c:pt>
                <c:pt idx="414">
                  <c:v>23.979437737702789</c:v>
                </c:pt>
                <c:pt idx="415">
                  <c:v>23.979437737702789</c:v>
                </c:pt>
                <c:pt idx="416">
                  <c:v>23.979437737702789</c:v>
                </c:pt>
                <c:pt idx="417">
                  <c:v>23.979437737702789</c:v>
                </c:pt>
                <c:pt idx="418">
                  <c:v>23.979437737702789</c:v>
                </c:pt>
                <c:pt idx="419">
                  <c:v>23.979437737702789</c:v>
                </c:pt>
                <c:pt idx="420">
                  <c:v>23.979437737702789</c:v>
                </c:pt>
                <c:pt idx="421">
                  <c:v>23.979437737702789</c:v>
                </c:pt>
                <c:pt idx="422">
                  <c:v>23.979437737702789</c:v>
                </c:pt>
                <c:pt idx="423">
                  <c:v>23.979437737702789</c:v>
                </c:pt>
                <c:pt idx="424">
                  <c:v>23.979437737702789</c:v>
                </c:pt>
                <c:pt idx="425">
                  <c:v>23.979437737702789</c:v>
                </c:pt>
                <c:pt idx="426">
                  <c:v>23.979437737702789</c:v>
                </c:pt>
                <c:pt idx="427">
                  <c:v>23.979437737702789</c:v>
                </c:pt>
                <c:pt idx="428">
                  <c:v>23.979437737702789</c:v>
                </c:pt>
                <c:pt idx="429">
                  <c:v>23.979437737702789</c:v>
                </c:pt>
                <c:pt idx="430">
                  <c:v>23.979437737702789</c:v>
                </c:pt>
                <c:pt idx="431">
                  <c:v>23.979437737702789</c:v>
                </c:pt>
                <c:pt idx="432">
                  <c:v>23.979437737702789</c:v>
                </c:pt>
                <c:pt idx="433">
                  <c:v>23.979437737702789</c:v>
                </c:pt>
                <c:pt idx="434">
                  <c:v>23.979437737702789</c:v>
                </c:pt>
                <c:pt idx="435">
                  <c:v>23.979437737702789</c:v>
                </c:pt>
                <c:pt idx="436">
                  <c:v>23.979437737702789</c:v>
                </c:pt>
                <c:pt idx="437">
                  <c:v>23.979437737702789</c:v>
                </c:pt>
                <c:pt idx="438">
                  <c:v>23.979437737702789</c:v>
                </c:pt>
                <c:pt idx="439">
                  <c:v>23.979437737702789</c:v>
                </c:pt>
                <c:pt idx="440">
                  <c:v>23.979437737702789</c:v>
                </c:pt>
                <c:pt idx="441">
                  <c:v>23.979437737702789</c:v>
                </c:pt>
                <c:pt idx="442">
                  <c:v>23.979437737702789</c:v>
                </c:pt>
                <c:pt idx="443">
                  <c:v>23.979437737702789</c:v>
                </c:pt>
                <c:pt idx="444">
                  <c:v>23.979437737702789</c:v>
                </c:pt>
                <c:pt idx="445">
                  <c:v>23.979437737702789</c:v>
                </c:pt>
                <c:pt idx="446">
                  <c:v>23.979437737702789</c:v>
                </c:pt>
                <c:pt idx="447">
                  <c:v>23.979437737702789</c:v>
                </c:pt>
                <c:pt idx="448">
                  <c:v>23.979437737702789</c:v>
                </c:pt>
                <c:pt idx="449">
                  <c:v>23.979437737702789</c:v>
                </c:pt>
                <c:pt idx="450">
                  <c:v>23.979437737702789</c:v>
                </c:pt>
                <c:pt idx="451">
                  <c:v>23.979437737702789</c:v>
                </c:pt>
                <c:pt idx="452">
                  <c:v>23.979437737702789</c:v>
                </c:pt>
                <c:pt idx="453">
                  <c:v>23.979437737702789</c:v>
                </c:pt>
                <c:pt idx="454">
                  <c:v>23.979437737702789</c:v>
                </c:pt>
                <c:pt idx="455">
                  <c:v>23.979437737702789</c:v>
                </c:pt>
                <c:pt idx="456">
                  <c:v>23.979437737702789</c:v>
                </c:pt>
                <c:pt idx="457">
                  <c:v>23.979437737702789</c:v>
                </c:pt>
                <c:pt idx="458">
                  <c:v>23.979437737702789</c:v>
                </c:pt>
                <c:pt idx="459">
                  <c:v>23.979437737702789</c:v>
                </c:pt>
                <c:pt idx="460">
                  <c:v>23.979437737702789</c:v>
                </c:pt>
                <c:pt idx="461">
                  <c:v>23.979437737702789</c:v>
                </c:pt>
                <c:pt idx="462">
                  <c:v>23.979437737702789</c:v>
                </c:pt>
                <c:pt idx="463">
                  <c:v>23.979437737702789</c:v>
                </c:pt>
                <c:pt idx="464">
                  <c:v>23.979437737702789</c:v>
                </c:pt>
                <c:pt idx="465">
                  <c:v>23.979437737702789</c:v>
                </c:pt>
                <c:pt idx="466">
                  <c:v>23.979437737702789</c:v>
                </c:pt>
                <c:pt idx="467">
                  <c:v>23.979437737702789</c:v>
                </c:pt>
                <c:pt idx="468">
                  <c:v>23.979437737702789</c:v>
                </c:pt>
                <c:pt idx="469">
                  <c:v>23.979437737702789</c:v>
                </c:pt>
                <c:pt idx="470">
                  <c:v>23.979437737702789</c:v>
                </c:pt>
                <c:pt idx="471">
                  <c:v>23.979437737702789</c:v>
                </c:pt>
                <c:pt idx="472">
                  <c:v>23.979437737702789</c:v>
                </c:pt>
                <c:pt idx="473">
                  <c:v>23.979437737702789</c:v>
                </c:pt>
                <c:pt idx="474">
                  <c:v>23.979437737702789</c:v>
                </c:pt>
                <c:pt idx="475">
                  <c:v>23.979437737702789</c:v>
                </c:pt>
                <c:pt idx="476">
                  <c:v>23.979437737702789</c:v>
                </c:pt>
                <c:pt idx="477">
                  <c:v>23.979437737702789</c:v>
                </c:pt>
                <c:pt idx="478">
                  <c:v>23.979437737702789</c:v>
                </c:pt>
                <c:pt idx="479">
                  <c:v>23.979437737702789</c:v>
                </c:pt>
                <c:pt idx="480">
                  <c:v>23.979437737702789</c:v>
                </c:pt>
                <c:pt idx="481">
                  <c:v>23.979437737702789</c:v>
                </c:pt>
                <c:pt idx="482">
                  <c:v>23.979437737702789</c:v>
                </c:pt>
                <c:pt idx="483">
                  <c:v>23.979437737702789</c:v>
                </c:pt>
                <c:pt idx="484">
                  <c:v>23.979437737702789</c:v>
                </c:pt>
                <c:pt idx="485">
                  <c:v>23.979437737702789</c:v>
                </c:pt>
                <c:pt idx="486">
                  <c:v>23.979437737702789</c:v>
                </c:pt>
                <c:pt idx="487">
                  <c:v>23.979437737702789</c:v>
                </c:pt>
                <c:pt idx="488">
                  <c:v>23.979437737702789</c:v>
                </c:pt>
                <c:pt idx="489">
                  <c:v>23.979437737702789</c:v>
                </c:pt>
                <c:pt idx="490">
                  <c:v>23.979437737702789</c:v>
                </c:pt>
                <c:pt idx="491">
                  <c:v>23.979437737702789</c:v>
                </c:pt>
                <c:pt idx="492">
                  <c:v>23.979437737702789</c:v>
                </c:pt>
                <c:pt idx="493">
                  <c:v>23.979437737702789</c:v>
                </c:pt>
                <c:pt idx="494">
                  <c:v>23.979437737702789</c:v>
                </c:pt>
                <c:pt idx="495">
                  <c:v>23.979437737702789</c:v>
                </c:pt>
                <c:pt idx="496">
                  <c:v>23.979437737702789</c:v>
                </c:pt>
                <c:pt idx="497">
                  <c:v>23.979437737702789</c:v>
                </c:pt>
                <c:pt idx="498">
                  <c:v>23.979437737702789</c:v>
                </c:pt>
                <c:pt idx="499">
                  <c:v>23.979437737702789</c:v>
                </c:pt>
                <c:pt idx="500">
                  <c:v>23.979437737702789</c:v>
                </c:pt>
                <c:pt idx="501">
                  <c:v>23.979437737702789</c:v>
                </c:pt>
                <c:pt idx="502">
                  <c:v>23.979437737702789</c:v>
                </c:pt>
                <c:pt idx="503">
                  <c:v>23.979437737702789</c:v>
                </c:pt>
                <c:pt idx="504">
                  <c:v>23.979437737702789</c:v>
                </c:pt>
                <c:pt idx="505">
                  <c:v>23.979437737702789</c:v>
                </c:pt>
                <c:pt idx="506">
                  <c:v>23.979437737702789</c:v>
                </c:pt>
                <c:pt idx="507">
                  <c:v>23.979437737702789</c:v>
                </c:pt>
                <c:pt idx="508">
                  <c:v>23.979437737702789</c:v>
                </c:pt>
                <c:pt idx="509">
                  <c:v>23.979437737702789</c:v>
                </c:pt>
                <c:pt idx="510">
                  <c:v>23.979437737702789</c:v>
                </c:pt>
                <c:pt idx="511">
                  <c:v>23.979437737702789</c:v>
                </c:pt>
                <c:pt idx="512">
                  <c:v>23.979437737702789</c:v>
                </c:pt>
                <c:pt idx="513">
                  <c:v>23.979437737702789</c:v>
                </c:pt>
                <c:pt idx="514">
                  <c:v>23.979437737702789</c:v>
                </c:pt>
                <c:pt idx="515">
                  <c:v>23.979437737702789</c:v>
                </c:pt>
                <c:pt idx="516">
                  <c:v>23.979437737702789</c:v>
                </c:pt>
                <c:pt idx="517">
                  <c:v>23.979437737702789</c:v>
                </c:pt>
                <c:pt idx="518">
                  <c:v>23.979437737702789</c:v>
                </c:pt>
                <c:pt idx="519">
                  <c:v>23.979437737702789</c:v>
                </c:pt>
                <c:pt idx="520">
                  <c:v>23.979437737702789</c:v>
                </c:pt>
                <c:pt idx="521">
                  <c:v>23.979437737702789</c:v>
                </c:pt>
                <c:pt idx="522">
                  <c:v>23.979437737702789</c:v>
                </c:pt>
                <c:pt idx="523">
                  <c:v>23.979437737702789</c:v>
                </c:pt>
                <c:pt idx="524">
                  <c:v>23.979437737702789</c:v>
                </c:pt>
                <c:pt idx="525">
                  <c:v>23.979437737702789</c:v>
                </c:pt>
                <c:pt idx="526">
                  <c:v>23.979437737702789</c:v>
                </c:pt>
                <c:pt idx="527">
                  <c:v>23.979437737702789</c:v>
                </c:pt>
                <c:pt idx="528">
                  <c:v>23.979437737702789</c:v>
                </c:pt>
                <c:pt idx="529">
                  <c:v>23.979437737702789</c:v>
                </c:pt>
                <c:pt idx="530">
                  <c:v>23.979437737702789</c:v>
                </c:pt>
                <c:pt idx="531">
                  <c:v>23.979437737702789</c:v>
                </c:pt>
                <c:pt idx="532">
                  <c:v>23.979437737702789</c:v>
                </c:pt>
                <c:pt idx="533">
                  <c:v>23.979437737702789</c:v>
                </c:pt>
                <c:pt idx="534">
                  <c:v>23.979437737702789</c:v>
                </c:pt>
                <c:pt idx="535">
                  <c:v>23.979437737702789</c:v>
                </c:pt>
                <c:pt idx="536">
                  <c:v>23.979437737702789</c:v>
                </c:pt>
                <c:pt idx="537">
                  <c:v>23.979437737702789</c:v>
                </c:pt>
                <c:pt idx="538">
                  <c:v>23.979437737702789</c:v>
                </c:pt>
                <c:pt idx="539">
                  <c:v>23.979437737702789</c:v>
                </c:pt>
                <c:pt idx="540">
                  <c:v>23.979437737702789</c:v>
                </c:pt>
                <c:pt idx="541">
                  <c:v>23.979437737702789</c:v>
                </c:pt>
                <c:pt idx="542">
                  <c:v>23.979437737702789</c:v>
                </c:pt>
                <c:pt idx="543">
                  <c:v>23.979437737702789</c:v>
                </c:pt>
                <c:pt idx="544">
                  <c:v>23.979437737702789</c:v>
                </c:pt>
                <c:pt idx="545">
                  <c:v>23.979437737702789</c:v>
                </c:pt>
                <c:pt idx="546">
                  <c:v>23.979437737702789</c:v>
                </c:pt>
                <c:pt idx="547">
                  <c:v>23.979437737702789</c:v>
                </c:pt>
                <c:pt idx="548">
                  <c:v>23.979437737702789</c:v>
                </c:pt>
                <c:pt idx="549">
                  <c:v>23.979437737702789</c:v>
                </c:pt>
                <c:pt idx="550">
                  <c:v>23.979437737702789</c:v>
                </c:pt>
                <c:pt idx="551">
                  <c:v>23.979437737702789</c:v>
                </c:pt>
                <c:pt idx="552">
                  <c:v>23.979437737702789</c:v>
                </c:pt>
                <c:pt idx="553">
                  <c:v>23.979437737702789</c:v>
                </c:pt>
                <c:pt idx="554">
                  <c:v>23.979437737702789</c:v>
                </c:pt>
                <c:pt idx="555">
                  <c:v>23.979437737702789</c:v>
                </c:pt>
                <c:pt idx="556">
                  <c:v>23.979437737702789</c:v>
                </c:pt>
                <c:pt idx="557">
                  <c:v>23.979437737702789</c:v>
                </c:pt>
                <c:pt idx="558">
                  <c:v>23.979437737702789</c:v>
                </c:pt>
                <c:pt idx="559">
                  <c:v>23.979437737702789</c:v>
                </c:pt>
                <c:pt idx="560">
                  <c:v>23.979437737702789</c:v>
                </c:pt>
                <c:pt idx="561">
                  <c:v>23.979437737702789</c:v>
                </c:pt>
                <c:pt idx="562">
                  <c:v>23.979437737702789</c:v>
                </c:pt>
                <c:pt idx="563">
                  <c:v>23.979437737702789</c:v>
                </c:pt>
                <c:pt idx="564">
                  <c:v>23.979437737702789</c:v>
                </c:pt>
                <c:pt idx="565">
                  <c:v>23.979437737702789</c:v>
                </c:pt>
                <c:pt idx="566">
                  <c:v>23.979437737702789</c:v>
                </c:pt>
                <c:pt idx="567">
                  <c:v>23.979437737702789</c:v>
                </c:pt>
                <c:pt idx="568">
                  <c:v>23.979437737702789</c:v>
                </c:pt>
                <c:pt idx="569">
                  <c:v>23.979437737702789</c:v>
                </c:pt>
                <c:pt idx="570">
                  <c:v>23.979437737702789</c:v>
                </c:pt>
                <c:pt idx="571">
                  <c:v>23.979437737702789</c:v>
                </c:pt>
                <c:pt idx="572">
                  <c:v>23.979437737702789</c:v>
                </c:pt>
                <c:pt idx="573">
                  <c:v>23.979437737702789</c:v>
                </c:pt>
                <c:pt idx="574">
                  <c:v>23.979437737702789</c:v>
                </c:pt>
                <c:pt idx="575">
                  <c:v>23.979437737702789</c:v>
                </c:pt>
                <c:pt idx="576">
                  <c:v>23.979437737702789</c:v>
                </c:pt>
                <c:pt idx="577">
                  <c:v>23.979437737702789</c:v>
                </c:pt>
                <c:pt idx="578">
                  <c:v>23.979437737702789</c:v>
                </c:pt>
                <c:pt idx="579">
                  <c:v>23.979437737702789</c:v>
                </c:pt>
                <c:pt idx="580">
                  <c:v>23.979437737702789</c:v>
                </c:pt>
                <c:pt idx="581">
                  <c:v>23.979437737702789</c:v>
                </c:pt>
                <c:pt idx="582">
                  <c:v>23.979437737702789</c:v>
                </c:pt>
                <c:pt idx="583">
                  <c:v>23.979437737702789</c:v>
                </c:pt>
                <c:pt idx="584">
                  <c:v>23.979437737702789</c:v>
                </c:pt>
                <c:pt idx="585">
                  <c:v>23.979437737702789</c:v>
                </c:pt>
                <c:pt idx="586">
                  <c:v>23.979437737702789</c:v>
                </c:pt>
                <c:pt idx="587">
                  <c:v>23.979437737702789</c:v>
                </c:pt>
                <c:pt idx="588">
                  <c:v>23.979437737702789</c:v>
                </c:pt>
                <c:pt idx="589">
                  <c:v>23.979437737702789</c:v>
                </c:pt>
                <c:pt idx="590">
                  <c:v>23.979437737702789</c:v>
                </c:pt>
                <c:pt idx="591">
                  <c:v>23.979437737702789</c:v>
                </c:pt>
                <c:pt idx="592">
                  <c:v>23.979437737702789</c:v>
                </c:pt>
                <c:pt idx="593">
                  <c:v>23.979437737702789</c:v>
                </c:pt>
                <c:pt idx="594">
                  <c:v>23.979437737702789</c:v>
                </c:pt>
                <c:pt idx="595">
                  <c:v>23.979437737702789</c:v>
                </c:pt>
                <c:pt idx="596">
                  <c:v>23.979437737702789</c:v>
                </c:pt>
                <c:pt idx="597">
                  <c:v>23.979437737702789</c:v>
                </c:pt>
                <c:pt idx="598">
                  <c:v>23.979437737702789</c:v>
                </c:pt>
                <c:pt idx="599">
                  <c:v>23.979437737702789</c:v>
                </c:pt>
                <c:pt idx="600">
                  <c:v>23.979437737702789</c:v>
                </c:pt>
                <c:pt idx="601">
                  <c:v>23.979437737702789</c:v>
                </c:pt>
                <c:pt idx="602">
                  <c:v>23.979437737702789</c:v>
                </c:pt>
                <c:pt idx="603">
                  <c:v>23.979437737702789</c:v>
                </c:pt>
                <c:pt idx="604">
                  <c:v>23.979437737702789</c:v>
                </c:pt>
                <c:pt idx="605">
                  <c:v>23.979437737702789</c:v>
                </c:pt>
                <c:pt idx="606">
                  <c:v>23.979437737702789</c:v>
                </c:pt>
                <c:pt idx="607">
                  <c:v>23.979437737702789</c:v>
                </c:pt>
                <c:pt idx="608">
                  <c:v>23.979437737702789</c:v>
                </c:pt>
                <c:pt idx="609">
                  <c:v>23.979437737702789</c:v>
                </c:pt>
                <c:pt idx="610">
                  <c:v>23.979437737702789</c:v>
                </c:pt>
                <c:pt idx="611">
                  <c:v>23.979437737702789</c:v>
                </c:pt>
                <c:pt idx="612">
                  <c:v>23.979437737702789</c:v>
                </c:pt>
                <c:pt idx="613">
                  <c:v>23.979437737702789</c:v>
                </c:pt>
                <c:pt idx="614">
                  <c:v>23.979437737702789</c:v>
                </c:pt>
                <c:pt idx="615">
                  <c:v>23.979437737702789</c:v>
                </c:pt>
                <c:pt idx="616">
                  <c:v>23.979437737702789</c:v>
                </c:pt>
                <c:pt idx="617">
                  <c:v>23.979437737702789</c:v>
                </c:pt>
                <c:pt idx="618">
                  <c:v>23.979437737702789</c:v>
                </c:pt>
                <c:pt idx="619">
                  <c:v>23.979437737702789</c:v>
                </c:pt>
                <c:pt idx="620">
                  <c:v>23.979437737702789</c:v>
                </c:pt>
                <c:pt idx="621">
                  <c:v>23.979437737702789</c:v>
                </c:pt>
                <c:pt idx="622">
                  <c:v>23.979437737702789</c:v>
                </c:pt>
                <c:pt idx="623">
                  <c:v>23.979437737702789</c:v>
                </c:pt>
                <c:pt idx="624">
                  <c:v>23.979437737702789</c:v>
                </c:pt>
                <c:pt idx="625">
                  <c:v>23.979437737702789</c:v>
                </c:pt>
                <c:pt idx="626">
                  <c:v>23.979437737702789</c:v>
                </c:pt>
                <c:pt idx="627">
                  <c:v>23.979437737702789</c:v>
                </c:pt>
                <c:pt idx="628">
                  <c:v>23.979437737702789</c:v>
                </c:pt>
                <c:pt idx="629">
                  <c:v>23.979437737702789</c:v>
                </c:pt>
                <c:pt idx="630">
                  <c:v>23.979437737702789</c:v>
                </c:pt>
                <c:pt idx="631">
                  <c:v>23.979437737702789</c:v>
                </c:pt>
                <c:pt idx="632">
                  <c:v>23.979437737702789</c:v>
                </c:pt>
                <c:pt idx="633">
                  <c:v>23.979437737702789</c:v>
                </c:pt>
                <c:pt idx="634">
                  <c:v>23.979437737702789</c:v>
                </c:pt>
                <c:pt idx="635">
                  <c:v>23.979437737702789</c:v>
                </c:pt>
                <c:pt idx="636">
                  <c:v>23.979437737702789</c:v>
                </c:pt>
                <c:pt idx="637">
                  <c:v>23.979437737702789</c:v>
                </c:pt>
                <c:pt idx="638">
                  <c:v>23.979437737702789</c:v>
                </c:pt>
                <c:pt idx="639">
                  <c:v>23.979437737702789</c:v>
                </c:pt>
                <c:pt idx="640">
                  <c:v>23.979437737702789</c:v>
                </c:pt>
                <c:pt idx="641">
                  <c:v>23.979437737702789</c:v>
                </c:pt>
                <c:pt idx="642">
                  <c:v>23.979437737702789</c:v>
                </c:pt>
                <c:pt idx="643">
                  <c:v>23.979437737702789</c:v>
                </c:pt>
                <c:pt idx="644">
                  <c:v>23.979437737702789</c:v>
                </c:pt>
                <c:pt idx="645">
                  <c:v>23.979437737702789</c:v>
                </c:pt>
                <c:pt idx="646">
                  <c:v>23.979437737702789</c:v>
                </c:pt>
                <c:pt idx="647">
                  <c:v>23.979437737702789</c:v>
                </c:pt>
                <c:pt idx="648">
                  <c:v>23.979437737702789</c:v>
                </c:pt>
                <c:pt idx="649">
                  <c:v>23.979437737702789</c:v>
                </c:pt>
                <c:pt idx="650">
                  <c:v>23.979437737702789</c:v>
                </c:pt>
                <c:pt idx="651">
                  <c:v>23.979437737702789</c:v>
                </c:pt>
                <c:pt idx="652">
                  <c:v>23.979437737702789</c:v>
                </c:pt>
                <c:pt idx="653">
                  <c:v>23.979437737702789</c:v>
                </c:pt>
                <c:pt idx="654">
                  <c:v>23.979437737702789</c:v>
                </c:pt>
                <c:pt idx="655">
                  <c:v>23.979437737702789</c:v>
                </c:pt>
                <c:pt idx="656">
                  <c:v>23.979437737702789</c:v>
                </c:pt>
                <c:pt idx="657">
                  <c:v>23.979437737702789</c:v>
                </c:pt>
                <c:pt idx="658">
                  <c:v>23.979437737702789</c:v>
                </c:pt>
                <c:pt idx="659">
                  <c:v>23.979437737702789</c:v>
                </c:pt>
                <c:pt idx="660">
                  <c:v>23.979437737702789</c:v>
                </c:pt>
                <c:pt idx="661">
                  <c:v>23.979437737702789</c:v>
                </c:pt>
                <c:pt idx="662">
                  <c:v>23.979437737702789</c:v>
                </c:pt>
                <c:pt idx="663">
                  <c:v>23.979437737702789</c:v>
                </c:pt>
                <c:pt idx="664">
                  <c:v>23.979437737702789</c:v>
                </c:pt>
                <c:pt idx="665">
                  <c:v>23.979437737702789</c:v>
                </c:pt>
                <c:pt idx="666">
                  <c:v>23.979437737702789</c:v>
                </c:pt>
                <c:pt idx="667">
                  <c:v>23.979437737702789</c:v>
                </c:pt>
                <c:pt idx="668">
                  <c:v>23.979437737702789</c:v>
                </c:pt>
                <c:pt idx="669">
                  <c:v>23.979437737702789</c:v>
                </c:pt>
                <c:pt idx="670">
                  <c:v>23.979437737702789</c:v>
                </c:pt>
                <c:pt idx="671">
                  <c:v>23.979437737702789</c:v>
                </c:pt>
                <c:pt idx="672">
                  <c:v>23.979437737702789</c:v>
                </c:pt>
                <c:pt idx="673">
                  <c:v>23.979437737702789</c:v>
                </c:pt>
                <c:pt idx="674">
                  <c:v>23.979437737702789</c:v>
                </c:pt>
                <c:pt idx="675">
                  <c:v>23.979437737702789</c:v>
                </c:pt>
                <c:pt idx="676">
                  <c:v>23.979437737702789</c:v>
                </c:pt>
                <c:pt idx="677">
                  <c:v>23.979437737702789</c:v>
                </c:pt>
                <c:pt idx="678">
                  <c:v>23.979437737702789</c:v>
                </c:pt>
                <c:pt idx="679">
                  <c:v>23.979437737702789</c:v>
                </c:pt>
                <c:pt idx="680">
                  <c:v>23.979437737702789</c:v>
                </c:pt>
                <c:pt idx="681">
                  <c:v>23.979437737702789</c:v>
                </c:pt>
                <c:pt idx="682">
                  <c:v>23.979437737702789</c:v>
                </c:pt>
                <c:pt idx="683">
                  <c:v>23.979437737702789</c:v>
                </c:pt>
                <c:pt idx="684">
                  <c:v>23.979437737702789</c:v>
                </c:pt>
                <c:pt idx="685">
                  <c:v>23.979437737702789</c:v>
                </c:pt>
                <c:pt idx="686">
                  <c:v>23.979437737702789</c:v>
                </c:pt>
                <c:pt idx="687">
                  <c:v>23.979437737702789</c:v>
                </c:pt>
                <c:pt idx="688">
                  <c:v>23.979437737702789</c:v>
                </c:pt>
                <c:pt idx="689">
                  <c:v>23.979437737702789</c:v>
                </c:pt>
                <c:pt idx="690">
                  <c:v>23.979437737702789</c:v>
                </c:pt>
                <c:pt idx="691">
                  <c:v>23.979437737702789</c:v>
                </c:pt>
                <c:pt idx="692">
                  <c:v>23.979437737702789</c:v>
                </c:pt>
                <c:pt idx="693">
                  <c:v>23.979437737702789</c:v>
                </c:pt>
                <c:pt idx="694">
                  <c:v>23.979437737702789</c:v>
                </c:pt>
                <c:pt idx="695">
                  <c:v>23.979437737702789</c:v>
                </c:pt>
                <c:pt idx="696">
                  <c:v>23.979437737702789</c:v>
                </c:pt>
                <c:pt idx="697">
                  <c:v>23.979437737702789</c:v>
                </c:pt>
                <c:pt idx="698">
                  <c:v>23.979437737702789</c:v>
                </c:pt>
                <c:pt idx="699">
                  <c:v>23.979437737702789</c:v>
                </c:pt>
                <c:pt idx="700">
                  <c:v>23.979437737702789</c:v>
                </c:pt>
                <c:pt idx="701">
                  <c:v>23.979437737702789</c:v>
                </c:pt>
                <c:pt idx="702">
                  <c:v>23.979437737702789</c:v>
                </c:pt>
                <c:pt idx="703">
                  <c:v>23.979437737702789</c:v>
                </c:pt>
                <c:pt idx="704">
                  <c:v>23.979437737702789</c:v>
                </c:pt>
                <c:pt idx="705">
                  <c:v>23.979437737702789</c:v>
                </c:pt>
                <c:pt idx="706">
                  <c:v>23.979437737702789</c:v>
                </c:pt>
                <c:pt idx="707">
                  <c:v>23.979437737702789</c:v>
                </c:pt>
                <c:pt idx="708">
                  <c:v>23.979437737702789</c:v>
                </c:pt>
                <c:pt idx="709">
                  <c:v>23.979437737702789</c:v>
                </c:pt>
                <c:pt idx="710">
                  <c:v>23.979437737702789</c:v>
                </c:pt>
                <c:pt idx="711">
                  <c:v>23.979437737702789</c:v>
                </c:pt>
                <c:pt idx="712">
                  <c:v>23.979437737702789</c:v>
                </c:pt>
                <c:pt idx="713">
                  <c:v>23.979437737702789</c:v>
                </c:pt>
                <c:pt idx="714">
                  <c:v>23.979437737702789</c:v>
                </c:pt>
                <c:pt idx="715">
                  <c:v>23.979437737702789</c:v>
                </c:pt>
                <c:pt idx="716">
                  <c:v>23.979437737702789</c:v>
                </c:pt>
                <c:pt idx="717">
                  <c:v>23.979437737702789</c:v>
                </c:pt>
                <c:pt idx="718">
                  <c:v>23.979437737702789</c:v>
                </c:pt>
                <c:pt idx="719">
                  <c:v>23.979437737702789</c:v>
                </c:pt>
                <c:pt idx="720">
                  <c:v>23.979437737702789</c:v>
                </c:pt>
                <c:pt idx="721">
                  <c:v>23.979437737702789</c:v>
                </c:pt>
                <c:pt idx="722">
                  <c:v>23.979437737702789</c:v>
                </c:pt>
                <c:pt idx="723">
                  <c:v>23.979437737702789</c:v>
                </c:pt>
                <c:pt idx="724">
                  <c:v>23.979437737702789</c:v>
                </c:pt>
                <c:pt idx="725">
                  <c:v>23.979437737702789</c:v>
                </c:pt>
                <c:pt idx="726">
                  <c:v>23.979437737702789</c:v>
                </c:pt>
                <c:pt idx="727">
                  <c:v>23.979437737702789</c:v>
                </c:pt>
                <c:pt idx="728">
                  <c:v>23.979437737702789</c:v>
                </c:pt>
                <c:pt idx="729">
                  <c:v>23.979437737702789</c:v>
                </c:pt>
                <c:pt idx="730">
                  <c:v>23.979437737702789</c:v>
                </c:pt>
                <c:pt idx="731">
                  <c:v>23.979437737702789</c:v>
                </c:pt>
                <c:pt idx="732">
                  <c:v>23.979437737702789</c:v>
                </c:pt>
                <c:pt idx="733">
                  <c:v>23.979437737702789</c:v>
                </c:pt>
                <c:pt idx="734">
                  <c:v>23.979437737702789</c:v>
                </c:pt>
                <c:pt idx="735">
                  <c:v>23.979437737702789</c:v>
                </c:pt>
                <c:pt idx="736">
                  <c:v>23.979437737702789</c:v>
                </c:pt>
                <c:pt idx="737">
                  <c:v>23.979437737702789</c:v>
                </c:pt>
                <c:pt idx="738">
                  <c:v>23.979437737702789</c:v>
                </c:pt>
                <c:pt idx="739">
                  <c:v>23.979437737702789</c:v>
                </c:pt>
                <c:pt idx="740">
                  <c:v>23.979437737702789</c:v>
                </c:pt>
                <c:pt idx="741">
                  <c:v>23.979437737702789</c:v>
                </c:pt>
                <c:pt idx="742">
                  <c:v>23.979437737702789</c:v>
                </c:pt>
                <c:pt idx="743">
                  <c:v>23.979437737702789</c:v>
                </c:pt>
                <c:pt idx="744">
                  <c:v>23.979437737702789</c:v>
                </c:pt>
                <c:pt idx="745">
                  <c:v>23.979437737702789</c:v>
                </c:pt>
                <c:pt idx="746">
                  <c:v>23.979437737702789</c:v>
                </c:pt>
                <c:pt idx="747">
                  <c:v>23.979437737702789</c:v>
                </c:pt>
                <c:pt idx="748">
                  <c:v>23.979437737702789</c:v>
                </c:pt>
                <c:pt idx="749">
                  <c:v>23.979437737702789</c:v>
                </c:pt>
                <c:pt idx="750">
                  <c:v>23.979437737702789</c:v>
                </c:pt>
                <c:pt idx="751">
                  <c:v>23.979437737702789</c:v>
                </c:pt>
                <c:pt idx="752">
                  <c:v>23.979437737702789</c:v>
                </c:pt>
                <c:pt idx="753">
                  <c:v>23.979437737702789</c:v>
                </c:pt>
                <c:pt idx="754">
                  <c:v>23.979437737702789</c:v>
                </c:pt>
                <c:pt idx="755">
                  <c:v>23.979437737702789</c:v>
                </c:pt>
                <c:pt idx="756">
                  <c:v>23.979437737702789</c:v>
                </c:pt>
                <c:pt idx="757">
                  <c:v>23.979437737702789</c:v>
                </c:pt>
                <c:pt idx="758">
                  <c:v>23.979437737702789</c:v>
                </c:pt>
                <c:pt idx="759">
                  <c:v>23.979437737702789</c:v>
                </c:pt>
                <c:pt idx="760">
                  <c:v>23.979437737702789</c:v>
                </c:pt>
                <c:pt idx="761">
                  <c:v>23.979437737702789</c:v>
                </c:pt>
                <c:pt idx="762">
                  <c:v>23.979437737702789</c:v>
                </c:pt>
                <c:pt idx="763">
                  <c:v>23.979437737702789</c:v>
                </c:pt>
                <c:pt idx="764">
                  <c:v>23.979437737702789</c:v>
                </c:pt>
                <c:pt idx="765">
                  <c:v>23.979437737702789</c:v>
                </c:pt>
                <c:pt idx="766">
                  <c:v>23.979437737702789</c:v>
                </c:pt>
                <c:pt idx="767">
                  <c:v>23.979437737702789</c:v>
                </c:pt>
                <c:pt idx="768">
                  <c:v>23.979437737702789</c:v>
                </c:pt>
                <c:pt idx="769">
                  <c:v>23.979437737702789</c:v>
                </c:pt>
                <c:pt idx="770">
                  <c:v>23.979437737702789</c:v>
                </c:pt>
                <c:pt idx="771">
                  <c:v>23.979437737702789</c:v>
                </c:pt>
                <c:pt idx="772">
                  <c:v>23.979437737702789</c:v>
                </c:pt>
                <c:pt idx="773">
                  <c:v>23.979437737702789</c:v>
                </c:pt>
                <c:pt idx="774">
                  <c:v>23.979437737702789</c:v>
                </c:pt>
                <c:pt idx="775">
                  <c:v>23.979437737702789</c:v>
                </c:pt>
                <c:pt idx="776">
                  <c:v>23.979437737702789</c:v>
                </c:pt>
                <c:pt idx="777">
                  <c:v>23.979437737702789</c:v>
                </c:pt>
                <c:pt idx="778">
                  <c:v>23.979437737702789</c:v>
                </c:pt>
                <c:pt idx="779">
                  <c:v>23.979437737702789</c:v>
                </c:pt>
                <c:pt idx="780">
                  <c:v>23.979437737702789</c:v>
                </c:pt>
                <c:pt idx="781">
                  <c:v>23.979437737702789</c:v>
                </c:pt>
                <c:pt idx="782">
                  <c:v>23.979437737702789</c:v>
                </c:pt>
                <c:pt idx="783">
                  <c:v>23.979437737702789</c:v>
                </c:pt>
                <c:pt idx="784">
                  <c:v>23.979437737702789</c:v>
                </c:pt>
                <c:pt idx="785">
                  <c:v>23.979437737702789</c:v>
                </c:pt>
                <c:pt idx="786">
                  <c:v>23.979437737702789</c:v>
                </c:pt>
                <c:pt idx="787">
                  <c:v>23.979437737702789</c:v>
                </c:pt>
                <c:pt idx="788">
                  <c:v>23.979437737702789</c:v>
                </c:pt>
                <c:pt idx="789">
                  <c:v>23.979437737702789</c:v>
                </c:pt>
                <c:pt idx="790">
                  <c:v>23.979437737702789</c:v>
                </c:pt>
                <c:pt idx="791">
                  <c:v>23.979437737702789</c:v>
                </c:pt>
                <c:pt idx="792">
                  <c:v>23.979437737702789</c:v>
                </c:pt>
                <c:pt idx="793">
                  <c:v>23.979437737702789</c:v>
                </c:pt>
                <c:pt idx="794">
                  <c:v>23.979437737702789</c:v>
                </c:pt>
                <c:pt idx="795">
                  <c:v>23.979437737702789</c:v>
                </c:pt>
                <c:pt idx="796">
                  <c:v>23.979437737702789</c:v>
                </c:pt>
                <c:pt idx="797">
                  <c:v>23.979437737702789</c:v>
                </c:pt>
                <c:pt idx="798">
                  <c:v>23.979437737702789</c:v>
                </c:pt>
                <c:pt idx="799">
                  <c:v>23.979437737702789</c:v>
                </c:pt>
                <c:pt idx="800">
                  <c:v>23.979437737702789</c:v>
                </c:pt>
                <c:pt idx="801">
                  <c:v>23.979437737702789</c:v>
                </c:pt>
                <c:pt idx="802">
                  <c:v>23.979437737702789</c:v>
                </c:pt>
                <c:pt idx="803">
                  <c:v>23.979437737702789</c:v>
                </c:pt>
                <c:pt idx="804">
                  <c:v>23.979437737702789</c:v>
                </c:pt>
                <c:pt idx="805">
                  <c:v>23.979437737702789</c:v>
                </c:pt>
                <c:pt idx="806">
                  <c:v>23.979437737702789</c:v>
                </c:pt>
                <c:pt idx="807">
                  <c:v>23.979437737702789</c:v>
                </c:pt>
                <c:pt idx="808">
                  <c:v>23.979437737702789</c:v>
                </c:pt>
                <c:pt idx="809">
                  <c:v>23.979437737702789</c:v>
                </c:pt>
                <c:pt idx="810">
                  <c:v>23.979437737702789</c:v>
                </c:pt>
                <c:pt idx="811">
                  <c:v>23.979437737702789</c:v>
                </c:pt>
                <c:pt idx="812">
                  <c:v>23.979437737702789</c:v>
                </c:pt>
                <c:pt idx="813">
                  <c:v>23.979437737702789</c:v>
                </c:pt>
                <c:pt idx="814">
                  <c:v>23.979437737702789</c:v>
                </c:pt>
                <c:pt idx="815">
                  <c:v>23.979437737702789</c:v>
                </c:pt>
                <c:pt idx="816">
                  <c:v>23.979437737702789</c:v>
                </c:pt>
                <c:pt idx="817">
                  <c:v>23.979437737702789</c:v>
                </c:pt>
                <c:pt idx="818">
                  <c:v>23.979437737702789</c:v>
                </c:pt>
                <c:pt idx="819">
                  <c:v>23.979437737702789</c:v>
                </c:pt>
                <c:pt idx="820">
                  <c:v>23.979437737702789</c:v>
                </c:pt>
                <c:pt idx="821">
                  <c:v>23.979437737702789</c:v>
                </c:pt>
                <c:pt idx="822">
                  <c:v>23.979437737702789</c:v>
                </c:pt>
                <c:pt idx="823">
                  <c:v>23.979437737702789</c:v>
                </c:pt>
                <c:pt idx="824">
                  <c:v>23.979437737702789</c:v>
                </c:pt>
                <c:pt idx="825">
                  <c:v>23.979437737702789</c:v>
                </c:pt>
                <c:pt idx="826">
                  <c:v>23.979437737702789</c:v>
                </c:pt>
                <c:pt idx="827">
                  <c:v>23.979437737702789</c:v>
                </c:pt>
                <c:pt idx="828">
                  <c:v>23.979437737702789</c:v>
                </c:pt>
                <c:pt idx="829">
                  <c:v>23.979437737702789</c:v>
                </c:pt>
                <c:pt idx="830">
                  <c:v>23.979437737702789</c:v>
                </c:pt>
                <c:pt idx="831">
                  <c:v>23.979437737702789</c:v>
                </c:pt>
                <c:pt idx="832">
                  <c:v>23.979437737702789</c:v>
                </c:pt>
                <c:pt idx="833">
                  <c:v>23.979437737702789</c:v>
                </c:pt>
                <c:pt idx="834">
                  <c:v>23.979437737702789</c:v>
                </c:pt>
                <c:pt idx="835">
                  <c:v>23.979437737702789</c:v>
                </c:pt>
                <c:pt idx="836">
                  <c:v>23.979437737702789</c:v>
                </c:pt>
                <c:pt idx="837">
                  <c:v>23.979437737702789</c:v>
                </c:pt>
                <c:pt idx="838">
                  <c:v>23.979437737702789</c:v>
                </c:pt>
                <c:pt idx="839">
                  <c:v>23.979437737702789</c:v>
                </c:pt>
                <c:pt idx="840">
                  <c:v>23.979437737702789</c:v>
                </c:pt>
                <c:pt idx="841">
                  <c:v>23.979437737702789</c:v>
                </c:pt>
                <c:pt idx="842">
                  <c:v>23.979437737702789</c:v>
                </c:pt>
                <c:pt idx="843">
                  <c:v>23.979437737702789</c:v>
                </c:pt>
                <c:pt idx="844">
                  <c:v>23.979437737702789</c:v>
                </c:pt>
                <c:pt idx="845">
                  <c:v>23.979437737702789</c:v>
                </c:pt>
                <c:pt idx="846">
                  <c:v>23.979437737702789</c:v>
                </c:pt>
                <c:pt idx="847">
                  <c:v>23.979437737702789</c:v>
                </c:pt>
                <c:pt idx="848">
                  <c:v>23.979437737702789</c:v>
                </c:pt>
                <c:pt idx="849">
                  <c:v>23.979437737702789</c:v>
                </c:pt>
                <c:pt idx="850">
                  <c:v>23.979437737702789</c:v>
                </c:pt>
                <c:pt idx="851">
                  <c:v>23.979437737702789</c:v>
                </c:pt>
                <c:pt idx="852">
                  <c:v>23.979437737702789</c:v>
                </c:pt>
                <c:pt idx="853">
                  <c:v>23.979437737702789</c:v>
                </c:pt>
                <c:pt idx="854">
                  <c:v>23.979437737702789</c:v>
                </c:pt>
                <c:pt idx="855">
                  <c:v>23.979437737702789</c:v>
                </c:pt>
                <c:pt idx="856">
                  <c:v>23.979437737702789</c:v>
                </c:pt>
                <c:pt idx="857">
                  <c:v>23.979437737702789</c:v>
                </c:pt>
                <c:pt idx="858">
                  <c:v>23.979437737702789</c:v>
                </c:pt>
                <c:pt idx="859">
                  <c:v>23.979437737702789</c:v>
                </c:pt>
                <c:pt idx="860">
                  <c:v>23.979437737702789</c:v>
                </c:pt>
                <c:pt idx="861">
                  <c:v>23.979437737702789</c:v>
                </c:pt>
                <c:pt idx="862">
                  <c:v>23.979437737702789</c:v>
                </c:pt>
                <c:pt idx="863">
                  <c:v>23.979437737702789</c:v>
                </c:pt>
                <c:pt idx="864">
                  <c:v>23.979437737702789</c:v>
                </c:pt>
                <c:pt idx="865">
                  <c:v>23.979437737702789</c:v>
                </c:pt>
                <c:pt idx="866">
                  <c:v>23.979437737702789</c:v>
                </c:pt>
                <c:pt idx="867">
                  <c:v>23.979437737702789</c:v>
                </c:pt>
                <c:pt idx="868">
                  <c:v>23.979437737702789</c:v>
                </c:pt>
                <c:pt idx="869">
                  <c:v>23.979437737702789</c:v>
                </c:pt>
                <c:pt idx="870">
                  <c:v>23.979437737702789</c:v>
                </c:pt>
                <c:pt idx="871">
                  <c:v>23.979437737702789</c:v>
                </c:pt>
                <c:pt idx="872">
                  <c:v>23.979437737702789</c:v>
                </c:pt>
                <c:pt idx="873">
                  <c:v>23.979437737702789</c:v>
                </c:pt>
                <c:pt idx="874">
                  <c:v>23.979437737702789</c:v>
                </c:pt>
                <c:pt idx="875">
                  <c:v>23.979437737702789</c:v>
                </c:pt>
                <c:pt idx="876">
                  <c:v>23.979437737702789</c:v>
                </c:pt>
                <c:pt idx="877">
                  <c:v>23.979437737702789</c:v>
                </c:pt>
                <c:pt idx="878">
                  <c:v>23.979437737702789</c:v>
                </c:pt>
                <c:pt idx="879">
                  <c:v>23.979437737702789</c:v>
                </c:pt>
                <c:pt idx="880">
                  <c:v>23.979437737702789</c:v>
                </c:pt>
                <c:pt idx="881">
                  <c:v>23.979437737702789</c:v>
                </c:pt>
                <c:pt idx="882">
                  <c:v>23.979437737702789</c:v>
                </c:pt>
                <c:pt idx="883">
                  <c:v>23.979437737702789</c:v>
                </c:pt>
                <c:pt idx="884">
                  <c:v>23.979437737702789</c:v>
                </c:pt>
                <c:pt idx="885">
                  <c:v>23.979437737702789</c:v>
                </c:pt>
                <c:pt idx="886">
                  <c:v>23.979437737702789</c:v>
                </c:pt>
                <c:pt idx="887">
                  <c:v>23.979437737702789</c:v>
                </c:pt>
                <c:pt idx="888">
                  <c:v>23.979437737702789</c:v>
                </c:pt>
                <c:pt idx="889">
                  <c:v>23.979437737702789</c:v>
                </c:pt>
                <c:pt idx="890">
                  <c:v>23.979437737702789</c:v>
                </c:pt>
                <c:pt idx="891">
                  <c:v>23.979437737702789</c:v>
                </c:pt>
              </c:numCache>
            </c:numRef>
          </c:val>
          <c:smooth val="0"/>
          <c:extLst>
            <c:ext xmlns:c16="http://schemas.microsoft.com/office/drawing/2014/chart" uri="{C3380CC4-5D6E-409C-BE32-E72D297353CC}">
              <c16:uniqueId val="{00000004-7DF5-4049-9C18-76D54EAFDC14}"/>
            </c:ext>
          </c:extLst>
        </c:ser>
        <c:ser>
          <c:idx val="4"/>
          <c:order val="5"/>
          <c:tx>
            <c:strRef>
              <c:f>USA!$EC$8</c:f>
              <c:strCache>
                <c:ptCount val="1"/>
              </c:strCache>
            </c:strRef>
          </c:tx>
          <c:spPr>
            <a:ln w="19050" cap="rnd" cmpd="sng" algn="ctr">
              <a:solidFill>
                <a:srgbClr val="CCCABC"/>
              </a:solidFill>
              <a:prstDash val="solid"/>
              <a:round/>
              <a:headEnd type="none" w="med" len="med"/>
              <a:tailEnd type="none" w="med" len="med"/>
            </a:ln>
            <a:effectLst/>
          </c:spPr>
          <c:marker>
            <c:symbol val="none"/>
          </c:marker>
          <c:cat>
            <c:numRef>
              <c:f>USA!$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USA!$EC$9:$EC$901</c:f>
              <c:numCache>
                <c:formatCode>0.00</c:formatCode>
                <c:ptCount val="893"/>
                <c:pt idx="0">
                  <c:v>14.556941408919942</c:v>
                </c:pt>
                <c:pt idx="1">
                  <c:v>14.556941408919942</c:v>
                </c:pt>
                <c:pt idx="2">
                  <c:v>14.556941408919942</c:v>
                </c:pt>
                <c:pt idx="3">
                  <c:v>14.556941408919942</c:v>
                </c:pt>
                <c:pt idx="4">
                  <c:v>14.556941408919942</c:v>
                </c:pt>
                <c:pt idx="5">
                  <c:v>14.556941408919942</c:v>
                </c:pt>
                <c:pt idx="6">
                  <c:v>14.556941408919942</c:v>
                </c:pt>
                <c:pt idx="7">
                  <c:v>14.556941408919942</c:v>
                </c:pt>
                <c:pt idx="8">
                  <c:v>14.556941408919942</c:v>
                </c:pt>
                <c:pt idx="9">
                  <c:v>14.556941408919942</c:v>
                </c:pt>
                <c:pt idx="10">
                  <c:v>14.556941408919942</c:v>
                </c:pt>
                <c:pt idx="11">
                  <c:v>14.556941408919942</c:v>
                </c:pt>
                <c:pt idx="12">
                  <c:v>14.556941408919942</c:v>
                </c:pt>
                <c:pt idx="13">
                  <c:v>14.556941408919942</c:v>
                </c:pt>
                <c:pt idx="14">
                  <c:v>14.556941408919942</c:v>
                </c:pt>
                <c:pt idx="15">
                  <c:v>14.556941408919942</c:v>
                </c:pt>
                <c:pt idx="16">
                  <c:v>14.556941408919942</c:v>
                </c:pt>
                <c:pt idx="17">
                  <c:v>14.556941408919942</c:v>
                </c:pt>
                <c:pt idx="18">
                  <c:v>14.556941408919942</c:v>
                </c:pt>
                <c:pt idx="19">
                  <c:v>14.556941408919942</c:v>
                </c:pt>
                <c:pt idx="20">
                  <c:v>14.556941408919942</c:v>
                </c:pt>
                <c:pt idx="21">
                  <c:v>14.556941408919942</c:v>
                </c:pt>
                <c:pt idx="22">
                  <c:v>14.556941408919942</c:v>
                </c:pt>
                <c:pt idx="23">
                  <c:v>14.556941408919942</c:v>
                </c:pt>
                <c:pt idx="24">
                  <c:v>14.556941408919942</c:v>
                </c:pt>
                <c:pt idx="25">
                  <c:v>14.556941408919942</c:v>
                </c:pt>
                <c:pt idx="26">
                  <c:v>14.556941408919942</c:v>
                </c:pt>
                <c:pt idx="27">
                  <c:v>14.556941408919942</c:v>
                </c:pt>
                <c:pt idx="28">
                  <c:v>14.556941408919942</c:v>
                </c:pt>
                <c:pt idx="29">
                  <c:v>14.556941408919942</c:v>
                </c:pt>
                <c:pt idx="30">
                  <c:v>14.556941408919942</c:v>
                </c:pt>
                <c:pt idx="31">
                  <c:v>14.556941408919942</c:v>
                </c:pt>
                <c:pt idx="32">
                  <c:v>14.556941408919942</c:v>
                </c:pt>
                <c:pt idx="33">
                  <c:v>14.556941408919942</c:v>
                </c:pt>
                <c:pt idx="34">
                  <c:v>14.556941408919942</c:v>
                </c:pt>
                <c:pt idx="35">
                  <c:v>14.556941408919942</c:v>
                </c:pt>
                <c:pt idx="36">
                  <c:v>14.556941408919942</c:v>
                </c:pt>
                <c:pt idx="37">
                  <c:v>14.556941408919942</c:v>
                </c:pt>
                <c:pt idx="38">
                  <c:v>14.556941408919942</c:v>
                </c:pt>
                <c:pt idx="39">
                  <c:v>14.556941408919942</c:v>
                </c:pt>
                <c:pt idx="40">
                  <c:v>14.556941408919942</c:v>
                </c:pt>
                <c:pt idx="41">
                  <c:v>14.556941408919942</c:v>
                </c:pt>
                <c:pt idx="42">
                  <c:v>14.556941408919942</c:v>
                </c:pt>
                <c:pt idx="43">
                  <c:v>14.556941408919942</c:v>
                </c:pt>
                <c:pt idx="44">
                  <c:v>14.556941408919942</c:v>
                </c:pt>
                <c:pt idx="45">
                  <c:v>14.556941408919942</c:v>
                </c:pt>
                <c:pt idx="46">
                  <c:v>14.556941408919942</c:v>
                </c:pt>
                <c:pt idx="47">
                  <c:v>14.556941408919942</c:v>
                </c:pt>
                <c:pt idx="48">
                  <c:v>14.556941408919942</c:v>
                </c:pt>
                <c:pt idx="49">
                  <c:v>14.556941408919942</c:v>
                </c:pt>
                <c:pt idx="50">
                  <c:v>14.556941408919942</c:v>
                </c:pt>
                <c:pt idx="51">
                  <c:v>14.556941408919942</c:v>
                </c:pt>
                <c:pt idx="52">
                  <c:v>14.556941408919942</c:v>
                </c:pt>
                <c:pt idx="53">
                  <c:v>14.556941408919942</c:v>
                </c:pt>
                <c:pt idx="54">
                  <c:v>14.556941408919942</c:v>
                </c:pt>
                <c:pt idx="55">
                  <c:v>14.556941408919942</c:v>
                </c:pt>
                <c:pt idx="56">
                  <c:v>14.556941408919942</c:v>
                </c:pt>
                <c:pt idx="57">
                  <c:v>14.556941408919942</c:v>
                </c:pt>
                <c:pt idx="58">
                  <c:v>14.556941408919942</c:v>
                </c:pt>
                <c:pt idx="59">
                  <c:v>14.556941408919942</c:v>
                </c:pt>
                <c:pt idx="60">
                  <c:v>14.556941408919942</c:v>
                </c:pt>
                <c:pt idx="61">
                  <c:v>14.556941408919942</c:v>
                </c:pt>
                <c:pt idx="62">
                  <c:v>14.556941408919942</c:v>
                </c:pt>
                <c:pt idx="63">
                  <c:v>14.556941408919942</c:v>
                </c:pt>
                <c:pt idx="64">
                  <c:v>14.556941408919942</c:v>
                </c:pt>
                <c:pt idx="65">
                  <c:v>14.556941408919942</c:v>
                </c:pt>
                <c:pt idx="66">
                  <c:v>14.556941408919942</c:v>
                </c:pt>
                <c:pt idx="67">
                  <c:v>14.556941408919942</c:v>
                </c:pt>
                <c:pt idx="68">
                  <c:v>14.556941408919942</c:v>
                </c:pt>
                <c:pt idx="69">
                  <c:v>14.556941408919942</c:v>
                </c:pt>
                <c:pt idx="70">
                  <c:v>14.556941408919942</c:v>
                </c:pt>
                <c:pt idx="71">
                  <c:v>14.556941408919942</c:v>
                </c:pt>
                <c:pt idx="72">
                  <c:v>14.556941408919942</c:v>
                </c:pt>
                <c:pt idx="73">
                  <c:v>14.556941408919942</c:v>
                </c:pt>
                <c:pt idx="74">
                  <c:v>14.556941408919942</c:v>
                </c:pt>
                <c:pt idx="75">
                  <c:v>14.556941408919942</c:v>
                </c:pt>
                <c:pt idx="76">
                  <c:v>14.556941408919942</c:v>
                </c:pt>
                <c:pt idx="77">
                  <c:v>14.556941408919942</c:v>
                </c:pt>
                <c:pt idx="78">
                  <c:v>14.556941408919942</c:v>
                </c:pt>
                <c:pt idx="79">
                  <c:v>14.556941408919942</c:v>
                </c:pt>
                <c:pt idx="80">
                  <c:v>14.556941408919942</c:v>
                </c:pt>
                <c:pt idx="81">
                  <c:v>14.556941408919942</c:v>
                </c:pt>
                <c:pt idx="82">
                  <c:v>14.556941408919942</c:v>
                </c:pt>
                <c:pt idx="83">
                  <c:v>14.556941408919942</c:v>
                </c:pt>
                <c:pt idx="84">
                  <c:v>14.556941408919942</c:v>
                </c:pt>
                <c:pt idx="85">
                  <c:v>14.556941408919942</c:v>
                </c:pt>
                <c:pt idx="86">
                  <c:v>14.556941408919942</c:v>
                </c:pt>
                <c:pt idx="87">
                  <c:v>14.556941408919942</c:v>
                </c:pt>
                <c:pt idx="88">
                  <c:v>14.556941408919942</c:v>
                </c:pt>
                <c:pt idx="89">
                  <c:v>14.556941408919942</c:v>
                </c:pt>
                <c:pt idx="90">
                  <c:v>14.556941408919942</c:v>
                </c:pt>
                <c:pt idx="91">
                  <c:v>14.556941408919942</c:v>
                </c:pt>
                <c:pt idx="92">
                  <c:v>14.556941408919942</c:v>
                </c:pt>
                <c:pt idx="93">
                  <c:v>14.556941408919942</c:v>
                </c:pt>
                <c:pt idx="94">
                  <c:v>14.556941408919942</c:v>
                </c:pt>
                <c:pt idx="95">
                  <c:v>14.556941408919942</c:v>
                </c:pt>
                <c:pt idx="96">
                  <c:v>14.556941408919942</c:v>
                </c:pt>
                <c:pt idx="97">
                  <c:v>14.556941408919942</c:v>
                </c:pt>
                <c:pt idx="98">
                  <c:v>14.556941408919942</c:v>
                </c:pt>
                <c:pt idx="99">
                  <c:v>14.556941408919942</c:v>
                </c:pt>
                <c:pt idx="100">
                  <c:v>14.556941408919942</c:v>
                </c:pt>
                <c:pt idx="101">
                  <c:v>14.556941408919942</c:v>
                </c:pt>
                <c:pt idx="102">
                  <c:v>14.556941408919942</c:v>
                </c:pt>
                <c:pt idx="103">
                  <c:v>14.556941408919942</c:v>
                </c:pt>
                <c:pt idx="104">
                  <c:v>14.556941408919942</c:v>
                </c:pt>
                <c:pt idx="105">
                  <c:v>14.556941408919942</c:v>
                </c:pt>
                <c:pt idx="106">
                  <c:v>14.556941408919942</c:v>
                </c:pt>
                <c:pt idx="107">
                  <c:v>14.556941408919942</c:v>
                </c:pt>
                <c:pt idx="108">
                  <c:v>14.556941408919942</c:v>
                </c:pt>
                <c:pt idx="109">
                  <c:v>14.556941408919942</c:v>
                </c:pt>
                <c:pt idx="110">
                  <c:v>14.556941408919942</c:v>
                </c:pt>
                <c:pt idx="111">
                  <c:v>14.556941408919942</c:v>
                </c:pt>
                <c:pt idx="112">
                  <c:v>14.556941408919942</c:v>
                </c:pt>
                <c:pt idx="113">
                  <c:v>14.556941408919942</c:v>
                </c:pt>
                <c:pt idx="114">
                  <c:v>14.556941408919942</c:v>
                </c:pt>
                <c:pt idx="115">
                  <c:v>14.556941408919942</c:v>
                </c:pt>
                <c:pt idx="116">
                  <c:v>14.556941408919942</c:v>
                </c:pt>
                <c:pt idx="117">
                  <c:v>14.556941408919942</c:v>
                </c:pt>
                <c:pt idx="118">
                  <c:v>14.556941408919942</c:v>
                </c:pt>
                <c:pt idx="119">
                  <c:v>14.556941408919942</c:v>
                </c:pt>
                <c:pt idx="120">
                  <c:v>14.556941408919942</c:v>
                </c:pt>
                <c:pt idx="121">
                  <c:v>14.556941408919942</c:v>
                </c:pt>
                <c:pt idx="122">
                  <c:v>14.556941408919942</c:v>
                </c:pt>
                <c:pt idx="123">
                  <c:v>14.556941408919942</c:v>
                </c:pt>
                <c:pt idx="124">
                  <c:v>14.556941408919942</c:v>
                </c:pt>
                <c:pt idx="125">
                  <c:v>14.556941408919942</c:v>
                </c:pt>
                <c:pt idx="126">
                  <c:v>14.556941408919942</c:v>
                </c:pt>
                <c:pt idx="127">
                  <c:v>14.556941408919942</c:v>
                </c:pt>
                <c:pt idx="128">
                  <c:v>14.556941408919942</c:v>
                </c:pt>
                <c:pt idx="129">
                  <c:v>14.556941408919942</c:v>
                </c:pt>
                <c:pt idx="130">
                  <c:v>14.556941408919942</c:v>
                </c:pt>
                <c:pt idx="131">
                  <c:v>14.556941408919942</c:v>
                </c:pt>
                <c:pt idx="132">
                  <c:v>14.556941408919942</c:v>
                </c:pt>
                <c:pt idx="133">
                  <c:v>14.556941408919942</c:v>
                </c:pt>
                <c:pt idx="134">
                  <c:v>14.556941408919942</c:v>
                </c:pt>
                <c:pt idx="135">
                  <c:v>14.556941408919942</c:v>
                </c:pt>
                <c:pt idx="136">
                  <c:v>14.556941408919942</c:v>
                </c:pt>
                <c:pt idx="137">
                  <c:v>14.556941408919942</c:v>
                </c:pt>
                <c:pt idx="138">
                  <c:v>14.556941408919942</c:v>
                </c:pt>
                <c:pt idx="139">
                  <c:v>14.556941408919942</c:v>
                </c:pt>
                <c:pt idx="140">
                  <c:v>14.556941408919942</c:v>
                </c:pt>
                <c:pt idx="141">
                  <c:v>14.556941408919942</c:v>
                </c:pt>
                <c:pt idx="142">
                  <c:v>14.556941408919942</c:v>
                </c:pt>
                <c:pt idx="143">
                  <c:v>14.556941408919942</c:v>
                </c:pt>
                <c:pt idx="144">
                  <c:v>14.556941408919942</c:v>
                </c:pt>
                <c:pt idx="145">
                  <c:v>14.556941408919942</c:v>
                </c:pt>
                <c:pt idx="146">
                  <c:v>14.556941408919942</c:v>
                </c:pt>
                <c:pt idx="147">
                  <c:v>14.556941408919942</c:v>
                </c:pt>
                <c:pt idx="148">
                  <c:v>14.556941408919942</c:v>
                </c:pt>
                <c:pt idx="149">
                  <c:v>14.556941408919942</c:v>
                </c:pt>
                <c:pt idx="150">
                  <c:v>14.556941408919942</c:v>
                </c:pt>
                <c:pt idx="151">
                  <c:v>14.556941408919942</c:v>
                </c:pt>
                <c:pt idx="152">
                  <c:v>14.556941408919942</c:v>
                </c:pt>
                <c:pt idx="153">
                  <c:v>14.556941408919942</c:v>
                </c:pt>
                <c:pt idx="154">
                  <c:v>14.556941408919942</c:v>
                </c:pt>
                <c:pt idx="155">
                  <c:v>14.556941408919942</c:v>
                </c:pt>
                <c:pt idx="156">
                  <c:v>14.556941408919942</c:v>
                </c:pt>
                <c:pt idx="157">
                  <c:v>14.556941408919942</c:v>
                </c:pt>
                <c:pt idx="158">
                  <c:v>14.556941408919942</c:v>
                </c:pt>
                <c:pt idx="159">
                  <c:v>14.556941408919942</c:v>
                </c:pt>
                <c:pt idx="160">
                  <c:v>14.556941408919942</c:v>
                </c:pt>
                <c:pt idx="161">
                  <c:v>14.556941408919942</c:v>
                </c:pt>
                <c:pt idx="162">
                  <c:v>14.556941408919942</c:v>
                </c:pt>
                <c:pt idx="163">
                  <c:v>14.556941408919942</c:v>
                </c:pt>
                <c:pt idx="164">
                  <c:v>14.556941408919942</c:v>
                </c:pt>
                <c:pt idx="165">
                  <c:v>14.556941408919942</c:v>
                </c:pt>
                <c:pt idx="166">
                  <c:v>14.556941408919942</c:v>
                </c:pt>
                <c:pt idx="167">
                  <c:v>14.556941408919942</c:v>
                </c:pt>
                <c:pt idx="168">
                  <c:v>14.556941408919942</c:v>
                </c:pt>
                <c:pt idx="169">
                  <c:v>14.556941408919942</c:v>
                </c:pt>
                <c:pt idx="170">
                  <c:v>14.556941408919942</c:v>
                </c:pt>
                <c:pt idx="171">
                  <c:v>14.556941408919942</c:v>
                </c:pt>
                <c:pt idx="172">
                  <c:v>14.556941408919942</c:v>
                </c:pt>
                <c:pt idx="173">
                  <c:v>14.556941408919942</c:v>
                </c:pt>
                <c:pt idx="174">
                  <c:v>14.556941408919942</c:v>
                </c:pt>
                <c:pt idx="175">
                  <c:v>14.556941408919942</c:v>
                </c:pt>
                <c:pt idx="176">
                  <c:v>14.556941408919942</c:v>
                </c:pt>
                <c:pt idx="177">
                  <c:v>14.556941408919942</c:v>
                </c:pt>
                <c:pt idx="178">
                  <c:v>14.556941408919942</c:v>
                </c:pt>
                <c:pt idx="179">
                  <c:v>14.556941408919942</c:v>
                </c:pt>
                <c:pt idx="180">
                  <c:v>14.556941408919942</c:v>
                </c:pt>
                <c:pt idx="181">
                  <c:v>14.556941408919942</c:v>
                </c:pt>
                <c:pt idx="182">
                  <c:v>14.556941408919942</c:v>
                </c:pt>
                <c:pt idx="183">
                  <c:v>14.556941408919942</c:v>
                </c:pt>
                <c:pt idx="184">
                  <c:v>14.556941408919942</c:v>
                </c:pt>
                <c:pt idx="185">
                  <c:v>14.556941408919942</c:v>
                </c:pt>
                <c:pt idx="186">
                  <c:v>14.556941408919942</c:v>
                </c:pt>
                <c:pt idx="187">
                  <c:v>14.556941408919942</c:v>
                </c:pt>
                <c:pt idx="188">
                  <c:v>14.556941408919942</c:v>
                </c:pt>
                <c:pt idx="189">
                  <c:v>14.556941408919942</c:v>
                </c:pt>
                <c:pt idx="190">
                  <c:v>14.556941408919942</c:v>
                </c:pt>
                <c:pt idx="191">
                  <c:v>14.556941408919942</c:v>
                </c:pt>
                <c:pt idx="192">
                  <c:v>14.556941408919942</c:v>
                </c:pt>
                <c:pt idx="193">
                  <c:v>14.556941408919942</c:v>
                </c:pt>
                <c:pt idx="194">
                  <c:v>14.556941408919942</c:v>
                </c:pt>
                <c:pt idx="195">
                  <c:v>14.556941408919942</c:v>
                </c:pt>
                <c:pt idx="196">
                  <c:v>14.556941408919942</c:v>
                </c:pt>
                <c:pt idx="197">
                  <c:v>14.556941408919942</c:v>
                </c:pt>
                <c:pt idx="198">
                  <c:v>14.556941408919942</c:v>
                </c:pt>
                <c:pt idx="199">
                  <c:v>14.556941408919942</c:v>
                </c:pt>
                <c:pt idx="200">
                  <c:v>14.556941408919942</c:v>
                </c:pt>
                <c:pt idx="201">
                  <c:v>14.556941408919942</c:v>
                </c:pt>
                <c:pt idx="202">
                  <c:v>14.556941408919942</c:v>
                </c:pt>
                <c:pt idx="203">
                  <c:v>14.556941408919942</c:v>
                </c:pt>
                <c:pt idx="204">
                  <c:v>14.556941408919942</c:v>
                </c:pt>
                <c:pt idx="205">
                  <c:v>14.556941408919942</c:v>
                </c:pt>
                <c:pt idx="206">
                  <c:v>14.556941408919942</c:v>
                </c:pt>
                <c:pt idx="207">
                  <c:v>14.556941408919942</c:v>
                </c:pt>
                <c:pt idx="208">
                  <c:v>14.556941408919942</c:v>
                </c:pt>
                <c:pt idx="209">
                  <c:v>14.556941408919942</c:v>
                </c:pt>
                <c:pt idx="210">
                  <c:v>14.556941408919942</c:v>
                </c:pt>
                <c:pt idx="211">
                  <c:v>14.556941408919942</c:v>
                </c:pt>
                <c:pt idx="212">
                  <c:v>14.556941408919942</c:v>
                </c:pt>
                <c:pt idx="213">
                  <c:v>14.556941408919942</c:v>
                </c:pt>
                <c:pt idx="214">
                  <c:v>14.556941408919942</c:v>
                </c:pt>
                <c:pt idx="215">
                  <c:v>14.556941408919942</c:v>
                </c:pt>
                <c:pt idx="216">
                  <c:v>14.556941408919942</c:v>
                </c:pt>
                <c:pt idx="217">
                  <c:v>14.556941408919942</c:v>
                </c:pt>
                <c:pt idx="218">
                  <c:v>14.556941408919942</c:v>
                </c:pt>
                <c:pt idx="219">
                  <c:v>14.556941408919942</c:v>
                </c:pt>
                <c:pt idx="220">
                  <c:v>14.556941408919942</c:v>
                </c:pt>
                <c:pt idx="221">
                  <c:v>14.556941408919942</c:v>
                </c:pt>
                <c:pt idx="222">
                  <c:v>14.556941408919942</c:v>
                </c:pt>
                <c:pt idx="223">
                  <c:v>14.556941408919942</c:v>
                </c:pt>
                <c:pt idx="224">
                  <c:v>14.556941408919942</c:v>
                </c:pt>
                <c:pt idx="225">
                  <c:v>14.556941408919942</c:v>
                </c:pt>
                <c:pt idx="226">
                  <c:v>14.556941408919942</c:v>
                </c:pt>
                <c:pt idx="227">
                  <c:v>14.556941408919942</c:v>
                </c:pt>
                <c:pt idx="228">
                  <c:v>14.556941408919942</c:v>
                </c:pt>
                <c:pt idx="229">
                  <c:v>14.556941408919942</c:v>
                </c:pt>
                <c:pt idx="230">
                  <c:v>14.556941408919942</c:v>
                </c:pt>
                <c:pt idx="231">
                  <c:v>14.556941408919942</c:v>
                </c:pt>
                <c:pt idx="232">
                  <c:v>14.556941408919942</c:v>
                </c:pt>
                <c:pt idx="233">
                  <c:v>14.556941408919942</c:v>
                </c:pt>
                <c:pt idx="234">
                  <c:v>14.556941408919942</c:v>
                </c:pt>
                <c:pt idx="235">
                  <c:v>14.556941408919942</c:v>
                </c:pt>
                <c:pt idx="236">
                  <c:v>14.556941408919942</c:v>
                </c:pt>
                <c:pt idx="237">
                  <c:v>14.556941408919942</c:v>
                </c:pt>
                <c:pt idx="238">
                  <c:v>14.556941408919942</c:v>
                </c:pt>
                <c:pt idx="239">
                  <c:v>14.556941408919942</c:v>
                </c:pt>
                <c:pt idx="240">
                  <c:v>14.556941408919942</c:v>
                </c:pt>
                <c:pt idx="241">
                  <c:v>14.556941408919942</c:v>
                </c:pt>
                <c:pt idx="242">
                  <c:v>14.556941408919942</c:v>
                </c:pt>
                <c:pt idx="243">
                  <c:v>14.556941408919942</c:v>
                </c:pt>
                <c:pt idx="244">
                  <c:v>14.556941408919942</c:v>
                </c:pt>
                <c:pt idx="245">
                  <c:v>14.556941408919942</c:v>
                </c:pt>
                <c:pt idx="246">
                  <c:v>14.556941408919942</c:v>
                </c:pt>
                <c:pt idx="247">
                  <c:v>14.556941408919942</c:v>
                </c:pt>
                <c:pt idx="248">
                  <c:v>14.556941408919942</c:v>
                </c:pt>
                <c:pt idx="249">
                  <c:v>14.556941408919942</c:v>
                </c:pt>
                <c:pt idx="250">
                  <c:v>14.556941408919942</c:v>
                </c:pt>
                <c:pt idx="251">
                  <c:v>14.556941408919942</c:v>
                </c:pt>
                <c:pt idx="252">
                  <c:v>14.556941408919942</c:v>
                </c:pt>
                <c:pt idx="253">
                  <c:v>14.556941408919942</c:v>
                </c:pt>
                <c:pt idx="254">
                  <c:v>14.556941408919942</c:v>
                </c:pt>
                <c:pt idx="255">
                  <c:v>14.556941408919942</c:v>
                </c:pt>
                <c:pt idx="256">
                  <c:v>14.556941408919942</c:v>
                </c:pt>
                <c:pt idx="257">
                  <c:v>14.556941408919942</c:v>
                </c:pt>
                <c:pt idx="258">
                  <c:v>14.556941408919942</c:v>
                </c:pt>
                <c:pt idx="259">
                  <c:v>14.556941408919942</c:v>
                </c:pt>
                <c:pt idx="260">
                  <c:v>14.556941408919942</c:v>
                </c:pt>
                <c:pt idx="261">
                  <c:v>14.556941408919942</c:v>
                </c:pt>
                <c:pt idx="262">
                  <c:v>14.556941408919942</c:v>
                </c:pt>
                <c:pt idx="263">
                  <c:v>14.556941408919942</c:v>
                </c:pt>
                <c:pt idx="264">
                  <c:v>14.556941408919942</c:v>
                </c:pt>
                <c:pt idx="265">
                  <c:v>14.556941408919942</c:v>
                </c:pt>
                <c:pt idx="266">
                  <c:v>14.556941408919942</c:v>
                </c:pt>
                <c:pt idx="267">
                  <c:v>14.556941408919942</c:v>
                </c:pt>
                <c:pt idx="268">
                  <c:v>14.556941408919942</c:v>
                </c:pt>
                <c:pt idx="269">
                  <c:v>14.556941408919942</c:v>
                </c:pt>
                <c:pt idx="270">
                  <c:v>14.556941408919942</c:v>
                </c:pt>
                <c:pt idx="271">
                  <c:v>14.556941408919942</c:v>
                </c:pt>
                <c:pt idx="272">
                  <c:v>14.556941408919942</c:v>
                </c:pt>
                <c:pt idx="273">
                  <c:v>14.556941408919942</c:v>
                </c:pt>
                <c:pt idx="274">
                  <c:v>14.556941408919942</c:v>
                </c:pt>
                <c:pt idx="275">
                  <c:v>14.556941408919942</c:v>
                </c:pt>
                <c:pt idx="276">
                  <c:v>14.556941408919942</c:v>
                </c:pt>
                <c:pt idx="277">
                  <c:v>14.556941408919942</c:v>
                </c:pt>
                <c:pt idx="278">
                  <c:v>14.556941408919942</c:v>
                </c:pt>
                <c:pt idx="279">
                  <c:v>14.556941408919942</c:v>
                </c:pt>
                <c:pt idx="280">
                  <c:v>14.556941408919942</c:v>
                </c:pt>
                <c:pt idx="281">
                  <c:v>14.556941408919942</c:v>
                </c:pt>
                <c:pt idx="282">
                  <c:v>14.556941408919942</c:v>
                </c:pt>
                <c:pt idx="283">
                  <c:v>14.556941408919942</c:v>
                </c:pt>
                <c:pt idx="284">
                  <c:v>14.556941408919942</c:v>
                </c:pt>
                <c:pt idx="285">
                  <c:v>14.556941408919942</c:v>
                </c:pt>
                <c:pt idx="286">
                  <c:v>14.556941408919942</c:v>
                </c:pt>
                <c:pt idx="287">
                  <c:v>14.556941408919942</c:v>
                </c:pt>
                <c:pt idx="288">
                  <c:v>14.556941408919942</c:v>
                </c:pt>
                <c:pt idx="289">
                  <c:v>14.556941408919942</c:v>
                </c:pt>
                <c:pt idx="290">
                  <c:v>14.556941408919942</c:v>
                </c:pt>
                <c:pt idx="291">
                  <c:v>14.556941408919942</c:v>
                </c:pt>
                <c:pt idx="292">
                  <c:v>14.556941408919942</c:v>
                </c:pt>
                <c:pt idx="293">
                  <c:v>14.556941408919942</c:v>
                </c:pt>
                <c:pt idx="294">
                  <c:v>14.556941408919942</c:v>
                </c:pt>
                <c:pt idx="295">
                  <c:v>14.556941408919942</c:v>
                </c:pt>
                <c:pt idx="296">
                  <c:v>14.556941408919942</c:v>
                </c:pt>
                <c:pt idx="297">
                  <c:v>14.556941408919942</c:v>
                </c:pt>
                <c:pt idx="298">
                  <c:v>14.556941408919942</c:v>
                </c:pt>
                <c:pt idx="299">
                  <c:v>14.556941408919942</c:v>
                </c:pt>
                <c:pt idx="300">
                  <c:v>14.556941408919942</c:v>
                </c:pt>
                <c:pt idx="301">
                  <c:v>14.556941408919942</c:v>
                </c:pt>
                <c:pt idx="302">
                  <c:v>14.556941408919942</c:v>
                </c:pt>
                <c:pt idx="303">
                  <c:v>14.556941408919942</c:v>
                </c:pt>
                <c:pt idx="304">
                  <c:v>14.556941408919942</c:v>
                </c:pt>
                <c:pt idx="305">
                  <c:v>14.556941408919942</c:v>
                </c:pt>
                <c:pt idx="306">
                  <c:v>14.556941408919942</c:v>
                </c:pt>
                <c:pt idx="307">
                  <c:v>14.556941408919942</c:v>
                </c:pt>
                <c:pt idx="308">
                  <c:v>14.556941408919942</c:v>
                </c:pt>
                <c:pt idx="309">
                  <c:v>14.556941408919942</c:v>
                </c:pt>
                <c:pt idx="310">
                  <c:v>14.556941408919942</c:v>
                </c:pt>
                <c:pt idx="311">
                  <c:v>14.556941408919942</c:v>
                </c:pt>
                <c:pt idx="312">
                  <c:v>14.556941408919942</c:v>
                </c:pt>
                <c:pt idx="313">
                  <c:v>14.556941408919942</c:v>
                </c:pt>
                <c:pt idx="314">
                  <c:v>14.556941408919942</c:v>
                </c:pt>
                <c:pt idx="315">
                  <c:v>14.556941408919942</c:v>
                </c:pt>
                <c:pt idx="316">
                  <c:v>14.556941408919942</c:v>
                </c:pt>
                <c:pt idx="317">
                  <c:v>14.556941408919942</c:v>
                </c:pt>
                <c:pt idx="318">
                  <c:v>14.556941408919942</c:v>
                </c:pt>
                <c:pt idx="319">
                  <c:v>14.556941408919942</c:v>
                </c:pt>
                <c:pt idx="320">
                  <c:v>14.556941408919942</c:v>
                </c:pt>
                <c:pt idx="321">
                  <c:v>14.556941408919942</c:v>
                </c:pt>
                <c:pt idx="322">
                  <c:v>14.556941408919942</c:v>
                </c:pt>
                <c:pt idx="323">
                  <c:v>14.556941408919942</c:v>
                </c:pt>
                <c:pt idx="324">
                  <c:v>14.556941408919942</c:v>
                </c:pt>
                <c:pt idx="325">
                  <c:v>14.556941408919942</c:v>
                </c:pt>
                <c:pt idx="326">
                  <c:v>14.556941408919942</c:v>
                </c:pt>
                <c:pt idx="327">
                  <c:v>14.556941408919942</c:v>
                </c:pt>
                <c:pt idx="328">
                  <c:v>14.556941408919942</c:v>
                </c:pt>
                <c:pt idx="329">
                  <c:v>14.556941408919942</c:v>
                </c:pt>
                <c:pt idx="330">
                  <c:v>14.556941408919942</c:v>
                </c:pt>
                <c:pt idx="331">
                  <c:v>14.556941408919942</c:v>
                </c:pt>
                <c:pt idx="332">
                  <c:v>14.556941408919942</c:v>
                </c:pt>
                <c:pt idx="333">
                  <c:v>14.556941408919942</c:v>
                </c:pt>
                <c:pt idx="334">
                  <c:v>14.556941408919942</c:v>
                </c:pt>
                <c:pt idx="335">
                  <c:v>14.556941408919942</c:v>
                </c:pt>
                <c:pt idx="336">
                  <c:v>14.556941408919942</c:v>
                </c:pt>
                <c:pt idx="337">
                  <c:v>14.556941408919942</c:v>
                </c:pt>
                <c:pt idx="338">
                  <c:v>14.556941408919942</c:v>
                </c:pt>
                <c:pt idx="339">
                  <c:v>14.556941408919942</c:v>
                </c:pt>
                <c:pt idx="340">
                  <c:v>14.556941408919942</c:v>
                </c:pt>
                <c:pt idx="341">
                  <c:v>14.556941408919942</c:v>
                </c:pt>
                <c:pt idx="342">
                  <c:v>14.556941408919942</c:v>
                </c:pt>
                <c:pt idx="343">
                  <c:v>14.556941408919942</c:v>
                </c:pt>
                <c:pt idx="344">
                  <c:v>14.556941408919942</c:v>
                </c:pt>
                <c:pt idx="345">
                  <c:v>14.556941408919942</c:v>
                </c:pt>
                <c:pt idx="346">
                  <c:v>14.556941408919942</c:v>
                </c:pt>
                <c:pt idx="347">
                  <c:v>14.556941408919942</c:v>
                </c:pt>
                <c:pt idx="348">
                  <c:v>14.556941408919942</c:v>
                </c:pt>
                <c:pt idx="349">
                  <c:v>14.556941408919942</c:v>
                </c:pt>
                <c:pt idx="350">
                  <c:v>14.556941408919942</c:v>
                </c:pt>
                <c:pt idx="351">
                  <c:v>14.556941408919942</c:v>
                </c:pt>
                <c:pt idx="352">
                  <c:v>14.556941408919942</c:v>
                </c:pt>
                <c:pt idx="353">
                  <c:v>14.556941408919942</c:v>
                </c:pt>
                <c:pt idx="354">
                  <c:v>14.556941408919942</c:v>
                </c:pt>
                <c:pt idx="355">
                  <c:v>14.556941408919942</c:v>
                </c:pt>
                <c:pt idx="356">
                  <c:v>14.556941408919942</c:v>
                </c:pt>
                <c:pt idx="357">
                  <c:v>14.556941408919942</c:v>
                </c:pt>
                <c:pt idx="358">
                  <c:v>14.556941408919942</c:v>
                </c:pt>
                <c:pt idx="359">
                  <c:v>14.556941408919942</c:v>
                </c:pt>
                <c:pt idx="360">
                  <c:v>14.556941408919942</c:v>
                </c:pt>
                <c:pt idx="361">
                  <c:v>14.556941408919942</c:v>
                </c:pt>
                <c:pt idx="362">
                  <c:v>14.556941408919942</c:v>
                </c:pt>
                <c:pt idx="363">
                  <c:v>14.556941408919942</c:v>
                </c:pt>
                <c:pt idx="364">
                  <c:v>14.556941408919942</c:v>
                </c:pt>
                <c:pt idx="365">
                  <c:v>14.556941408919942</c:v>
                </c:pt>
                <c:pt idx="366">
                  <c:v>14.556941408919942</c:v>
                </c:pt>
                <c:pt idx="367">
                  <c:v>14.556941408919942</c:v>
                </c:pt>
                <c:pt idx="368">
                  <c:v>14.556941408919942</c:v>
                </c:pt>
                <c:pt idx="369">
                  <c:v>14.556941408919942</c:v>
                </c:pt>
                <c:pt idx="370">
                  <c:v>14.556941408919942</c:v>
                </c:pt>
                <c:pt idx="371">
                  <c:v>14.556941408919942</c:v>
                </c:pt>
                <c:pt idx="372">
                  <c:v>14.556941408919942</c:v>
                </c:pt>
                <c:pt idx="373">
                  <c:v>14.556941408919942</c:v>
                </c:pt>
                <c:pt idx="374">
                  <c:v>14.556941408919942</c:v>
                </c:pt>
                <c:pt idx="375">
                  <c:v>14.556941408919942</c:v>
                </c:pt>
                <c:pt idx="376">
                  <c:v>14.556941408919942</c:v>
                </c:pt>
                <c:pt idx="377">
                  <c:v>14.556941408919942</c:v>
                </c:pt>
                <c:pt idx="378">
                  <c:v>14.556941408919942</c:v>
                </c:pt>
                <c:pt idx="379">
                  <c:v>14.556941408919942</c:v>
                </c:pt>
                <c:pt idx="380">
                  <c:v>14.556941408919942</c:v>
                </c:pt>
                <c:pt idx="381">
                  <c:v>14.556941408919942</c:v>
                </c:pt>
                <c:pt idx="382">
                  <c:v>14.556941408919942</c:v>
                </c:pt>
                <c:pt idx="383">
                  <c:v>14.556941408919942</c:v>
                </c:pt>
                <c:pt idx="384">
                  <c:v>14.556941408919942</c:v>
                </c:pt>
                <c:pt idx="385">
                  <c:v>14.556941408919942</c:v>
                </c:pt>
                <c:pt idx="386">
                  <c:v>14.556941408919942</c:v>
                </c:pt>
                <c:pt idx="387">
                  <c:v>14.556941408919942</c:v>
                </c:pt>
                <c:pt idx="388">
                  <c:v>14.556941408919942</c:v>
                </c:pt>
                <c:pt idx="389">
                  <c:v>14.556941408919942</c:v>
                </c:pt>
                <c:pt idx="390">
                  <c:v>14.556941408919942</c:v>
                </c:pt>
                <c:pt idx="391">
                  <c:v>14.556941408919942</c:v>
                </c:pt>
                <c:pt idx="392">
                  <c:v>14.556941408919942</c:v>
                </c:pt>
                <c:pt idx="393">
                  <c:v>14.556941408919942</c:v>
                </c:pt>
                <c:pt idx="394">
                  <c:v>14.556941408919942</c:v>
                </c:pt>
                <c:pt idx="395">
                  <c:v>14.556941408919942</c:v>
                </c:pt>
                <c:pt idx="396">
                  <c:v>14.556941408919942</c:v>
                </c:pt>
                <c:pt idx="397">
                  <c:v>14.556941408919942</c:v>
                </c:pt>
                <c:pt idx="398">
                  <c:v>14.556941408919942</c:v>
                </c:pt>
                <c:pt idx="399">
                  <c:v>14.556941408919942</c:v>
                </c:pt>
                <c:pt idx="400">
                  <c:v>14.556941408919942</c:v>
                </c:pt>
                <c:pt idx="401">
                  <c:v>14.556941408919942</c:v>
                </c:pt>
                <c:pt idx="402">
                  <c:v>14.556941408919942</c:v>
                </c:pt>
                <c:pt idx="403">
                  <c:v>14.556941408919942</c:v>
                </c:pt>
                <c:pt idx="404">
                  <c:v>14.556941408919942</c:v>
                </c:pt>
                <c:pt idx="405">
                  <c:v>14.556941408919942</c:v>
                </c:pt>
                <c:pt idx="406">
                  <c:v>14.556941408919942</c:v>
                </c:pt>
                <c:pt idx="407">
                  <c:v>14.556941408919942</c:v>
                </c:pt>
                <c:pt idx="408">
                  <c:v>14.556941408919942</c:v>
                </c:pt>
                <c:pt idx="409">
                  <c:v>14.556941408919942</c:v>
                </c:pt>
                <c:pt idx="410">
                  <c:v>14.556941408919942</c:v>
                </c:pt>
                <c:pt idx="411">
                  <c:v>14.556941408919942</c:v>
                </c:pt>
                <c:pt idx="412">
                  <c:v>14.556941408919942</c:v>
                </c:pt>
                <c:pt idx="413">
                  <c:v>14.556941408919942</c:v>
                </c:pt>
                <c:pt idx="414">
                  <c:v>14.556941408919942</c:v>
                </c:pt>
                <c:pt idx="415">
                  <c:v>14.556941408919942</c:v>
                </c:pt>
                <c:pt idx="416">
                  <c:v>14.556941408919942</c:v>
                </c:pt>
                <c:pt idx="417">
                  <c:v>14.556941408919942</c:v>
                </c:pt>
                <c:pt idx="418">
                  <c:v>14.556941408919942</c:v>
                </c:pt>
                <c:pt idx="419">
                  <c:v>14.556941408919942</c:v>
                </c:pt>
                <c:pt idx="420">
                  <c:v>14.556941408919942</c:v>
                </c:pt>
                <c:pt idx="421">
                  <c:v>14.556941408919942</c:v>
                </c:pt>
                <c:pt idx="422">
                  <c:v>14.556941408919942</c:v>
                </c:pt>
                <c:pt idx="423">
                  <c:v>14.556941408919942</c:v>
                </c:pt>
                <c:pt idx="424">
                  <c:v>14.556941408919942</c:v>
                </c:pt>
                <c:pt idx="425">
                  <c:v>14.556941408919942</c:v>
                </c:pt>
                <c:pt idx="426">
                  <c:v>14.556941408919942</c:v>
                </c:pt>
                <c:pt idx="427">
                  <c:v>14.556941408919942</c:v>
                </c:pt>
                <c:pt idx="428">
                  <c:v>14.556941408919942</c:v>
                </c:pt>
                <c:pt idx="429">
                  <c:v>14.556941408919942</c:v>
                </c:pt>
                <c:pt idx="430">
                  <c:v>14.556941408919942</c:v>
                </c:pt>
                <c:pt idx="431">
                  <c:v>14.556941408919942</c:v>
                </c:pt>
                <c:pt idx="432">
                  <c:v>14.556941408919942</c:v>
                </c:pt>
                <c:pt idx="433">
                  <c:v>14.556941408919942</c:v>
                </c:pt>
                <c:pt idx="434">
                  <c:v>14.556941408919942</c:v>
                </c:pt>
                <c:pt idx="435">
                  <c:v>14.556941408919942</c:v>
                </c:pt>
                <c:pt idx="436">
                  <c:v>14.556941408919942</c:v>
                </c:pt>
                <c:pt idx="437">
                  <c:v>14.556941408919942</c:v>
                </c:pt>
                <c:pt idx="438">
                  <c:v>14.556941408919942</c:v>
                </c:pt>
                <c:pt idx="439">
                  <c:v>14.556941408919942</c:v>
                </c:pt>
                <c:pt idx="440">
                  <c:v>14.556941408919942</c:v>
                </c:pt>
                <c:pt idx="441">
                  <c:v>14.556941408919942</c:v>
                </c:pt>
                <c:pt idx="442">
                  <c:v>14.556941408919942</c:v>
                </c:pt>
                <c:pt idx="443">
                  <c:v>14.556941408919942</c:v>
                </c:pt>
                <c:pt idx="444">
                  <c:v>14.556941408919942</c:v>
                </c:pt>
                <c:pt idx="445">
                  <c:v>14.556941408919942</c:v>
                </c:pt>
                <c:pt idx="446">
                  <c:v>14.556941408919942</c:v>
                </c:pt>
                <c:pt idx="447">
                  <c:v>14.556941408919942</c:v>
                </c:pt>
                <c:pt idx="448">
                  <c:v>14.556941408919942</c:v>
                </c:pt>
                <c:pt idx="449">
                  <c:v>14.556941408919942</c:v>
                </c:pt>
                <c:pt idx="450">
                  <c:v>14.556941408919942</c:v>
                </c:pt>
                <c:pt idx="451">
                  <c:v>14.556941408919942</c:v>
                </c:pt>
                <c:pt idx="452">
                  <c:v>14.556941408919942</c:v>
                </c:pt>
                <c:pt idx="453">
                  <c:v>14.556941408919942</c:v>
                </c:pt>
                <c:pt idx="454">
                  <c:v>14.556941408919942</c:v>
                </c:pt>
                <c:pt idx="455">
                  <c:v>14.556941408919942</c:v>
                </c:pt>
                <c:pt idx="456">
                  <c:v>14.556941408919942</c:v>
                </c:pt>
                <c:pt idx="457">
                  <c:v>14.556941408919942</c:v>
                </c:pt>
                <c:pt idx="458">
                  <c:v>14.556941408919942</c:v>
                </c:pt>
                <c:pt idx="459">
                  <c:v>14.556941408919942</c:v>
                </c:pt>
                <c:pt idx="460">
                  <c:v>14.556941408919942</c:v>
                </c:pt>
                <c:pt idx="461">
                  <c:v>14.556941408919942</c:v>
                </c:pt>
                <c:pt idx="462">
                  <c:v>14.556941408919942</c:v>
                </c:pt>
                <c:pt idx="463">
                  <c:v>14.556941408919942</c:v>
                </c:pt>
                <c:pt idx="464">
                  <c:v>14.556941408919942</c:v>
                </c:pt>
                <c:pt idx="465">
                  <c:v>14.556941408919942</c:v>
                </c:pt>
                <c:pt idx="466">
                  <c:v>14.556941408919942</c:v>
                </c:pt>
                <c:pt idx="467">
                  <c:v>14.556941408919942</c:v>
                </c:pt>
                <c:pt idx="468">
                  <c:v>14.556941408919942</c:v>
                </c:pt>
                <c:pt idx="469">
                  <c:v>14.556941408919942</c:v>
                </c:pt>
                <c:pt idx="470">
                  <c:v>14.556941408919942</c:v>
                </c:pt>
                <c:pt idx="471">
                  <c:v>14.556941408919942</c:v>
                </c:pt>
                <c:pt idx="472">
                  <c:v>14.556941408919942</c:v>
                </c:pt>
                <c:pt idx="473">
                  <c:v>14.556941408919942</c:v>
                </c:pt>
                <c:pt idx="474">
                  <c:v>14.556941408919942</c:v>
                </c:pt>
                <c:pt idx="475">
                  <c:v>14.556941408919942</c:v>
                </c:pt>
                <c:pt idx="476">
                  <c:v>14.556941408919942</c:v>
                </c:pt>
                <c:pt idx="477">
                  <c:v>14.556941408919942</c:v>
                </c:pt>
                <c:pt idx="478">
                  <c:v>14.556941408919942</c:v>
                </c:pt>
                <c:pt idx="479">
                  <c:v>14.556941408919942</c:v>
                </c:pt>
                <c:pt idx="480">
                  <c:v>14.556941408919942</c:v>
                </c:pt>
                <c:pt idx="481">
                  <c:v>14.556941408919942</c:v>
                </c:pt>
                <c:pt idx="482">
                  <c:v>14.556941408919942</c:v>
                </c:pt>
                <c:pt idx="483">
                  <c:v>14.556941408919942</c:v>
                </c:pt>
                <c:pt idx="484">
                  <c:v>14.556941408919942</c:v>
                </c:pt>
                <c:pt idx="485">
                  <c:v>14.556941408919942</c:v>
                </c:pt>
                <c:pt idx="486">
                  <c:v>14.556941408919942</c:v>
                </c:pt>
                <c:pt idx="487">
                  <c:v>14.556941408919942</c:v>
                </c:pt>
                <c:pt idx="488">
                  <c:v>14.556941408919942</c:v>
                </c:pt>
                <c:pt idx="489">
                  <c:v>14.556941408919942</c:v>
                </c:pt>
                <c:pt idx="490">
                  <c:v>14.556941408919942</c:v>
                </c:pt>
                <c:pt idx="491">
                  <c:v>14.556941408919942</c:v>
                </c:pt>
                <c:pt idx="492">
                  <c:v>14.556941408919942</c:v>
                </c:pt>
                <c:pt idx="493">
                  <c:v>14.556941408919942</c:v>
                </c:pt>
                <c:pt idx="494">
                  <c:v>14.556941408919942</c:v>
                </c:pt>
                <c:pt idx="495">
                  <c:v>14.556941408919942</c:v>
                </c:pt>
                <c:pt idx="496">
                  <c:v>14.556941408919942</c:v>
                </c:pt>
                <c:pt idx="497">
                  <c:v>14.556941408919942</c:v>
                </c:pt>
                <c:pt idx="498">
                  <c:v>14.556941408919942</c:v>
                </c:pt>
                <c:pt idx="499">
                  <c:v>14.556941408919942</c:v>
                </c:pt>
                <c:pt idx="500">
                  <c:v>14.556941408919942</c:v>
                </c:pt>
                <c:pt idx="501">
                  <c:v>14.556941408919942</c:v>
                </c:pt>
                <c:pt idx="502">
                  <c:v>14.556941408919942</c:v>
                </c:pt>
                <c:pt idx="503">
                  <c:v>14.556941408919942</c:v>
                </c:pt>
                <c:pt idx="504">
                  <c:v>14.556941408919942</c:v>
                </c:pt>
                <c:pt idx="505">
                  <c:v>14.556941408919942</c:v>
                </c:pt>
                <c:pt idx="506">
                  <c:v>14.556941408919942</c:v>
                </c:pt>
                <c:pt idx="507">
                  <c:v>14.556941408919942</c:v>
                </c:pt>
                <c:pt idx="508">
                  <c:v>14.556941408919942</c:v>
                </c:pt>
                <c:pt idx="509">
                  <c:v>14.556941408919942</c:v>
                </c:pt>
                <c:pt idx="510">
                  <c:v>14.556941408919942</c:v>
                </c:pt>
                <c:pt idx="511">
                  <c:v>14.556941408919942</c:v>
                </c:pt>
                <c:pt idx="512">
                  <c:v>14.556941408919942</c:v>
                </c:pt>
                <c:pt idx="513">
                  <c:v>14.556941408919942</c:v>
                </c:pt>
                <c:pt idx="514">
                  <c:v>14.556941408919942</c:v>
                </c:pt>
                <c:pt idx="515">
                  <c:v>14.556941408919942</c:v>
                </c:pt>
                <c:pt idx="516">
                  <c:v>14.556941408919942</c:v>
                </c:pt>
                <c:pt idx="517">
                  <c:v>14.556941408919942</c:v>
                </c:pt>
                <c:pt idx="518">
                  <c:v>14.556941408919942</c:v>
                </c:pt>
                <c:pt idx="519">
                  <c:v>14.556941408919942</c:v>
                </c:pt>
                <c:pt idx="520">
                  <c:v>14.556941408919942</c:v>
                </c:pt>
                <c:pt idx="521">
                  <c:v>14.556941408919942</c:v>
                </c:pt>
                <c:pt idx="522">
                  <c:v>14.556941408919942</c:v>
                </c:pt>
                <c:pt idx="523">
                  <c:v>14.556941408919942</c:v>
                </c:pt>
                <c:pt idx="524">
                  <c:v>14.556941408919942</c:v>
                </c:pt>
                <c:pt idx="525">
                  <c:v>14.556941408919942</c:v>
                </c:pt>
                <c:pt idx="526">
                  <c:v>14.556941408919942</c:v>
                </c:pt>
                <c:pt idx="527">
                  <c:v>14.556941408919942</c:v>
                </c:pt>
                <c:pt idx="528">
                  <c:v>14.556941408919942</c:v>
                </c:pt>
                <c:pt idx="529">
                  <c:v>14.556941408919942</c:v>
                </c:pt>
                <c:pt idx="530">
                  <c:v>14.556941408919942</c:v>
                </c:pt>
                <c:pt idx="531">
                  <c:v>14.556941408919942</c:v>
                </c:pt>
                <c:pt idx="532">
                  <c:v>14.556941408919942</c:v>
                </c:pt>
                <c:pt idx="533">
                  <c:v>14.556941408919942</c:v>
                </c:pt>
                <c:pt idx="534">
                  <c:v>14.556941408919942</c:v>
                </c:pt>
                <c:pt idx="535">
                  <c:v>14.556941408919942</c:v>
                </c:pt>
                <c:pt idx="536">
                  <c:v>14.556941408919942</c:v>
                </c:pt>
                <c:pt idx="537">
                  <c:v>14.556941408919942</c:v>
                </c:pt>
                <c:pt idx="538">
                  <c:v>14.556941408919942</c:v>
                </c:pt>
                <c:pt idx="539">
                  <c:v>14.556941408919942</c:v>
                </c:pt>
                <c:pt idx="540">
                  <c:v>14.556941408919942</c:v>
                </c:pt>
                <c:pt idx="541">
                  <c:v>14.556941408919942</c:v>
                </c:pt>
                <c:pt idx="542">
                  <c:v>14.556941408919942</c:v>
                </c:pt>
                <c:pt idx="543">
                  <c:v>14.556941408919942</c:v>
                </c:pt>
                <c:pt idx="544">
                  <c:v>14.556941408919942</c:v>
                </c:pt>
                <c:pt idx="545">
                  <c:v>14.556941408919942</c:v>
                </c:pt>
                <c:pt idx="546">
                  <c:v>14.556941408919942</c:v>
                </c:pt>
                <c:pt idx="547">
                  <c:v>14.556941408919942</c:v>
                </c:pt>
                <c:pt idx="548">
                  <c:v>14.556941408919942</c:v>
                </c:pt>
                <c:pt idx="549">
                  <c:v>14.556941408919942</c:v>
                </c:pt>
                <c:pt idx="550">
                  <c:v>14.556941408919942</c:v>
                </c:pt>
                <c:pt idx="551">
                  <c:v>14.556941408919942</c:v>
                </c:pt>
                <c:pt idx="552">
                  <c:v>14.556941408919942</c:v>
                </c:pt>
                <c:pt idx="553">
                  <c:v>14.556941408919942</c:v>
                </c:pt>
                <c:pt idx="554">
                  <c:v>14.556941408919942</c:v>
                </c:pt>
                <c:pt idx="555">
                  <c:v>14.556941408919942</c:v>
                </c:pt>
                <c:pt idx="556">
                  <c:v>14.556941408919942</c:v>
                </c:pt>
                <c:pt idx="557">
                  <c:v>14.556941408919942</c:v>
                </c:pt>
                <c:pt idx="558">
                  <c:v>14.556941408919942</c:v>
                </c:pt>
                <c:pt idx="559">
                  <c:v>14.556941408919942</c:v>
                </c:pt>
                <c:pt idx="560">
                  <c:v>14.556941408919942</c:v>
                </c:pt>
                <c:pt idx="561">
                  <c:v>14.556941408919942</c:v>
                </c:pt>
                <c:pt idx="562">
                  <c:v>14.556941408919942</c:v>
                </c:pt>
                <c:pt idx="563">
                  <c:v>14.556941408919942</c:v>
                </c:pt>
                <c:pt idx="564">
                  <c:v>14.556941408919942</c:v>
                </c:pt>
                <c:pt idx="565">
                  <c:v>14.556941408919942</c:v>
                </c:pt>
                <c:pt idx="566">
                  <c:v>14.556941408919942</c:v>
                </c:pt>
                <c:pt idx="567">
                  <c:v>14.556941408919942</c:v>
                </c:pt>
                <c:pt idx="568">
                  <c:v>14.556941408919942</c:v>
                </c:pt>
                <c:pt idx="569">
                  <c:v>14.556941408919942</c:v>
                </c:pt>
                <c:pt idx="570">
                  <c:v>14.556941408919942</c:v>
                </c:pt>
                <c:pt idx="571">
                  <c:v>14.556941408919942</c:v>
                </c:pt>
                <c:pt idx="572">
                  <c:v>14.556941408919942</c:v>
                </c:pt>
                <c:pt idx="573">
                  <c:v>14.556941408919942</c:v>
                </c:pt>
                <c:pt idx="574">
                  <c:v>14.556941408919942</c:v>
                </c:pt>
                <c:pt idx="575">
                  <c:v>14.556941408919942</c:v>
                </c:pt>
                <c:pt idx="576">
                  <c:v>14.556941408919942</c:v>
                </c:pt>
                <c:pt idx="577">
                  <c:v>14.556941408919942</c:v>
                </c:pt>
                <c:pt idx="578">
                  <c:v>14.556941408919942</c:v>
                </c:pt>
                <c:pt idx="579">
                  <c:v>14.556941408919942</c:v>
                </c:pt>
                <c:pt idx="580">
                  <c:v>14.556941408919942</c:v>
                </c:pt>
                <c:pt idx="581">
                  <c:v>14.556941408919942</c:v>
                </c:pt>
                <c:pt idx="582">
                  <c:v>14.556941408919942</c:v>
                </c:pt>
                <c:pt idx="583">
                  <c:v>14.556941408919942</c:v>
                </c:pt>
                <c:pt idx="584">
                  <c:v>14.556941408919942</c:v>
                </c:pt>
                <c:pt idx="585">
                  <c:v>14.556941408919942</c:v>
                </c:pt>
                <c:pt idx="586">
                  <c:v>14.556941408919942</c:v>
                </c:pt>
                <c:pt idx="587">
                  <c:v>14.556941408919942</c:v>
                </c:pt>
                <c:pt idx="588">
                  <c:v>14.556941408919942</c:v>
                </c:pt>
                <c:pt idx="589">
                  <c:v>14.556941408919942</c:v>
                </c:pt>
                <c:pt idx="590">
                  <c:v>14.556941408919942</c:v>
                </c:pt>
                <c:pt idx="591">
                  <c:v>14.556941408919942</c:v>
                </c:pt>
                <c:pt idx="592">
                  <c:v>14.556941408919942</c:v>
                </c:pt>
                <c:pt idx="593">
                  <c:v>14.556941408919942</c:v>
                </c:pt>
                <c:pt idx="594">
                  <c:v>14.556941408919942</c:v>
                </c:pt>
                <c:pt idx="595">
                  <c:v>14.556941408919942</c:v>
                </c:pt>
                <c:pt idx="596">
                  <c:v>14.556941408919942</c:v>
                </c:pt>
                <c:pt idx="597">
                  <c:v>14.556941408919942</c:v>
                </c:pt>
                <c:pt idx="598">
                  <c:v>14.556941408919942</c:v>
                </c:pt>
                <c:pt idx="599">
                  <c:v>14.556941408919942</c:v>
                </c:pt>
                <c:pt idx="600">
                  <c:v>14.556941408919942</c:v>
                </c:pt>
                <c:pt idx="601">
                  <c:v>14.556941408919942</c:v>
                </c:pt>
                <c:pt idx="602">
                  <c:v>14.556941408919942</c:v>
                </c:pt>
                <c:pt idx="603">
                  <c:v>14.556941408919942</c:v>
                </c:pt>
                <c:pt idx="604">
                  <c:v>14.556941408919942</c:v>
                </c:pt>
                <c:pt idx="605">
                  <c:v>14.556941408919942</c:v>
                </c:pt>
                <c:pt idx="606">
                  <c:v>14.556941408919942</c:v>
                </c:pt>
                <c:pt idx="607">
                  <c:v>14.556941408919942</c:v>
                </c:pt>
                <c:pt idx="608">
                  <c:v>14.556941408919942</c:v>
                </c:pt>
                <c:pt idx="609">
                  <c:v>14.556941408919942</c:v>
                </c:pt>
                <c:pt idx="610">
                  <c:v>14.556941408919942</c:v>
                </c:pt>
                <c:pt idx="611">
                  <c:v>14.556941408919942</c:v>
                </c:pt>
                <c:pt idx="612">
                  <c:v>14.556941408919942</c:v>
                </c:pt>
                <c:pt idx="613">
                  <c:v>14.556941408919942</c:v>
                </c:pt>
                <c:pt idx="614">
                  <c:v>14.556941408919942</c:v>
                </c:pt>
                <c:pt idx="615">
                  <c:v>14.556941408919942</c:v>
                </c:pt>
                <c:pt idx="616">
                  <c:v>14.556941408919942</c:v>
                </c:pt>
                <c:pt idx="617">
                  <c:v>14.556941408919942</c:v>
                </c:pt>
                <c:pt idx="618">
                  <c:v>14.556941408919942</c:v>
                </c:pt>
                <c:pt idx="619">
                  <c:v>14.556941408919942</c:v>
                </c:pt>
                <c:pt idx="620">
                  <c:v>14.556941408919942</c:v>
                </c:pt>
                <c:pt idx="621">
                  <c:v>14.556941408919942</c:v>
                </c:pt>
                <c:pt idx="622">
                  <c:v>14.556941408919942</c:v>
                </c:pt>
                <c:pt idx="623">
                  <c:v>14.556941408919942</c:v>
                </c:pt>
                <c:pt idx="624">
                  <c:v>14.556941408919942</c:v>
                </c:pt>
                <c:pt idx="625">
                  <c:v>14.556941408919942</c:v>
                </c:pt>
                <c:pt idx="626">
                  <c:v>14.556941408919942</c:v>
                </c:pt>
                <c:pt idx="627">
                  <c:v>14.556941408919942</c:v>
                </c:pt>
                <c:pt idx="628">
                  <c:v>14.556941408919942</c:v>
                </c:pt>
                <c:pt idx="629">
                  <c:v>14.556941408919942</c:v>
                </c:pt>
                <c:pt idx="630">
                  <c:v>14.556941408919942</c:v>
                </c:pt>
                <c:pt idx="631">
                  <c:v>14.556941408919942</c:v>
                </c:pt>
                <c:pt idx="632">
                  <c:v>14.556941408919942</c:v>
                </c:pt>
                <c:pt idx="633">
                  <c:v>14.556941408919942</c:v>
                </c:pt>
                <c:pt idx="634">
                  <c:v>14.556941408919942</c:v>
                </c:pt>
                <c:pt idx="635">
                  <c:v>14.556941408919942</c:v>
                </c:pt>
                <c:pt idx="636">
                  <c:v>14.556941408919942</c:v>
                </c:pt>
                <c:pt idx="637">
                  <c:v>14.556941408919942</c:v>
                </c:pt>
                <c:pt idx="638">
                  <c:v>14.556941408919942</c:v>
                </c:pt>
                <c:pt idx="639">
                  <c:v>14.556941408919942</c:v>
                </c:pt>
                <c:pt idx="640">
                  <c:v>14.556941408919942</c:v>
                </c:pt>
                <c:pt idx="641">
                  <c:v>14.556941408919942</c:v>
                </c:pt>
                <c:pt idx="642">
                  <c:v>14.556941408919942</c:v>
                </c:pt>
                <c:pt idx="643">
                  <c:v>14.556941408919942</c:v>
                </c:pt>
                <c:pt idx="644">
                  <c:v>14.556941408919942</c:v>
                </c:pt>
                <c:pt idx="645">
                  <c:v>14.556941408919942</c:v>
                </c:pt>
                <c:pt idx="646">
                  <c:v>14.556941408919942</c:v>
                </c:pt>
                <c:pt idx="647">
                  <c:v>14.556941408919942</c:v>
                </c:pt>
                <c:pt idx="648">
                  <c:v>14.556941408919942</c:v>
                </c:pt>
                <c:pt idx="649">
                  <c:v>14.556941408919942</c:v>
                </c:pt>
                <c:pt idx="650">
                  <c:v>14.556941408919942</c:v>
                </c:pt>
                <c:pt idx="651">
                  <c:v>14.556941408919942</c:v>
                </c:pt>
                <c:pt idx="652">
                  <c:v>14.556941408919942</c:v>
                </c:pt>
                <c:pt idx="653">
                  <c:v>14.556941408919942</c:v>
                </c:pt>
                <c:pt idx="654">
                  <c:v>14.556941408919942</c:v>
                </c:pt>
                <c:pt idx="655">
                  <c:v>14.556941408919942</c:v>
                </c:pt>
                <c:pt idx="656">
                  <c:v>14.556941408919942</c:v>
                </c:pt>
                <c:pt idx="657">
                  <c:v>14.556941408919942</c:v>
                </c:pt>
                <c:pt idx="658">
                  <c:v>14.556941408919942</c:v>
                </c:pt>
                <c:pt idx="659">
                  <c:v>14.556941408919942</c:v>
                </c:pt>
                <c:pt idx="660">
                  <c:v>14.556941408919942</c:v>
                </c:pt>
                <c:pt idx="661">
                  <c:v>14.556941408919942</c:v>
                </c:pt>
                <c:pt idx="662">
                  <c:v>14.556941408919942</c:v>
                </c:pt>
                <c:pt idx="663">
                  <c:v>14.556941408919942</c:v>
                </c:pt>
                <c:pt idx="664">
                  <c:v>14.556941408919942</c:v>
                </c:pt>
                <c:pt idx="665">
                  <c:v>14.556941408919942</c:v>
                </c:pt>
                <c:pt idx="666">
                  <c:v>14.556941408919942</c:v>
                </c:pt>
                <c:pt idx="667">
                  <c:v>14.556941408919942</c:v>
                </c:pt>
                <c:pt idx="668">
                  <c:v>14.556941408919942</c:v>
                </c:pt>
                <c:pt idx="669">
                  <c:v>14.556941408919942</c:v>
                </c:pt>
                <c:pt idx="670">
                  <c:v>14.556941408919942</c:v>
                </c:pt>
                <c:pt idx="671">
                  <c:v>14.556941408919942</c:v>
                </c:pt>
                <c:pt idx="672">
                  <c:v>14.556941408919942</c:v>
                </c:pt>
                <c:pt idx="673">
                  <c:v>14.556941408919942</c:v>
                </c:pt>
                <c:pt idx="674">
                  <c:v>14.556941408919942</c:v>
                </c:pt>
                <c:pt idx="675">
                  <c:v>14.556941408919942</c:v>
                </c:pt>
                <c:pt idx="676">
                  <c:v>14.556941408919942</c:v>
                </c:pt>
                <c:pt idx="677">
                  <c:v>14.556941408919942</c:v>
                </c:pt>
                <c:pt idx="678">
                  <c:v>14.556941408919942</c:v>
                </c:pt>
                <c:pt idx="679">
                  <c:v>14.556941408919942</c:v>
                </c:pt>
                <c:pt idx="680">
                  <c:v>14.556941408919942</c:v>
                </c:pt>
                <c:pt idx="681">
                  <c:v>14.556941408919942</c:v>
                </c:pt>
                <c:pt idx="682">
                  <c:v>14.556941408919942</c:v>
                </c:pt>
                <c:pt idx="683">
                  <c:v>14.556941408919942</c:v>
                </c:pt>
                <c:pt idx="684">
                  <c:v>14.556941408919942</c:v>
                </c:pt>
                <c:pt idx="685">
                  <c:v>14.556941408919942</c:v>
                </c:pt>
                <c:pt idx="686">
                  <c:v>14.556941408919942</c:v>
                </c:pt>
                <c:pt idx="687">
                  <c:v>14.556941408919942</c:v>
                </c:pt>
                <c:pt idx="688">
                  <c:v>14.556941408919942</c:v>
                </c:pt>
                <c:pt idx="689">
                  <c:v>14.556941408919942</c:v>
                </c:pt>
                <c:pt idx="690">
                  <c:v>14.556941408919942</c:v>
                </c:pt>
                <c:pt idx="691">
                  <c:v>14.556941408919942</c:v>
                </c:pt>
                <c:pt idx="692">
                  <c:v>14.556941408919942</c:v>
                </c:pt>
                <c:pt idx="693">
                  <c:v>14.556941408919942</c:v>
                </c:pt>
                <c:pt idx="694">
                  <c:v>14.556941408919942</c:v>
                </c:pt>
                <c:pt idx="695">
                  <c:v>14.556941408919942</c:v>
                </c:pt>
                <c:pt idx="696">
                  <c:v>14.556941408919942</c:v>
                </c:pt>
                <c:pt idx="697">
                  <c:v>14.556941408919942</c:v>
                </c:pt>
                <c:pt idx="698">
                  <c:v>14.556941408919942</c:v>
                </c:pt>
                <c:pt idx="699">
                  <c:v>14.556941408919942</c:v>
                </c:pt>
                <c:pt idx="700">
                  <c:v>14.556941408919942</c:v>
                </c:pt>
                <c:pt idx="701">
                  <c:v>14.556941408919942</c:v>
                </c:pt>
                <c:pt idx="702">
                  <c:v>14.556941408919942</c:v>
                </c:pt>
                <c:pt idx="703">
                  <c:v>14.556941408919942</c:v>
                </c:pt>
                <c:pt idx="704">
                  <c:v>14.556941408919942</c:v>
                </c:pt>
                <c:pt idx="705">
                  <c:v>14.556941408919942</c:v>
                </c:pt>
                <c:pt idx="706">
                  <c:v>14.556941408919942</c:v>
                </c:pt>
                <c:pt idx="707">
                  <c:v>14.556941408919942</c:v>
                </c:pt>
                <c:pt idx="708">
                  <c:v>14.556941408919942</c:v>
                </c:pt>
                <c:pt idx="709">
                  <c:v>14.556941408919942</c:v>
                </c:pt>
                <c:pt idx="710">
                  <c:v>14.556941408919942</c:v>
                </c:pt>
                <c:pt idx="711">
                  <c:v>14.556941408919942</c:v>
                </c:pt>
                <c:pt idx="712">
                  <c:v>14.556941408919942</c:v>
                </c:pt>
                <c:pt idx="713">
                  <c:v>14.556941408919942</c:v>
                </c:pt>
                <c:pt idx="714">
                  <c:v>14.556941408919942</c:v>
                </c:pt>
                <c:pt idx="715">
                  <c:v>14.556941408919942</c:v>
                </c:pt>
                <c:pt idx="716">
                  <c:v>14.556941408919942</c:v>
                </c:pt>
                <c:pt idx="717">
                  <c:v>14.556941408919942</c:v>
                </c:pt>
                <c:pt idx="718">
                  <c:v>14.556941408919942</c:v>
                </c:pt>
                <c:pt idx="719">
                  <c:v>14.556941408919942</c:v>
                </c:pt>
                <c:pt idx="720">
                  <c:v>14.556941408919942</c:v>
                </c:pt>
                <c:pt idx="721">
                  <c:v>14.556941408919942</c:v>
                </c:pt>
                <c:pt idx="722">
                  <c:v>14.556941408919942</c:v>
                </c:pt>
                <c:pt idx="723">
                  <c:v>14.556941408919942</c:v>
                </c:pt>
                <c:pt idx="724">
                  <c:v>14.556941408919942</c:v>
                </c:pt>
                <c:pt idx="725">
                  <c:v>14.556941408919942</c:v>
                </c:pt>
                <c:pt idx="726">
                  <c:v>14.556941408919942</c:v>
                </c:pt>
                <c:pt idx="727">
                  <c:v>14.556941408919942</c:v>
                </c:pt>
                <c:pt idx="728">
                  <c:v>14.556941408919942</c:v>
                </c:pt>
                <c:pt idx="729">
                  <c:v>14.556941408919942</c:v>
                </c:pt>
                <c:pt idx="730">
                  <c:v>14.556941408919942</c:v>
                </c:pt>
                <c:pt idx="731">
                  <c:v>14.556941408919942</c:v>
                </c:pt>
                <c:pt idx="732">
                  <c:v>14.556941408919942</c:v>
                </c:pt>
                <c:pt idx="733">
                  <c:v>14.556941408919942</c:v>
                </c:pt>
                <c:pt idx="734">
                  <c:v>14.556941408919942</c:v>
                </c:pt>
                <c:pt idx="735">
                  <c:v>14.556941408919942</c:v>
                </c:pt>
                <c:pt idx="736">
                  <c:v>14.556941408919942</c:v>
                </c:pt>
                <c:pt idx="737">
                  <c:v>14.556941408919942</c:v>
                </c:pt>
                <c:pt idx="738">
                  <c:v>14.556941408919942</c:v>
                </c:pt>
                <c:pt idx="739">
                  <c:v>14.556941408919942</c:v>
                </c:pt>
                <c:pt idx="740">
                  <c:v>14.556941408919942</c:v>
                </c:pt>
                <c:pt idx="741">
                  <c:v>14.556941408919942</c:v>
                </c:pt>
                <c:pt idx="742">
                  <c:v>14.556941408919942</c:v>
                </c:pt>
                <c:pt idx="743">
                  <c:v>14.556941408919942</c:v>
                </c:pt>
                <c:pt idx="744">
                  <c:v>14.556941408919942</c:v>
                </c:pt>
                <c:pt idx="745">
                  <c:v>14.556941408919942</c:v>
                </c:pt>
                <c:pt idx="746">
                  <c:v>14.556941408919942</c:v>
                </c:pt>
                <c:pt idx="747">
                  <c:v>14.556941408919942</c:v>
                </c:pt>
                <c:pt idx="748">
                  <c:v>14.556941408919942</c:v>
                </c:pt>
                <c:pt idx="749">
                  <c:v>14.556941408919942</c:v>
                </c:pt>
                <c:pt idx="750">
                  <c:v>14.556941408919942</c:v>
                </c:pt>
                <c:pt idx="751">
                  <c:v>14.556941408919942</c:v>
                </c:pt>
                <c:pt idx="752">
                  <c:v>14.556941408919942</c:v>
                </c:pt>
                <c:pt idx="753">
                  <c:v>14.556941408919942</c:v>
                </c:pt>
                <c:pt idx="754">
                  <c:v>14.556941408919942</c:v>
                </c:pt>
                <c:pt idx="755">
                  <c:v>14.556941408919942</c:v>
                </c:pt>
                <c:pt idx="756">
                  <c:v>14.556941408919942</c:v>
                </c:pt>
                <c:pt idx="757">
                  <c:v>14.556941408919942</c:v>
                </c:pt>
                <c:pt idx="758">
                  <c:v>14.556941408919942</c:v>
                </c:pt>
                <c:pt idx="759">
                  <c:v>14.556941408919942</c:v>
                </c:pt>
                <c:pt idx="760">
                  <c:v>14.556941408919942</c:v>
                </c:pt>
                <c:pt idx="761">
                  <c:v>14.556941408919942</c:v>
                </c:pt>
                <c:pt idx="762">
                  <c:v>14.556941408919942</c:v>
                </c:pt>
                <c:pt idx="763">
                  <c:v>14.556941408919942</c:v>
                </c:pt>
                <c:pt idx="764">
                  <c:v>14.556941408919942</c:v>
                </c:pt>
                <c:pt idx="765">
                  <c:v>14.556941408919942</c:v>
                </c:pt>
                <c:pt idx="766">
                  <c:v>14.556941408919942</c:v>
                </c:pt>
                <c:pt idx="767">
                  <c:v>14.556941408919942</c:v>
                </c:pt>
                <c:pt idx="768">
                  <c:v>14.556941408919942</c:v>
                </c:pt>
                <c:pt idx="769">
                  <c:v>14.556941408919942</c:v>
                </c:pt>
                <c:pt idx="770">
                  <c:v>14.556941408919942</c:v>
                </c:pt>
                <c:pt idx="771">
                  <c:v>14.556941408919942</c:v>
                </c:pt>
                <c:pt idx="772">
                  <c:v>14.556941408919942</c:v>
                </c:pt>
                <c:pt idx="773">
                  <c:v>14.556941408919942</c:v>
                </c:pt>
                <c:pt idx="774">
                  <c:v>14.556941408919942</c:v>
                </c:pt>
                <c:pt idx="775">
                  <c:v>14.556941408919942</c:v>
                </c:pt>
                <c:pt idx="776">
                  <c:v>14.556941408919942</c:v>
                </c:pt>
                <c:pt idx="777">
                  <c:v>14.556941408919942</c:v>
                </c:pt>
                <c:pt idx="778">
                  <c:v>14.556941408919942</c:v>
                </c:pt>
                <c:pt idx="779">
                  <c:v>14.556941408919942</c:v>
                </c:pt>
                <c:pt idx="780">
                  <c:v>14.556941408919942</c:v>
                </c:pt>
                <c:pt idx="781">
                  <c:v>14.556941408919942</c:v>
                </c:pt>
                <c:pt idx="782">
                  <c:v>14.556941408919942</c:v>
                </c:pt>
                <c:pt idx="783">
                  <c:v>14.556941408919942</c:v>
                </c:pt>
                <c:pt idx="784">
                  <c:v>14.556941408919942</c:v>
                </c:pt>
                <c:pt idx="785">
                  <c:v>14.556941408919942</c:v>
                </c:pt>
                <c:pt idx="786">
                  <c:v>14.556941408919942</c:v>
                </c:pt>
                <c:pt idx="787">
                  <c:v>14.556941408919942</c:v>
                </c:pt>
                <c:pt idx="788">
                  <c:v>14.556941408919942</c:v>
                </c:pt>
                <c:pt idx="789">
                  <c:v>14.556941408919942</c:v>
                </c:pt>
                <c:pt idx="790">
                  <c:v>14.556941408919942</c:v>
                </c:pt>
                <c:pt idx="791">
                  <c:v>14.556941408919942</c:v>
                </c:pt>
                <c:pt idx="792">
                  <c:v>14.556941408919942</c:v>
                </c:pt>
                <c:pt idx="793">
                  <c:v>14.556941408919942</c:v>
                </c:pt>
                <c:pt idx="794">
                  <c:v>14.556941408919942</c:v>
                </c:pt>
                <c:pt idx="795">
                  <c:v>14.556941408919942</c:v>
                </c:pt>
                <c:pt idx="796">
                  <c:v>14.556941408919942</c:v>
                </c:pt>
                <c:pt idx="797">
                  <c:v>14.556941408919942</c:v>
                </c:pt>
                <c:pt idx="798">
                  <c:v>14.556941408919942</c:v>
                </c:pt>
                <c:pt idx="799">
                  <c:v>14.556941408919942</c:v>
                </c:pt>
                <c:pt idx="800">
                  <c:v>14.556941408919942</c:v>
                </c:pt>
                <c:pt idx="801">
                  <c:v>14.556941408919942</c:v>
                </c:pt>
                <c:pt idx="802">
                  <c:v>14.556941408919942</c:v>
                </c:pt>
                <c:pt idx="803">
                  <c:v>14.556941408919942</c:v>
                </c:pt>
                <c:pt idx="804">
                  <c:v>14.556941408919942</c:v>
                </c:pt>
                <c:pt idx="805">
                  <c:v>14.556941408919942</c:v>
                </c:pt>
                <c:pt idx="806">
                  <c:v>14.556941408919942</c:v>
                </c:pt>
                <c:pt idx="807">
                  <c:v>14.556941408919942</c:v>
                </c:pt>
                <c:pt idx="808">
                  <c:v>14.556941408919942</c:v>
                </c:pt>
                <c:pt idx="809">
                  <c:v>14.556941408919942</c:v>
                </c:pt>
                <c:pt idx="810">
                  <c:v>14.556941408919942</c:v>
                </c:pt>
                <c:pt idx="811">
                  <c:v>14.556941408919942</c:v>
                </c:pt>
                <c:pt idx="812">
                  <c:v>14.556941408919942</c:v>
                </c:pt>
                <c:pt idx="813">
                  <c:v>14.556941408919942</c:v>
                </c:pt>
                <c:pt idx="814">
                  <c:v>14.556941408919942</c:v>
                </c:pt>
                <c:pt idx="815">
                  <c:v>14.556941408919942</c:v>
                </c:pt>
                <c:pt idx="816">
                  <c:v>14.556941408919942</c:v>
                </c:pt>
                <c:pt idx="817">
                  <c:v>14.556941408919942</c:v>
                </c:pt>
                <c:pt idx="818">
                  <c:v>14.556941408919942</c:v>
                </c:pt>
                <c:pt idx="819">
                  <c:v>14.556941408919942</c:v>
                </c:pt>
                <c:pt idx="820">
                  <c:v>14.556941408919942</c:v>
                </c:pt>
                <c:pt idx="821">
                  <c:v>14.556941408919942</c:v>
                </c:pt>
                <c:pt idx="822">
                  <c:v>14.556941408919942</c:v>
                </c:pt>
                <c:pt idx="823">
                  <c:v>14.556941408919942</c:v>
                </c:pt>
                <c:pt idx="824">
                  <c:v>14.556941408919942</c:v>
                </c:pt>
                <c:pt idx="825">
                  <c:v>14.556941408919942</c:v>
                </c:pt>
                <c:pt idx="826">
                  <c:v>14.556941408919942</c:v>
                </c:pt>
                <c:pt idx="827">
                  <c:v>14.556941408919942</c:v>
                </c:pt>
                <c:pt idx="828">
                  <c:v>14.556941408919942</c:v>
                </c:pt>
                <c:pt idx="829">
                  <c:v>14.556941408919942</c:v>
                </c:pt>
                <c:pt idx="830">
                  <c:v>14.556941408919942</c:v>
                </c:pt>
                <c:pt idx="831">
                  <c:v>14.556941408919942</c:v>
                </c:pt>
                <c:pt idx="832">
                  <c:v>14.556941408919942</c:v>
                </c:pt>
                <c:pt idx="833">
                  <c:v>14.556941408919942</c:v>
                </c:pt>
                <c:pt idx="834">
                  <c:v>14.556941408919942</c:v>
                </c:pt>
                <c:pt idx="835">
                  <c:v>14.556941408919942</c:v>
                </c:pt>
                <c:pt idx="836">
                  <c:v>14.556941408919942</c:v>
                </c:pt>
                <c:pt idx="837">
                  <c:v>14.556941408919942</c:v>
                </c:pt>
                <c:pt idx="838">
                  <c:v>14.556941408919942</c:v>
                </c:pt>
                <c:pt idx="839">
                  <c:v>14.556941408919942</c:v>
                </c:pt>
                <c:pt idx="840">
                  <c:v>14.556941408919942</c:v>
                </c:pt>
                <c:pt idx="841">
                  <c:v>14.556941408919942</c:v>
                </c:pt>
                <c:pt idx="842">
                  <c:v>14.556941408919942</c:v>
                </c:pt>
                <c:pt idx="843">
                  <c:v>14.556941408919942</c:v>
                </c:pt>
                <c:pt idx="844">
                  <c:v>14.556941408919942</c:v>
                </c:pt>
                <c:pt idx="845">
                  <c:v>14.556941408919942</c:v>
                </c:pt>
                <c:pt idx="846">
                  <c:v>14.556941408919942</c:v>
                </c:pt>
                <c:pt idx="847">
                  <c:v>14.556941408919942</c:v>
                </c:pt>
                <c:pt idx="848">
                  <c:v>14.556941408919942</c:v>
                </c:pt>
                <c:pt idx="849">
                  <c:v>14.556941408919942</c:v>
                </c:pt>
                <c:pt idx="850">
                  <c:v>14.556941408919942</c:v>
                </c:pt>
                <c:pt idx="851">
                  <c:v>14.556941408919942</c:v>
                </c:pt>
                <c:pt idx="852">
                  <c:v>14.556941408919942</c:v>
                </c:pt>
                <c:pt idx="853">
                  <c:v>14.556941408919942</c:v>
                </c:pt>
                <c:pt idx="854">
                  <c:v>14.556941408919942</c:v>
                </c:pt>
                <c:pt idx="855">
                  <c:v>14.556941408919942</c:v>
                </c:pt>
                <c:pt idx="856">
                  <c:v>14.556941408919942</c:v>
                </c:pt>
                <c:pt idx="857">
                  <c:v>14.556941408919942</c:v>
                </c:pt>
                <c:pt idx="858">
                  <c:v>14.556941408919942</c:v>
                </c:pt>
                <c:pt idx="859">
                  <c:v>14.556941408919942</c:v>
                </c:pt>
                <c:pt idx="860">
                  <c:v>14.556941408919942</c:v>
                </c:pt>
                <c:pt idx="861">
                  <c:v>14.556941408919942</c:v>
                </c:pt>
                <c:pt idx="862">
                  <c:v>14.556941408919942</c:v>
                </c:pt>
                <c:pt idx="863">
                  <c:v>14.556941408919942</c:v>
                </c:pt>
                <c:pt idx="864">
                  <c:v>14.556941408919942</c:v>
                </c:pt>
                <c:pt idx="865">
                  <c:v>14.556941408919942</c:v>
                </c:pt>
                <c:pt idx="866">
                  <c:v>14.556941408919942</c:v>
                </c:pt>
                <c:pt idx="867">
                  <c:v>14.556941408919942</c:v>
                </c:pt>
                <c:pt idx="868">
                  <c:v>14.556941408919942</c:v>
                </c:pt>
                <c:pt idx="869">
                  <c:v>14.556941408919942</c:v>
                </c:pt>
                <c:pt idx="870">
                  <c:v>14.556941408919942</c:v>
                </c:pt>
                <c:pt idx="871">
                  <c:v>14.556941408919942</c:v>
                </c:pt>
                <c:pt idx="872">
                  <c:v>14.556941408919942</c:v>
                </c:pt>
                <c:pt idx="873">
                  <c:v>14.556941408919942</c:v>
                </c:pt>
                <c:pt idx="874">
                  <c:v>14.556941408919942</c:v>
                </c:pt>
                <c:pt idx="875">
                  <c:v>14.556941408919942</c:v>
                </c:pt>
                <c:pt idx="876">
                  <c:v>14.556941408919942</c:v>
                </c:pt>
                <c:pt idx="877">
                  <c:v>14.556941408919942</c:v>
                </c:pt>
                <c:pt idx="878">
                  <c:v>14.556941408919942</c:v>
                </c:pt>
                <c:pt idx="879">
                  <c:v>14.556941408919942</c:v>
                </c:pt>
                <c:pt idx="880">
                  <c:v>14.556941408919942</c:v>
                </c:pt>
                <c:pt idx="881">
                  <c:v>14.556941408919942</c:v>
                </c:pt>
                <c:pt idx="882">
                  <c:v>14.556941408919942</c:v>
                </c:pt>
                <c:pt idx="883">
                  <c:v>14.556941408919942</c:v>
                </c:pt>
                <c:pt idx="884">
                  <c:v>14.556941408919942</c:v>
                </c:pt>
                <c:pt idx="885">
                  <c:v>14.556941408919942</c:v>
                </c:pt>
                <c:pt idx="886">
                  <c:v>14.556941408919942</c:v>
                </c:pt>
                <c:pt idx="887">
                  <c:v>14.556941408919942</c:v>
                </c:pt>
                <c:pt idx="888">
                  <c:v>14.556941408919942</c:v>
                </c:pt>
                <c:pt idx="889">
                  <c:v>14.556941408919942</c:v>
                </c:pt>
                <c:pt idx="890">
                  <c:v>14.556941408919942</c:v>
                </c:pt>
                <c:pt idx="891">
                  <c:v>14.556941408919942</c:v>
                </c:pt>
              </c:numCache>
            </c:numRef>
          </c:val>
          <c:smooth val="0"/>
          <c:extLst>
            <c:ext xmlns:c16="http://schemas.microsoft.com/office/drawing/2014/chart" uri="{C3380CC4-5D6E-409C-BE32-E72D297353CC}">
              <c16:uniqueId val="{00000005-7DF5-4049-9C18-76D54EAFDC14}"/>
            </c:ext>
          </c:extLst>
        </c:ser>
        <c:dLbls>
          <c:showLegendKey val="0"/>
          <c:showVal val="0"/>
          <c:showCatName val="0"/>
          <c:showSerName val="0"/>
          <c:showPercent val="0"/>
          <c:showBubbleSize val="0"/>
        </c:dLbls>
        <c:marker val="1"/>
        <c:smooth val="0"/>
        <c:axId val="922392832"/>
        <c:axId val="923154688"/>
      </c:lineChart>
      <c:lineChart>
        <c:grouping val="standard"/>
        <c:varyColors val="0"/>
        <c:ser>
          <c:idx val="6"/>
          <c:order val="6"/>
          <c:tx>
            <c:strRef>
              <c:f>USA!$AD$7</c:f>
              <c:strCache>
                <c:ptCount val="1"/>
                <c:pt idx="0">
                  <c:v>USA (rhs)</c:v>
                </c:pt>
              </c:strCache>
            </c:strRef>
          </c:tx>
          <c:spPr>
            <a:ln w="19050" cap="rnd" cmpd="sng" algn="ctr">
              <a:solidFill>
                <a:srgbClr val="B0B0B0"/>
              </a:solidFill>
              <a:prstDash val="solid"/>
              <a:round/>
              <a:headEnd type="none" w="med" len="med"/>
              <a:tailEnd type="none" w="med" len="med"/>
            </a:ln>
            <a:effectLst/>
          </c:spPr>
          <c:marker>
            <c:symbol val="none"/>
          </c:marker>
          <c:dPt>
            <c:idx val="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0-6564-4F45-8560-A14789827587}"/>
              </c:ext>
            </c:extLst>
          </c:dPt>
          <c:dPt>
            <c:idx val="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1-6564-4F45-8560-A14789827587}"/>
              </c:ext>
            </c:extLst>
          </c:dPt>
          <c:dPt>
            <c:idx val="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2-6564-4F45-8560-A14789827587}"/>
              </c:ext>
            </c:extLst>
          </c:dPt>
          <c:dPt>
            <c:idx val="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3-6564-4F45-8560-A14789827587}"/>
              </c:ext>
            </c:extLst>
          </c:dPt>
          <c:dPt>
            <c:idx val="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4-6564-4F45-8560-A14789827587}"/>
              </c:ext>
            </c:extLst>
          </c:dPt>
          <c:dPt>
            <c:idx val="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5-6564-4F45-8560-A14789827587}"/>
              </c:ext>
            </c:extLst>
          </c:dPt>
          <c:dPt>
            <c:idx val="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6-6564-4F45-8560-A14789827587}"/>
              </c:ext>
            </c:extLst>
          </c:dPt>
          <c:dPt>
            <c:idx val="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7-6564-4F45-8560-A14789827587}"/>
              </c:ext>
            </c:extLst>
          </c:dPt>
          <c:dPt>
            <c:idx val="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8-6564-4F45-8560-A14789827587}"/>
              </c:ext>
            </c:extLst>
          </c:dPt>
          <c:dPt>
            <c:idx val="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9-6564-4F45-8560-A14789827587}"/>
              </c:ext>
            </c:extLst>
          </c:dPt>
          <c:dPt>
            <c:idx val="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A-6564-4F45-8560-A14789827587}"/>
              </c:ext>
            </c:extLst>
          </c:dPt>
          <c:dPt>
            <c:idx val="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B-6564-4F45-8560-A14789827587}"/>
              </c:ext>
            </c:extLst>
          </c:dPt>
          <c:dPt>
            <c:idx val="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C-6564-4F45-8560-A14789827587}"/>
              </c:ext>
            </c:extLst>
          </c:dPt>
          <c:dPt>
            <c:idx val="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D-6564-4F45-8560-A14789827587}"/>
              </c:ext>
            </c:extLst>
          </c:dPt>
          <c:dPt>
            <c:idx val="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E-6564-4F45-8560-A14789827587}"/>
              </c:ext>
            </c:extLst>
          </c:dPt>
          <c:dPt>
            <c:idx val="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F-6564-4F45-8560-A14789827587}"/>
              </c:ext>
            </c:extLst>
          </c:dPt>
          <c:dPt>
            <c:idx val="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0-6564-4F45-8560-A14789827587}"/>
              </c:ext>
            </c:extLst>
          </c:dPt>
          <c:dPt>
            <c:idx val="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1-6564-4F45-8560-A14789827587}"/>
              </c:ext>
            </c:extLst>
          </c:dPt>
          <c:dPt>
            <c:idx val="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2-6564-4F45-8560-A14789827587}"/>
              </c:ext>
            </c:extLst>
          </c:dPt>
          <c:dPt>
            <c:idx val="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3-6564-4F45-8560-A14789827587}"/>
              </c:ext>
            </c:extLst>
          </c:dPt>
          <c:dPt>
            <c:idx val="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4-6564-4F45-8560-A14789827587}"/>
              </c:ext>
            </c:extLst>
          </c:dPt>
          <c:dPt>
            <c:idx val="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5-6564-4F45-8560-A14789827587}"/>
              </c:ext>
            </c:extLst>
          </c:dPt>
          <c:dPt>
            <c:idx val="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6-6564-4F45-8560-A14789827587}"/>
              </c:ext>
            </c:extLst>
          </c:dPt>
          <c:dPt>
            <c:idx val="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7-6564-4F45-8560-A14789827587}"/>
              </c:ext>
            </c:extLst>
          </c:dPt>
          <c:dPt>
            <c:idx val="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8-6564-4F45-8560-A14789827587}"/>
              </c:ext>
            </c:extLst>
          </c:dPt>
          <c:dPt>
            <c:idx val="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9-6564-4F45-8560-A14789827587}"/>
              </c:ext>
            </c:extLst>
          </c:dPt>
          <c:dPt>
            <c:idx val="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A-6564-4F45-8560-A14789827587}"/>
              </c:ext>
            </c:extLst>
          </c:dPt>
          <c:dPt>
            <c:idx val="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B-6564-4F45-8560-A14789827587}"/>
              </c:ext>
            </c:extLst>
          </c:dPt>
          <c:dPt>
            <c:idx val="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C-6564-4F45-8560-A14789827587}"/>
              </c:ext>
            </c:extLst>
          </c:dPt>
          <c:dPt>
            <c:idx val="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D-6564-4F45-8560-A14789827587}"/>
              </c:ext>
            </c:extLst>
          </c:dPt>
          <c:dPt>
            <c:idx val="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E-6564-4F45-8560-A14789827587}"/>
              </c:ext>
            </c:extLst>
          </c:dPt>
          <c:dPt>
            <c:idx val="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F-6564-4F45-8560-A14789827587}"/>
              </c:ext>
            </c:extLst>
          </c:dPt>
          <c:dPt>
            <c:idx val="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0-6564-4F45-8560-A14789827587}"/>
              </c:ext>
            </c:extLst>
          </c:dPt>
          <c:dPt>
            <c:idx val="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1-6564-4F45-8560-A14789827587}"/>
              </c:ext>
            </c:extLst>
          </c:dPt>
          <c:dPt>
            <c:idx val="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2-6564-4F45-8560-A14789827587}"/>
              </c:ext>
            </c:extLst>
          </c:dPt>
          <c:dPt>
            <c:idx val="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3-6564-4F45-8560-A14789827587}"/>
              </c:ext>
            </c:extLst>
          </c:dPt>
          <c:dPt>
            <c:idx val="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4-6564-4F45-8560-A14789827587}"/>
              </c:ext>
            </c:extLst>
          </c:dPt>
          <c:dPt>
            <c:idx val="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5-6564-4F45-8560-A14789827587}"/>
              </c:ext>
            </c:extLst>
          </c:dPt>
          <c:dPt>
            <c:idx val="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6-6564-4F45-8560-A14789827587}"/>
              </c:ext>
            </c:extLst>
          </c:dPt>
          <c:dPt>
            <c:idx val="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7-6564-4F45-8560-A14789827587}"/>
              </c:ext>
            </c:extLst>
          </c:dPt>
          <c:dPt>
            <c:idx val="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8-6564-4F45-8560-A14789827587}"/>
              </c:ext>
            </c:extLst>
          </c:dPt>
          <c:dPt>
            <c:idx val="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9-6564-4F45-8560-A14789827587}"/>
              </c:ext>
            </c:extLst>
          </c:dPt>
          <c:dPt>
            <c:idx val="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A-6564-4F45-8560-A14789827587}"/>
              </c:ext>
            </c:extLst>
          </c:dPt>
          <c:dPt>
            <c:idx val="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B-6564-4F45-8560-A14789827587}"/>
              </c:ext>
            </c:extLst>
          </c:dPt>
          <c:dPt>
            <c:idx val="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C-6564-4F45-8560-A14789827587}"/>
              </c:ext>
            </c:extLst>
          </c:dPt>
          <c:dPt>
            <c:idx val="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D-6564-4F45-8560-A14789827587}"/>
              </c:ext>
            </c:extLst>
          </c:dPt>
          <c:dPt>
            <c:idx val="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E-6564-4F45-8560-A14789827587}"/>
              </c:ext>
            </c:extLst>
          </c:dPt>
          <c:dPt>
            <c:idx val="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F-6564-4F45-8560-A14789827587}"/>
              </c:ext>
            </c:extLst>
          </c:dPt>
          <c:dPt>
            <c:idx val="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0-6564-4F45-8560-A14789827587}"/>
              </c:ext>
            </c:extLst>
          </c:dPt>
          <c:dPt>
            <c:idx val="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1-6564-4F45-8560-A14789827587}"/>
              </c:ext>
            </c:extLst>
          </c:dPt>
          <c:dPt>
            <c:idx val="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2-6564-4F45-8560-A14789827587}"/>
              </c:ext>
            </c:extLst>
          </c:dPt>
          <c:dPt>
            <c:idx val="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3-6564-4F45-8560-A14789827587}"/>
              </c:ext>
            </c:extLst>
          </c:dPt>
          <c:dPt>
            <c:idx val="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4-6564-4F45-8560-A14789827587}"/>
              </c:ext>
            </c:extLst>
          </c:dPt>
          <c:dPt>
            <c:idx val="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5-6564-4F45-8560-A14789827587}"/>
              </c:ext>
            </c:extLst>
          </c:dPt>
          <c:dPt>
            <c:idx val="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6-6564-4F45-8560-A14789827587}"/>
              </c:ext>
            </c:extLst>
          </c:dPt>
          <c:dPt>
            <c:idx val="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7-6564-4F45-8560-A14789827587}"/>
              </c:ext>
            </c:extLst>
          </c:dPt>
          <c:dPt>
            <c:idx val="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8-6564-4F45-8560-A14789827587}"/>
              </c:ext>
            </c:extLst>
          </c:dPt>
          <c:dPt>
            <c:idx val="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9-6564-4F45-8560-A14789827587}"/>
              </c:ext>
            </c:extLst>
          </c:dPt>
          <c:dPt>
            <c:idx val="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A-6564-4F45-8560-A14789827587}"/>
              </c:ext>
            </c:extLst>
          </c:dPt>
          <c:dPt>
            <c:idx val="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B-6564-4F45-8560-A14789827587}"/>
              </c:ext>
            </c:extLst>
          </c:dPt>
          <c:dPt>
            <c:idx val="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C-6564-4F45-8560-A14789827587}"/>
              </c:ext>
            </c:extLst>
          </c:dPt>
          <c:dPt>
            <c:idx val="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D-6564-4F45-8560-A14789827587}"/>
              </c:ext>
            </c:extLst>
          </c:dPt>
          <c:dPt>
            <c:idx val="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E-6564-4F45-8560-A14789827587}"/>
              </c:ext>
            </c:extLst>
          </c:dPt>
          <c:dPt>
            <c:idx val="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F-6564-4F45-8560-A14789827587}"/>
              </c:ext>
            </c:extLst>
          </c:dPt>
          <c:dPt>
            <c:idx val="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0-6564-4F45-8560-A14789827587}"/>
              </c:ext>
            </c:extLst>
          </c:dPt>
          <c:dPt>
            <c:idx val="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1-6564-4F45-8560-A14789827587}"/>
              </c:ext>
            </c:extLst>
          </c:dPt>
          <c:dPt>
            <c:idx val="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2-6564-4F45-8560-A14789827587}"/>
              </c:ext>
            </c:extLst>
          </c:dPt>
          <c:dPt>
            <c:idx val="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3-6564-4F45-8560-A14789827587}"/>
              </c:ext>
            </c:extLst>
          </c:dPt>
          <c:dPt>
            <c:idx val="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4-6564-4F45-8560-A14789827587}"/>
              </c:ext>
            </c:extLst>
          </c:dPt>
          <c:dPt>
            <c:idx val="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5-6564-4F45-8560-A14789827587}"/>
              </c:ext>
            </c:extLst>
          </c:dPt>
          <c:dPt>
            <c:idx val="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6-6564-4F45-8560-A14789827587}"/>
              </c:ext>
            </c:extLst>
          </c:dPt>
          <c:dPt>
            <c:idx val="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7-6564-4F45-8560-A14789827587}"/>
              </c:ext>
            </c:extLst>
          </c:dPt>
          <c:dPt>
            <c:idx val="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8-6564-4F45-8560-A14789827587}"/>
              </c:ext>
            </c:extLst>
          </c:dPt>
          <c:dPt>
            <c:idx val="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9-6564-4F45-8560-A14789827587}"/>
              </c:ext>
            </c:extLst>
          </c:dPt>
          <c:dPt>
            <c:idx val="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A-6564-4F45-8560-A14789827587}"/>
              </c:ext>
            </c:extLst>
          </c:dPt>
          <c:dPt>
            <c:idx val="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B-6564-4F45-8560-A14789827587}"/>
              </c:ext>
            </c:extLst>
          </c:dPt>
          <c:dPt>
            <c:idx val="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C-6564-4F45-8560-A14789827587}"/>
              </c:ext>
            </c:extLst>
          </c:dPt>
          <c:dPt>
            <c:idx val="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D-6564-4F45-8560-A14789827587}"/>
              </c:ext>
            </c:extLst>
          </c:dPt>
          <c:dPt>
            <c:idx val="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E-6564-4F45-8560-A14789827587}"/>
              </c:ext>
            </c:extLst>
          </c:dPt>
          <c:dPt>
            <c:idx val="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F-6564-4F45-8560-A14789827587}"/>
              </c:ext>
            </c:extLst>
          </c:dPt>
          <c:dPt>
            <c:idx val="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0-6564-4F45-8560-A14789827587}"/>
              </c:ext>
            </c:extLst>
          </c:dPt>
          <c:dPt>
            <c:idx val="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1-6564-4F45-8560-A14789827587}"/>
              </c:ext>
            </c:extLst>
          </c:dPt>
          <c:dPt>
            <c:idx val="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2-6564-4F45-8560-A14789827587}"/>
              </c:ext>
            </c:extLst>
          </c:dPt>
          <c:dPt>
            <c:idx val="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3-6564-4F45-8560-A14789827587}"/>
              </c:ext>
            </c:extLst>
          </c:dPt>
          <c:dPt>
            <c:idx val="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4-6564-4F45-8560-A14789827587}"/>
              </c:ext>
            </c:extLst>
          </c:dPt>
          <c:dPt>
            <c:idx val="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5-6564-4F45-8560-A14789827587}"/>
              </c:ext>
            </c:extLst>
          </c:dPt>
          <c:dPt>
            <c:idx val="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6-6564-4F45-8560-A14789827587}"/>
              </c:ext>
            </c:extLst>
          </c:dPt>
          <c:dPt>
            <c:idx val="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7-6564-4F45-8560-A14789827587}"/>
              </c:ext>
            </c:extLst>
          </c:dPt>
          <c:dPt>
            <c:idx val="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8-6564-4F45-8560-A14789827587}"/>
              </c:ext>
            </c:extLst>
          </c:dPt>
          <c:dPt>
            <c:idx val="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9-6564-4F45-8560-A14789827587}"/>
              </c:ext>
            </c:extLst>
          </c:dPt>
          <c:dPt>
            <c:idx val="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A-6564-4F45-8560-A14789827587}"/>
              </c:ext>
            </c:extLst>
          </c:dPt>
          <c:dPt>
            <c:idx val="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B-6564-4F45-8560-A14789827587}"/>
              </c:ext>
            </c:extLst>
          </c:dPt>
          <c:dPt>
            <c:idx val="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C-6564-4F45-8560-A14789827587}"/>
              </c:ext>
            </c:extLst>
          </c:dPt>
          <c:dPt>
            <c:idx val="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D-6564-4F45-8560-A14789827587}"/>
              </c:ext>
            </c:extLst>
          </c:dPt>
          <c:dPt>
            <c:idx val="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E-6564-4F45-8560-A14789827587}"/>
              </c:ext>
            </c:extLst>
          </c:dPt>
          <c:dPt>
            <c:idx val="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F-6564-4F45-8560-A14789827587}"/>
              </c:ext>
            </c:extLst>
          </c:dPt>
          <c:dPt>
            <c:idx val="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0-6564-4F45-8560-A14789827587}"/>
              </c:ext>
            </c:extLst>
          </c:dPt>
          <c:dPt>
            <c:idx val="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1-6564-4F45-8560-A14789827587}"/>
              </c:ext>
            </c:extLst>
          </c:dPt>
          <c:dPt>
            <c:idx val="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2-6564-4F45-8560-A14789827587}"/>
              </c:ext>
            </c:extLst>
          </c:dPt>
          <c:dPt>
            <c:idx val="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3-6564-4F45-8560-A14789827587}"/>
              </c:ext>
            </c:extLst>
          </c:dPt>
          <c:dPt>
            <c:idx val="1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4-6564-4F45-8560-A14789827587}"/>
              </c:ext>
            </c:extLst>
          </c:dPt>
          <c:dPt>
            <c:idx val="1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5-6564-4F45-8560-A14789827587}"/>
              </c:ext>
            </c:extLst>
          </c:dPt>
          <c:dPt>
            <c:idx val="1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6-6564-4F45-8560-A14789827587}"/>
              </c:ext>
            </c:extLst>
          </c:dPt>
          <c:dPt>
            <c:idx val="1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7-6564-4F45-8560-A14789827587}"/>
              </c:ext>
            </c:extLst>
          </c:dPt>
          <c:dPt>
            <c:idx val="1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8-6564-4F45-8560-A14789827587}"/>
              </c:ext>
            </c:extLst>
          </c:dPt>
          <c:dPt>
            <c:idx val="1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9-6564-4F45-8560-A14789827587}"/>
              </c:ext>
            </c:extLst>
          </c:dPt>
          <c:dPt>
            <c:idx val="1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A-6564-4F45-8560-A14789827587}"/>
              </c:ext>
            </c:extLst>
          </c:dPt>
          <c:dPt>
            <c:idx val="1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B-6564-4F45-8560-A14789827587}"/>
              </c:ext>
            </c:extLst>
          </c:dPt>
          <c:dPt>
            <c:idx val="1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C-6564-4F45-8560-A14789827587}"/>
              </c:ext>
            </c:extLst>
          </c:dPt>
          <c:dPt>
            <c:idx val="1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D-6564-4F45-8560-A14789827587}"/>
              </c:ext>
            </c:extLst>
          </c:dPt>
          <c:dPt>
            <c:idx val="1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E-6564-4F45-8560-A14789827587}"/>
              </c:ext>
            </c:extLst>
          </c:dPt>
          <c:dPt>
            <c:idx val="1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F-6564-4F45-8560-A14789827587}"/>
              </c:ext>
            </c:extLst>
          </c:dPt>
          <c:dPt>
            <c:idx val="1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0-6564-4F45-8560-A14789827587}"/>
              </c:ext>
            </c:extLst>
          </c:dPt>
          <c:dPt>
            <c:idx val="1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1-6564-4F45-8560-A14789827587}"/>
              </c:ext>
            </c:extLst>
          </c:dPt>
          <c:dPt>
            <c:idx val="1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2-6564-4F45-8560-A14789827587}"/>
              </c:ext>
            </c:extLst>
          </c:dPt>
          <c:dPt>
            <c:idx val="1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3-6564-4F45-8560-A14789827587}"/>
              </c:ext>
            </c:extLst>
          </c:dPt>
          <c:dPt>
            <c:idx val="1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4-6564-4F45-8560-A14789827587}"/>
              </c:ext>
            </c:extLst>
          </c:dPt>
          <c:dPt>
            <c:idx val="1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5-6564-4F45-8560-A14789827587}"/>
              </c:ext>
            </c:extLst>
          </c:dPt>
          <c:dPt>
            <c:idx val="1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6-6564-4F45-8560-A14789827587}"/>
              </c:ext>
            </c:extLst>
          </c:dPt>
          <c:dPt>
            <c:idx val="1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7-6564-4F45-8560-A14789827587}"/>
              </c:ext>
            </c:extLst>
          </c:dPt>
          <c:dPt>
            <c:idx val="1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8-6564-4F45-8560-A14789827587}"/>
              </c:ext>
            </c:extLst>
          </c:dPt>
          <c:dPt>
            <c:idx val="1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9-6564-4F45-8560-A14789827587}"/>
              </c:ext>
            </c:extLst>
          </c:dPt>
          <c:dPt>
            <c:idx val="1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A-6564-4F45-8560-A14789827587}"/>
              </c:ext>
            </c:extLst>
          </c:dPt>
          <c:dPt>
            <c:idx val="1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B-6564-4F45-8560-A14789827587}"/>
              </c:ext>
            </c:extLst>
          </c:dPt>
          <c:dPt>
            <c:idx val="1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C-6564-4F45-8560-A14789827587}"/>
              </c:ext>
            </c:extLst>
          </c:dPt>
          <c:dPt>
            <c:idx val="1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D-6564-4F45-8560-A14789827587}"/>
              </c:ext>
            </c:extLst>
          </c:dPt>
          <c:dPt>
            <c:idx val="1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E-6564-4F45-8560-A14789827587}"/>
              </c:ext>
            </c:extLst>
          </c:dPt>
          <c:dPt>
            <c:idx val="1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F-6564-4F45-8560-A14789827587}"/>
              </c:ext>
            </c:extLst>
          </c:dPt>
          <c:dPt>
            <c:idx val="1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0-6564-4F45-8560-A14789827587}"/>
              </c:ext>
            </c:extLst>
          </c:dPt>
          <c:dPt>
            <c:idx val="1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1-6564-4F45-8560-A14789827587}"/>
              </c:ext>
            </c:extLst>
          </c:dPt>
          <c:dPt>
            <c:idx val="1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2-6564-4F45-8560-A14789827587}"/>
              </c:ext>
            </c:extLst>
          </c:dPt>
          <c:dPt>
            <c:idx val="1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3-6564-4F45-8560-A14789827587}"/>
              </c:ext>
            </c:extLst>
          </c:dPt>
          <c:dPt>
            <c:idx val="1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4-6564-4F45-8560-A14789827587}"/>
              </c:ext>
            </c:extLst>
          </c:dPt>
          <c:dPt>
            <c:idx val="1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5-6564-4F45-8560-A14789827587}"/>
              </c:ext>
            </c:extLst>
          </c:dPt>
          <c:dPt>
            <c:idx val="1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6-6564-4F45-8560-A14789827587}"/>
              </c:ext>
            </c:extLst>
          </c:dPt>
          <c:dPt>
            <c:idx val="1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7-6564-4F45-8560-A14789827587}"/>
              </c:ext>
            </c:extLst>
          </c:dPt>
          <c:dPt>
            <c:idx val="1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8-6564-4F45-8560-A14789827587}"/>
              </c:ext>
            </c:extLst>
          </c:dPt>
          <c:dPt>
            <c:idx val="1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9-6564-4F45-8560-A14789827587}"/>
              </c:ext>
            </c:extLst>
          </c:dPt>
          <c:dPt>
            <c:idx val="1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A-6564-4F45-8560-A14789827587}"/>
              </c:ext>
            </c:extLst>
          </c:dPt>
          <c:dPt>
            <c:idx val="1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B-6564-4F45-8560-A14789827587}"/>
              </c:ext>
            </c:extLst>
          </c:dPt>
          <c:dPt>
            <c:idx val="1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C-6564-4F45-8560-A14789827587}"/>
              </c:ext>
            </c:extLst>
          </c:dPt>
          <c:dPt>
            <c:idx val="1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D-6564-4F45-8560-A14789827587}"/>
              </c:ext>
            </c:extLst>
          </c:dPt>
          <c:dPt>
            <c:idx val="1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E-6564-4F45-8560-A14789827587}"/>
              </c:ext>
            </c:extLst>
          </c:dPt>
          <c:dPt>
            <c:idx val="1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F-6564-4F45-8560-A14789827587}"/>
              </c:ext>
            </c:extLst>
          </c:dPt>
          <c:dPt>
            <c:idx val="1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0-6564-4F45-8560-A14789827587}"/>
              </c:ext>
            </c:extLst>
          </c:dPt>
          <c:dPt>
            <c:idx val="1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1-6564-4F45-8560-A14789827587}"/>
              </c:ext>
            </c:extLst>
          </c:dPt>
          <c:dPt>
            <c:idx val="1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2-6564-4F45-8560-A14789827587}"/>
              </c:ext>
            </c:extLst>
          </c:dPt>
          <c:dPt>
            <c:idx val="1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3-6564-4F45-8560-A14789827587}"/>
              </c:ext>
            </c:extLst>
          </c:dPt>
          <c:dPt>
            <c:idx val="1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4-6564-4F45-8560-A14789827587}"/>
              </c:ext>
            </c:extLst>
          </c:dPt>
          <c:dPt>
            <c:idx val="1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5-6564-4F45-8560-A14789827587}"/>
              </c:ext>
            </c:extLst>
          </c:dPt>
          <c:dPt>
            <c:idx val="1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6-6564-4F45-8560-A14789827587}"/>
              </c:ext>
            </c:extLst>
          </c:dPt>
          <c:dPt>
            <c:idx val="1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7-6564-4F45-8560-A14789827587}"/>
              </c:ext>
            </c:extLst>
          </c:dPt>
          <c:dPt>
            <c:idx val="1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8-6564-4F45-8560-A14789827587}"/>
              </c:ext>
            </c:extLst>
          </c:dPt>
          <c:dPt>
            <c:idx val="1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9-6564-4F45-8560-A14789827587}"/>
              </c:ext>
            </c:extLst>
          </c:dPt>
          <c:dPt>
            <c:idx val="1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A-6564-4F45-8560-A14789827587}"/>
              </c:ext>
            </c:extLst>
          </c:dPt>
          <c:dPt>
            <c:idx val="1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B-6564-4F45-8560-A14789827587}"/>
              </c:ext>
            </c:extLst>
          </c:dPt>
          <c:dPt>
            <c:idx val="1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C-6564-4F45-8560-A14789827587}"/>
              </c:ext>
            </c:extLst>
          </c:dPt>
          <c:dPt>
            <c:idx val="1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D-6564-4F45-8560-A14789827587}"/>
              </c:ext>
            </c:extLst>
          </c:dPt>
          <c:dPt>
            <c:idx val="1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E-6564-4F45-8560-A14789827587}"/>
              </c:ext>
            </c:extLst>
          </c:dPt>
          <c:dPt>
            <c:idx val="1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F-6564-4F45-8560-A14789827587}"/>
              </c:ext>
            </c:extLst>
          </c:dPt>
          <c:dPt>
            <c:idx val="1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0-6564-4F45-8560-A14789827587}"/>
              </c:ext>
            </c:extLst>
          </c:dPt>
          <c:dPt>
            <c:idx val="1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1-6564-4F45-8560-A14789827587}"/>
              </c:ext>
            </c:extLst>
          </c:dPt>
          <c:dPt>
            <c:idx val="1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2-6564-4F45-8560-A14789827587}"/>
              </c:ext>
            </c:extLst>
          </c:dPt>
          <c:dPt>
            <c:idx val="1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3-6564-4F45-8560-A14789827587}"/>
              </c:ext>
            </c:extLst>
          </c:dPt>
          <c:dPt>
            <c:idx val="1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4-6564-4F45-8560-A14789827587}"/>
              </c:ext>
            </c:extLst>
          </c:dPt>
          <c:dPt>
            <c:idx val="1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5-6564-4F45-8560-A14789827587}"/>
              </c:ext>
            </c:extLst>
          </c:dPt>
          <c:dPt>
            <c:idx val="1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6-6564-4F45-8560-A14789827587}"/>
              </c:ext>
            </c:extLst>
          </c:dPt>
          <c:dPt>
            <c:idx val="1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7-6564-4F45-8560-A14789827587}"/>
              </c:ext>
            </c:extLst>
          </c:dPt>
          <c:dPt>
            <c:idx val="1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8-6564-4F45-8560-A14789827587}"/>
              </c:ext>
            </c:extLst>
          </c:dPt>
          <c:dPt>
            <c:idx val="1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9-6564-4F45-8560-A14789827587}"/>
              </c:ext>
            </c:extLst>
          </c:dPt>
          <c:dPt>
            <c:idx val="1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A-6564-4F45-8560-A14789827587}"/>
              </c:ext>
            </c:extLst>
          </c:dPt>
          <c:dPt>
            <c:idx val="1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B-6564-4F45-8560-A14789827587}"/>
              </c:ext>
            </c:extLst>
          </c:dPt>
          <c:dPt>
            <c:idx val="1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C-6564-4F45-8560-A14789827587}"/>
              </c:ext>
            </c:extLst>
          </c:dPt>
          <c:dPt>
            <c:idx val="1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D-6564-4F45-8560-A14789827587}"/>
              </c:ext>
            </c:extLst>
          </c:dPt>
          <c:dPt>
            <c:idx val="1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E-6564-4F45-8560-A14789827587}"/>
              </c:ext>
            </c:extLst>
          </c:dPt>
          <c:dPt>
            <c:idx val="1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F-6564-4F45-8560-A14789827587}"/>
              </c:ext>
            </c:extLst>
          </c:dPt>
          <c:dPt>
            <c:idx val="1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0-6564-4F45-8560-A14789827587}"/>
              </c:ext>
            </c:extLst>
          </c:dPt>
          <c:dPt>
            <c:idx val="1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1-6564-4F45-8560-A14789827587}"/>
              </c:ext>
            </c:extLst>
          </c:dPt>
          <c:dPt>
            <c:idx val="1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2-6564-4F45-8560-A14789827587}"/>
              </c:ext>
            </c:extLst>
          </c:dPt>
          <c:dPt>
            <c:idx val="1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3-6564-4F45-8560-A14789827587}"/>
              </c:ext>
            </c:extLst>
          </c:dPt>
          <c:dPt>
            <c:idx val="1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4-6564-4F45-8560-A14789827587}"/>
              </c:ext>
            </c:extLst>
          </c:dPt>
          <c:dPt>
            <c:idx val="1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5-6564-4F45-8560-A14789827587}"/>
              </c:ext>
            </c:extLst>
          </c:dPt>
          <c:dPt>
            <c:idx val="1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6-6564-4F45-8560-A14789827587}"/>
              </c:ext>
            </c:extLst>
          </c:dPt>
          <c:dPt>
            <c:idx val="1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7-6564-4F45-8560-A14789827587}"/>
              </c:ext>
            </c:extLst>
          </c:dPt>
          <c:dPt>
            <c:idx val="1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8-6564-4F45-8560-A14789827587}"/>
              </c:ext>
            </c:extLst>
          </c:dPt>
          <c:dPt>
            <c:idx val="1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9-6564-4F45-8560-A14789827587}"/>
              </c:ext>
            </c:extLst>
          </c:dPt>
          <c:dPt>
            <c:idx val="1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A-6564-4F45-8560-A14789827587}"/>
              </c:ext>
            </c:extLst>
          </c:dPt>
          <c:dPt>
            <c:idx val="1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B-6564-4F45-8560-A14789827587}"/>
              </c:ext>
            </c:extLst>
          </c:dPt>
          <c:dPt>
            <c:idx val="1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C-6564-4F45-8560-A14789827587}"/>
              </c:ext>
            </c:extLst>
          </c:dPt>
          <c:dPt>
            <c:idx val="1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D-6564-4F45-8560-A14789827587}"/>
              </c:ext>
            </c:extLst>
          </c:dPt>
          <c:dPt>
            <c:idx val="1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E-6564-4F45-8560-A14789827587}"/>
              </c:ext>
            </c:extLst>
          </c:dPt>
          <c:dPt>
            <c:idx val="1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F-6564-4F45-8560-A14789827587}"/>
              </c:ext>
            </c:extLst>
          </c:dPt>
          <c:dPt>
            <c:idx val="1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0-6564-4F45-8560-A14789827587}"/>
              </c:ext>
            </c:extLst>
          </c:dPt>
          <c:dPt>
            <c:idx val="1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1-6564-4F45-8560-A14789827587}"/>
              </c:ext>
            </c:extLst>
          </c:dPt>
          <c:dPt>
            <c:idx val="1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2-6564-4F45-8560-A14789827587}"/>
              </c:ext>
            </c:extLst>
          </c:dPt>
          <c:dPt>
            <c:idx val="1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3-6564-4F45-8560-A14789827587}"/>
              </c:ext>
            </c:extLst>
          </c:dPt>
          <c:dPt>
            <c:idx val="1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4-6564-4F45-8560-A14789827587}"/>
              </c:ext>
            </c:extLst>
          </c:dPt>
          <c:dPt>
            <c:idx val="1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5-6564-4F45-8560-A14789827587}"/>
              </c:ext>
            </c:extLst>
          </c:dPt>
          <c:dPt>
            <c:idx val="1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6-6564-4F45-8560-A14789827587}"/>
              </c:ext>
            </c:extLst>
          </c:dPt>
          <c:dPt>
            <c:idx val="1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7-6564-4F45-8560-A14789827587}"/>
              </c:ext>
            </c:extLst>
          </c:dPt>
          <c:dPt>
            <c:idx val="2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8-6564-4F45-8560-A14789827587}"/>
              </c:ext>
            </c:extLst>
          </c:dPt>
          <c:dPt>
            <c:idx val="2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9-6564-4F45-8560-A14789827587}"/>
              </c:ext>
            </c:extLst>
          </c:dPt>
          <c:dPt>
            <c:idx val="2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A-6564-4F45-8560-A14789827587}"/>
              </c:ext>
            </c:extLst>
          </c:dPt>
          <c:dPt>
            <c:idx val="2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B-6564-4F45-8560-A14789827587}"/>
              </c:ext>
            </c:extLst>
          </c:dPt>
          <c:dPt>
            <c:idx val="2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C-6564-4F45-8560-A14789827587}"/>
              </c:ext>
            </c:extLst>
          </c:dPt>
          <c:dPt>
            <c:idx val="2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D-6564-4F45-8560-A14789827587}"/>
              </c:ext>
            </c:extLst>
          </c:dPt>
          <c:dPt>
            <c:idx val="2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E-6564-4F45-8560-A14789827587}"/>
              </c:ext>
            </c:extLst>
          </c:dPt>
          <c:dPt>
            <c:idx val="2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F-6564-4F45-8560-A14789827587}"/>
              </c:ext>
            </c:extLst>
          </c:dPt>
          <c:dPt>
            <c:idx val="2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0-6564-4F45-8560-A14789827587}"/>
              </c:ext>
            </c:extLst>
          </c:dPt>
          <c:dPt>
            <c:idx val="2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1-6564-4F45-8560-A14789827587}"/>
              </c:ext>
            </c:extLst>
          </c:dPt>
          <c:dPt>
            <c:idx val="2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2-6564-4F45-8560-A14789827587}"/>
              </c:ext>
            </c:extLst>
          </c:dPt>
          <c:dPt>
            <c:idx val="2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3-6564-4F45-8560-A14789827587}"/>
              </c:ext>
            </c:extLst>
          </c:dPt>
          <c:dPt>
            <c:idx val="2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4-6564-4F45-8560-A14789827587}"/>
              </c:ext>
            </c:extLst>
          </c:dPt>
          <c:dPt>
            <c:idx val="2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5-6564-4F45-8560-A14789827587}"/>
              </c:ext>
            </c:extLst>
          </c:dPt>
          <c:dPt>
            <c:idx val="2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6-6564-4F45-8560-A14789827587}"/>
              </c:ext>
            </c:extLst>
          </c:dPt>
          <c:dPt>
            <c:idx val="2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7-6564-4F45-8560-A14789827587}"/>
              </c:ext>
            </c:extLst>
          </c:dPt>
          <c:dPt>
            <c:idx val="2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8-6564-4F45-8560-A14789827587}"/>
              </c:ext>
            </c:extLst>
          </c:dPt>
          <c:dPt>
            <c:idx val="2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9-6564-4F45-8560-A14789827587}"/>
              </c:ext>
            </c:extLst>
          </c:dPt>
          <c:dPt>
            <c:idx val="2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A-6564-4F45-8560-A14789827587}"/>
              </c:ext>
            </c:extLst>
          </c:dPt>
          <c:dPt>
            <c:idx val="2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B-6564-4F45-8560-A14789827587}"/>
              </c:ext>
            </c:extLst>
          </c:dPt>
          <c:dPt>
            <c:idx val="2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C-6564-4F45-8560-A14789827587}"/>
              </c:ext>
            </c:extLst>
          </c:dPt>
          <c:dPt>
            <c:idx val="2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D-6564-4F45-8560-A14789827587}"/>
              </c:ext>
            </c:extLst>
          </c:dPt>
          <c:dPt>
            <c:idx val="2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E-6564-4F45-8560-A14789827587}"/>
              </c:ext>
            </c:extLst>
          </c:dPt>
          <c:dPt>
            <c:idx val="2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F-6564-4F45-8560-A14789827587}"/>
              </c:ext>
            </c:extLst>
          </c:dPt>
          <c:dPt>
            <c:idx val="2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0-6564-4F45-8560-A14789827587}"/>
              </c:ext>
            </c:extLst>
          </c:dPt>
          <c:dPt>
            <c:idx val="2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1-6564-4F45-8560-A14789827587}"/>
              </c:ext>
            </c:extLst>
          </c:dPt>
          <c:dPt>
            <c:idx val="2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2-6564-4F45-8560-A14789827587}"/>
              </c:ext>
            </c:extLst>
          </c:dPt>
          <c:dPt>
            <c:idx val="2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3-6564-4F45-8560-A14789827587}"/>
              </c:ext>
            </c:extLst>
          </c:dPt>
          <c:dPt>
            <c:idx val="2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4-6564-4F45-8560-A14789827587}"/>
              </c:ext>
            </c:extLst>
          </c:dPt>
          <c:dPt>
            <c:idx val="2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5-6564-4F45-8560-A14789827587}"/>
              </c:ext>
            </c:extLst>
          </c:dPt>
          <c:dPt>
            <c:idx val="2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6-6564-4F45-8560-A14789827587}"/>
              </c:ext>
            </c:extLst>
          </c:dPt>
          <c:dPt>
            <c:idx val="2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7-6564-4F45-8560-A14789827587}"/>
              </c:ext>
            </c:extLst>
          </c:dPt>
          <c:dPt>
            <c:idx val="2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8-6564-4F45-8560-A14789827587}"/>
              </c:ext>
            </c:extLst>
          </c:dPt>
          <c:dPt>
            <c:idx val="2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9-6564-4F45-8560-A14789827587}"/>
              </c:ext>
            </c:extLst>
          </c:dPt>
          <c:dPt>
            <c:idx val="2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A-6564-4F45-8560-A14789827587}"/>
              </c:ext>
            </c:extLst>
          </c:dPt>
          <c:dPt>
            <c:idx val="2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B-6564-4F45-8560-A14789827587}"/>
              </c:ext>
            </c:extLst>
          </c:dPt>
          <c:dPt>
            <c:idx val="2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C-6564-4F45-8560-A14789827587}"/>
              </c:ext>
            </c:extLst>
          </c:dPt>
          <c:dPt>
            <c:idx val="2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D-6564-4F45-8560-A14789827587}"/>
              </c:ext>
            </c:extLst>
          </c:dPt>
          <c:dPt>
            <c:idx val="2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E-6564-4F45-8560-A14789827587}"/>
              </c:ext>
            </c:extLst>
          </c:dPt>
          <c:dPt>
            <c:idx val="2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F-6564-4F45-8560-A14789827587}"/>
              </c:ext>
            </c:extLst>
          </c:dPt>
          <c:dPt>
            <c:idx val="2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0-6564-4F45-8560-A14789827587}"/>
              </c:ext>
            </c:extLst>
          </c:dPt>
          <c:dPt>
            <c:idx val="2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1-6564-4F45-8560-A14789827587}"/>
              </c:ext>
            </c:extLst>
          </c:dPt>
          <c:dPt>
            <c:idx val="2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2-6564-4F45-8560-A14789827587}"/>
              </c:ext>
            </c:extLst>
          </c:dPt>
          <c:dPt>
            <c:idx val="2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3-6564-4F45-8560-A14789827587}"/>
              </c:ext>
            </c:extLst>
          </c:dPt>
          <c:dPt>
            <c:idx val="2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4-6564-4F45-8560-A14789827587}"/>
              </c:ext>
            </c:extLst>
          </c:dPt>
          <c:dPt>
            <c:idx val="2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5-6564-4F45-8560-A14789827587}"/>
              </c:ext>
            </c:extLst>
          </c:dPt>
          <c:dPt>
            <c:idx val="2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6-6564-4F45-8560-A14789827587}"/>
              </c:ext>
            </c:extLst>
          </c:dPt>
          <c:dPt>
            <c:idx val="2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7-6564-4F45-8560-A14789827587}"/>
              </c:ext>
            </c:extLst>
          </c:dPt>
          <c:dPt>
            <c:idx val="2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8-6564-4F45-8560-A14789827587}"/>
              </c:ext>
            </c:extLst>
          </c:dPt>
          <c:dPt>
            <c:idx val="2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9-6564-4F45-8560-A14789827587}"/>
              </c:ext>
            </c:extLst>
          </c:dPt>
          <c:dPt>
            <c:idx val="2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A-6564-4F45-8560-A14789827587}"/>
              </c:ext>
            </c:extLst>
          </c:dPt>
          <c:dPt>
            <c:idx val="2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B-6564-4F45-8560-A14789827587}"/>
              </c:ext>
            </c:extLst>
          </c:dPt>
          <c:dPt>
            <c:idx val="2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C-6564-4F45-8560-A14789827587}"/>
              </c:ext>
            </c:extLst>
          </c:dPt>
          <c:dPt>
            <c:idx val="2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D-6564-4F45-8560-A14789827587}"/>
              </c:ext>
            </c:extLst>
          </c:dPt>
          <c:dPt>
            <c:idx val="2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E-6564-4F45-8560-A14789827587}"/>
              </c:ext>
            </c:extLst>
          </c:dPt>
          <c:dPt>
            <c:idx val="2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F-6564-4F45-8560-A14789827587}"/>
              </c:ext>
            </c:extLst>
          </c:dPt>
          <c:dPt>
            <c:idx val="2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0-6564-4F45-8560-A14789827587}"/>
              </c:ext>
            </c:extLst>
          </c:dPt>
          <c:dPt>
            <c:idx val="2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1-6564-4F45-8560-A14789827587}"/>
              </c:ext>
            </c:extLst>
          </c:dPt>
          <c:dPt>
            <c:idx val="2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2-6564-4F45-8560-A14789827587}"/>
              </c:ext>
            </c:extLst>
          </c:dPt>
          <c:dPt>
            <c:idx val="2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3-6564-4F45-8560-A14789827587}"/>
              </c:ext>
            </c:extLst>
          </c:dPt>
          <c:dPt>
            <c:idx val="2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4-6564-4F45-8560-A14789827587}"/>
              </c:ext>
            </c:extLst>
          </c:dPt>
          <c:dPt>
            <c:idx val="2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5-6564-4F45-8560-A14789827587}"/>
              </c:ext>
            </c:extLst>
          </c:dPt>
          <c:dPt>
            <c:idx val="2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6-6564-4F45-8560-A14789827587}"/>
              </c:ext>
            </c:extLst>
          </c:dPt>
          <c:dPt>
            <c:idx val="2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7-6564-4F45-8560-A14789827587}"/>
              </c:ext>
            </c:extLst>
          </c:dPt>
          <c:dPt>
            <c:idx val="2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8-6564-4F45-8560-A14789827587}"/>
              </c:ext>
            </c:extLst>
          </c:dPt>
          <c:dPt>
            <c:idx val="2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9-6564-4F45-8560-A14789827587}"/>
              </c:ext>
            </c:extLst>
          </c:dPt>
          <c:dPt>
            <c:idx val="2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A-6564-4F45-8560-A14789827587}"/>
              </c:ext>
            </c:extLst>
          </c:dPt>
          <c:dPt>
            <c:idx val="2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B-6564-4F45-8560-A14789827587}"/>
              </c:ext>
            </c:extLst>
          </c:dPt>
          <c:dPt>
            <c:idx val="2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C-6564-4F45-8560-A14789827587}"/>
              </c:ext>
            </c:extLst>
          </c:dPt>
          <c:dPt>
            <c:idx val="2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D-6564-4F45-8560-A14789827587}"/>
              </c:ext>
            </c:extLst>
          </c:dPt>
          <c:dPt>
            <c:idx val="2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E-6564-4F45-8560-A14789827587}"/>
              </c:ext>
            </c:extLst>
          </c:dPt>
          <c:dPt>
            <c:idx val="2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F-6564-4F45-8560-A14789827587}"/>
              </c:ext>
            </c:extLst>
          </c:dPt>
          <c:dPt>
            <c:idx val="2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0-6564-4F45-8560-A14789827587}"/>
              </c:ext>
            </c:extLst>
          </c:dPt>
          <c:dPt>
            <c:idx val="2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1-6564-4F45-8560-A14789827587}"/>
              </c:ext>
            </c:extLst>
          </c:dPt>
          <c:dPt>
            <c:idx val="2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2-6564-4F45-8560-A14789827587}"/>
              </c:ext>
            </c:extLst>
          </c:dPt>
          <c:dPt>
            <c:idx val="2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3-6564-4F45-8560-A14789827587}"/>
              </c:ext>
            </c:extLst>
          </c:dPt>
          <c:dPt>
            <c:idx val="2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4-6564-4F45-8560-A14789827587}"/>
              </c:ext>
            </c:extLst>
          </c:dPt>
          <c:dPt>
            <c:idx val="2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5-6564-4F45-8560-A14789827587}"/>
              </c:ext>
            </c:extLst>
          </c:dPt>
          <c:dPt>
            <c:idx val="2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6-6564-4F45-8560-A14789827587}"/>
              </c:ext>
            </c:extLst>
          </c:dPt>
          <c:dPt>
            <c:idx val="2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7-6564-4F45-8560-A14789827587}"/>
              </c:ext>
            </c:extLst>
          </c:dPt>
          <c:dPt>
            <c:idx val="2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8-6564-4F45-8560-A14789827587}"/>
              </c:ext>
            </c:extLst>
          </c:dPt>
          <c:dPt>
            <c:idx val="2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9-6564-4F45-8560-A14789827587}"/>
              </c:ext>
            </c:extLst>
          </c:dPt>
          <c:dPt>
            <c:idx val="2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A-6564-4F45-8560-A14789827587}"/>
              </c:ext>
            </c:extLst>
          </c:dPt>
          <c:dPt>
            <c:idx val="2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B-6564-4F45-8560-A14789827587}"/>
              </c:ext>
            </c:extLst>
          </c:dPt>
          <c:dPt>
            <c:idx val="2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C-6564-4F45-8560-A14789827587}"/>
              </c:ext>
            </c:extLst>
          </c:dPt>
          <c:dPt>
            <c:idx val="2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D-6564-4F45-8560-A14789827587}"/>
              </c:ext>
            </c:extLst>
          </c:dPt>
          <c:dPt>
            <c:idx val="2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E-6564-4F45-8560-A14789827587}"/>
              </c:ext>
            </c:extLst>
          </c:dPt>
          <c:dPt>
            <c:idx val="2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F-6564-4F45-8560-A14789827587}"/>
              </c:ext>
            </c:extLst>
          </c:dPt>
          <c:dPt>
            <c:idx val="2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0-6564-4F45-8560-A14789827587}"/>
              </c:ext>
            </c:extLst>
          </c:dPt>
          <c:dPt>
            <c:idx val="2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1-6564-4F45-8560-A14789827587}"/>
              </c:ext>
            </c:extLst>
          </c:dPt>
          <c:dPt>
            <c:idx val="2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2-6564-4F45-8560-A14789827587}"/>
              </c:ext>
            </c:extLst>
          </c:dPt>
          <c:dPt>
            <c:idx val="2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3-6564-4F45-8560-A14789827587}"/>
              </c:ext>
            </c:extLst>
          </c:dPt>
          <c:dPt>
            <c:idx val="2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4-6564-4F45-8560-A14789827587}"/>
              </c:ext>
            </c:extLst>
          </c:dPt>
          <c:dPt>
            <c:idx val="2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5-6564-4F45-8560-A14789827587}"/>
              </c:ext>
            </c:extLst>
          </c:dPt>
          <c:dPt>
            <c:idx val="2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6-6564-4F45-8560-A14789827587}"/>
              </c:ext>
            </c:extLst>
          </c:dPt>
          <c:dPt>
            <c:idx val="2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7-6564-4F45-8560-A14789827587}"/>
              </c:ext>
            </c:extLst>
          </c:dPt>
          <c:dPt>
            <c:idx val="2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8-6564-4F45-8560-A14789827587}"/>
              </c:ext>
            </c:extLst>
          </c:dPt>
          <c:dPt>
            <c:idx val="2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9-6564-4F45-8560-A14789827587}"/>
              </c:ext>
            </c:extLst>
          </c:dPt>
          <c:dPt>
            <c:idx val="2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A-6564-4F45-8560-A14789827587}"/>
              </c:ext>
            </c:extLst>
          </c:dPt>
          <c:dPt>
            <c:idx val="2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B-6564-4F45-8560-A14789827587}"/>
              </c:ext>
            </c:extLst>
          </c:dPt>
          <c:dPt>
            <c:idx val="3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C-6564-4F45-8560-A14789827587}"/>
              </c:ext>
            </c:extLst>
          </c:dPt>
          <c:dPt>
            <c:idx val="3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D-6564-4F45-8560-A14789827587}"/>
              </c:ext>
            </c:extLst>
          </c:dPt>
          <c:dPt>
            <c:idx val="3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E-6564-4F45-8560-A14789827587}"/>
              </c:ext>
            </c:extLst>
          </c:dPt>
          <c:dPt>
            <c:idx val="3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F-6564-4F45-8560-A14789827587}"/>
              </c:ext>
            </c:extLst>
          </c:dPt>
          <c:dPt>
            <c:idx val="3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0-6564-4F45-8560-A14789827587}"/>
              </c:ext>
            </c:extLst>
          </c:dPt>
          <c:dPt>
            <c:idx val="3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1-6564-4F45-8560-A14789827587}"/>
              </c:ext>
            </c:extLst>
          </c:dPt>
          <c:dPt>
            <c:idx val="3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2-6564-4F45-8560-A14789827587}"/>
              </c:ext>
            </c:extLst>
          </c:dPt>
          <c:dPt>
            <c:idx val="3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3-6564-4F45-8560-A14789827587}"/>
              </c:ext>
            </c:extLst>
          </c:dPt>
          <c:dPt>
            <c:idx val="3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4-6564-4F45-8560-A14789827587}"/>
              </c:ext>
            </c:extLst>
          </c:dPt>
          <c:dPt>
            <c:idx val="3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5-6564-4F45-8560-A14789827587}"/>
              </c:ext>
            </c:extLst>
          </c:dPt>
          <c:dPt>
            <c:idx val="3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6-6564-4F45-8560-A14789827587}"/>
              </c:ext>
            </c:extLst>
          </c:dPt>
          <c:dPt>
            <c:idx val="3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7-6564-4F45-8560-A14789827587}"/>
              </c:ext>
            </c:extLst>
          </c:dPt>
          <c:dPt>
            <c:idx val="3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8-6564-4F45-8560-A14789827587}"/>
              </c:ext>
            </c:extLst>
          </c:dPt>
          <c:dPt>
            <c:idx val="3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9-6564-4F45-8560-A14789827587}"/>
              </c:ext>
            </c:extLst>
          </c:dPt>
          <c:dPt>
            <c:idx val="3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A-6564-4F45-8560-A14789827587}"/>
              </c:ext>
            </c:extLst>
          </c:dPt>
          <c:dPt>
            <c:idx val="3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B-6564-4F45-8560-A14789827587}"/>
              </c:ext>
            </c:extLst>
          </c:dPt>
          <c:dPt>
            <c:idx val="3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C-6564-4F45-8560-A14789827587}"/>
              </c:ext>
            </c:extLst>
          </c:dPt>
          <c:dPt>
            <c:idx val="3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D-6564-4F45-8560-A14789827587}"/>
              </c:ext>
            </c:extLst>
          </c:dPt>
          <c:dPt>
            <c:idx val="3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E-6564-4F45-8560-A14789827587}"/>
              </c:ext>
            </c:extLst>
          </c:dPt>
          <c:dPt>
            <c:idx val="3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F-6564-4F45-8560-A14789827587}"/>
              </c:ext>
            </c:extLst>
          </c:dPt>
          <c:dPt>
            <c:idx val="3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0-6564-4F45-8560-A14789827587}"/>
              </c:ext>
            </c:extLst>
          </c:dPt>
          <c:dPt>
            <c:idx val="3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1-6564-4F45-8560-A14789827587}"/>
              </c:ext>
            </c:extLst>
          </c:dPt>
          <c:dPt>
            <c:idx val="3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2-6564-4F45-8560-A14789827587}"/>
              </c:ext>
            </c:extLst>
          </c:dPt>
          <c:dPt>
            <c:idx val="3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3-6564-4F45-8560-A14789827587}"/>
              </c:ext>
            </c:extLst>
          </c:dPt>
          <c:dPt>
            <c:idx val="3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4-6564-4F45-8560-A14789827587}"/>
              </c:ext>
            </c:extLst>
          </c:dPt>
          <c:dPt>
            <c:idx val="3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5-6564-4F45-8560-A14789827587}"/>
              </c:ext>
            </c:extLst>
          </c:dPt>
          <c:dPt>
            <c:idx val="3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6-6564-4F45-8560-A14789827587}"/>
              </c:ext>
            </c:extLst>
          </c:dPt>
          <c:dPt>
            <c:idx val="3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7-6564-4F45-8560-A14789827587}"/>
              </c:ext>
            </c:extLst>
          </c:dPt>
          <c:dPt>
            <c:idx val="3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8-6564-4F45-8560-A14789827587}"/>
              </c:ext>
            </c:extLst>
          </c:dPt>
          <c:dPt>
            <c:idx val="3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9-6564-4F45-8560-A14789827587}"/>
              </c:ext>
            </c:extLst>
          </c:dPt>
          <c:dPt>
            <c:idx val="3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A-6564-4F45-8560-A14789827587}"/>
              </c:ext>
            </c:extLst>
          </c:dPt>
          <c:dPt>
            <c:idx val="3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B-6564-4F45-8560-A14789827587}"/>
              </c:ext>
            </c:extLst>
          </c:dPt>
          <c:dPt>
            <c:idx val="3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C-6564-4F45-8560-A14789827587}"/>
              </c:ext>
            </c:extLst>
          </c:dPt>
          <c:dPt>
            <c:idx val="3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D-6564-4F45-8560-A14789827587}"/>
              </c:ext>
            </c:extLst>
          </c:dPt>
          <c:dPt>
            <c:idx val="3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E-6564-4F45-8560-A14789827587}"/>
              </c:ext>
            </c:extLst>
          </c:dPt>
          <c:dPt>
            <c:idx val="3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F-6564-4F45-8560-A14789827587}"/>
              </c:ext>
            </c:extLst>
          </c:dPt>
          <c:dPt>
            <c:idx val="3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0-6564-4F45-8560-A14789827587}"/>
              </c:ext>
            </c:extLst>
          </c:dPt>
          <c:dPt>
            <c:idx val="3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1-6564-4F45-8560-A14789827587}"/>
              </c:ext>
            </c:extLst>
          </c:dPt>
          <c:dPt>
            <c:idx val="3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2-6564-4F45-8560-A14789827587}"/>
              </c:ext>
            </c:extLst>
          </c:dPt>
          <c:dPt>
            <c:idx val="3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3-6564-4F45-8560-A14789827587}"/>
              </c:ext>
            </c:extLst>
          </c:dPt>
          <c:dPt>
            <c:idx val="3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4-6564-4F45-8560-A14789827587}"/>
              </c:ext>
            </c:extLst>
          </c:dPt>
          <c:dPt>
            <c:idx val="3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5-6564-4F45-8560-A14789827587}"/>
              </c:ext>
            </c:extLst>
          </c:dPt>
          <c:dPt>
            <c:idx val="3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6-6564-4F45-8560-A14789827587}"/>
              </c:ext>
            </c:extLst>
          </c:dPt>
          <c:dPt>
            <c:idx val="3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7-6564-4F45-8560-A14789827587}"/>
              </c:ext>
            </c:extLst>
          </c:dPt>
          <c:dPt>
            <c:idx val="3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8-6564-4F45-8560-A14789827587}"/>
              </c:ext>
            </c:extLst>
          </c:dPt>
          <c:dPt>
            <c:idx val="3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9-6564-4F45-8560-A14789827587}"/>
              </c:ext>
            </c:extLst>
          </c:dPt>
          <c:dPt>
            <c:idx val="3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A-6564-4F45-8560-A14789827587}"/>
              </c:ext>
            </c:extLst>
          </c:dPt>
          <c:dPt>
            <c:idx val="3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B-6564-4F45-8560-A14789827587}"/>
              </c:ext>
            </c:extLst>
          </c:dPt>
          <c:dPt>
            <c:idx val="3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C-6564-4F45-8560-A14789827587}"/>
              </c:ext>
            </c:extLst>
          </c:dPt>
          <c:dPt>
            <c:idx val="3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D-6564-4F45-8560-A14789827587}"/>
              </c:ext>
            </c:extLst>
          </c:dPt>
          <c:dPt>
            <c:idx val="3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E-6564-4F45-8560-A14789827587}"/>
              </c:ext>
            </c:extLst>
          </c:dPt>
          <c:dPt>
            <c:idx val="3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F-6564-4F45-8560-A14789827587}"/>
              </c:ext>
            </c:extLst>
          </c:dPt>
          <c:dPt>
            <c:idx val="3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0-6564-4F45-8560-A14789827587}"/>
              </c:ext>
            </c:extLst>
          </c:dPt>
          <c:dPt>
            <c:idx val="3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1-6564-4F45-8560-A14789827587}"/>
              </c:ext>
            </c:extLst>
          </c:dPt>
          <c:dPt>
            <c:idx val="3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2-6564-4F45-8560-A14789827587}"/>
              </c:ext>
            </c:extLst>
          </c:dPt>
          <c:dPt>
            <c:idx val="3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3-6564-4F45-8560-A14789827587}"/>
              </c:ext>
            </c:extLst>
          </c:dPt>
          <c:dPt>
            <c:idx val="3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4-6564-4F45-8560-A14789827587}"/>
              </c:ext>
            </c:extLst>
          </c:dPt>
          <c:dPt>
            <c:idx val="3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5-6564-4F45-8560-A14789827587}"/>
              </c:ext>
            </c:extLst>
          </c:dPt>
          <c:dPt>
            <c:idx val="3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6-6564-4F45-8560-A14789827587}"/>
              </c:ext>
            </c:extLst>
          </c:dPt>
          <c:dPt>
            <c:idx val="3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7-6564-4F45-8560-A14789827587}"/>
              </c:ext>
            </c:extLst>
          </c:dPt>
          <c:dPt>
            <c:idx val="3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8-6564-4F45-8560-A14789827587}"/>
              </c:ext>
            </c:extLst>
          </c:dPt>
          <c:dPt>
            <c:idx val="3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9-6564-4F45-8560-A14789827587}"/>
              </c:ext>
            </c:extLst>
          </c:dPt>
          <c:dPt>
            <c:idx val="3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A-6564-4F45-8560-A14789827587}"/>
              </c:ext>
            </c:extLst>
          </c:dPt>
          <c:dPt>
            <c:idx val="3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B-6564-4F45-8560-A14789827587}"/>
              </c:ext>
            </c:extLst>
          </c:dPt>
          <c:dPt>
            <c:idx val="3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C-6564-4F45-8560-A14789827587}"/>
              </c:ext>
            </c:extLst>
          </c:dPt>
          <c:dPt>
            <c:idx val="3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D-6564-4F45-8560-A14789827587}"/>
              </c:ext>
            </c:extLst>
          </c:dPt>
          <c:dPt>
            <c:idx val="3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E-6564-4F45-8560-A14789827587}"/>
              </c:ext>
            </c:extLst>
          </c:dPt>
          <c:dPt>
            <c:idx val="3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F-6564-4F45-8560-A14789827587}"/>
              </c:ext>
            </c:extLst>
          </c:dPt>
          <c:dPt>
            <c:idx val="3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0-6564-4F45-8560-A14789827587}"/>
              </c:ext>
            </c:extLst>
          </c:dPt>
          <c:dPt>
            <c:idx val="3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1-6564-4F45-8560-A14789827587}"/>
              </c:ext>
            </c:extLst>
          </c:dPt>
          <c:dPt>
            <c:idx val="3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2-6564-4F45-8560-A14789827587}"/>
              </c:ext>
            </c:extLst>
          </c:dPt>
          <c:dPt>
            <c:idx val="3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3-6564-4F45-8560-A14789827587}"/>
              </c:ext>
            </c:extLst>
          </c:dPt>
          <c:dPt>
            <c:idx val="3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4-6564-4F45-8560-A14789827587}"/>
              </c:ext>
            </c:extLst>
          </c:dPt>
          <c:dPt>
            <c:idx val="3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5-6564-4F45-8560-A14789827587}"/>
              </c:ext>
            </c:extLst>
          </c:dPt>
          <c:dPt>
            <c:idx val="3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6-6564-4F45-8560-A14789827587}"/>
              </c:ext>
            </c:extLst>
          </c:dPt>
          <c:dPt>
            <c:idx val="3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7-6564-4F45-8560-A14789827587}"/>
              </c:ext>
            </c:extLst>
          </c:dPt>
          <c:dPt>
            <c:idx val="3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8-6564-4F45-8560-A14789827587}"/>
              </c:ext>
            </c:extLst>
          </c:dPt>
          <c:dPt>
            <c:idx val="3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9-6564-4F45-8560-A14789827587}"/>
              </c:ext>
            </c:extLst>
          </c:dPt>
          <c:dPt>
            <c:idx val="3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A-6564-4F45-8560-A14789827587}"/>
              </c:ext>
            </c:extLst>
          </c:dPt>
          <c:dPt>
            <c:idx val="3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B-6564-4F45-8560-A14789827587}"/>
              </c:ext>
            </c:extLst>
          </c:dPt>
          <c:dPt>
            <c:idx val="3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C-6564-4F45-8560-A14789827587}"/>
              </c:ext>
            </c:extLst>
          </c:dPt>
          <c:dPt>
            <c:idx val="3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D-6564-4F45-8560-A14789827587}"/>
              </c:ext>
            </c:extLst>
          </c:dPt>
          <c:dPt>
            <c:idx val="3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E-6564-4F45-8560-A14789827587}"/>
              </c:ext>
            </c:extLst>
          </c:dPt>
          <c:dPt>
            <c:idx val="3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F-6564-4F45-8560-A14789827587}"/>
              </c:ext>
            </c:extLst>
          </c:dPt>
          <c:dPt>
            <c:idx val="3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0-6564-4F45-8560-A14789827587}"/>
              </c:ext>
            </c:extLst>
          </c:dPt>
          <c:dPt>
            <c:idx val="3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1-6564-4F45-8560-A14789827587}"/>
              </c:ext>
            </c:extLst>
          </c:dPt>
          <c:dPt>
            <c:idx val="3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2-6564-4F45-8560-A14789827587}"/>
              </c:ext>
            </c:extLst>
          </c:dPt>
          <c:dPt>
            <c:idx val="3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3-6564-4F45-8560-A14789827587}"/>
              </c:ext>
            </c:extLst>
          </c:dPt>
          <c:dPt>
            <c:idx val="3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4-6564-4F45-8560-A14789827587}"/>
              </c:ext>
            </c:extLst>
          </c:dPt>
          <c:dPt>
            <c:idx val="3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5-6564-4F45-8560-A14789827587}"/>
              </c:ext>
            </c:extLst>
          </c:dPt>
          <c:dPt>
            <c:idx val="3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6-6564-4F45-8560-A14789827587}"/>
              </c:ext>
            </c:extLst>
          </c:dPt>
          <c:dPt>
            <c:idx val="3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7-6564-4F45-8560-A14789827587}"/>
              </c:ext>
            </c:extLst>
          </c:dPt>
          <c:dPt>
            <c:idx val="3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8-6564-4F45-8560-A14789827587}"/>
              </c:ext>
            </c:extLst>
          </c:dPt>
          <c:dPt>
            <c:idx val="3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9-6564-4F45-8560-A14789827587}"/>
              </c:ext>
            </c:extLst>
          </c:dPt>
          <c:dPt>
            <c:idx val="3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A-6564-4F45-8560-A14789827587}"/>
              </c:ext>
            </c:extLst>
          </c:dPt>
          <c:dPt>
            <c:idx val="3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B-6564-4F45-8560-A14789827587}"/>
              </c:ext>
            </c:extLst>
          </c:dPt>
          <c:dPt>
            <c:idx val="3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C-6564-4F45-8560-A14789827587}"/>
              </c:ext>
            </c:extLst>
          </c:dPt>
          <c:dPt>
            <c:idx val="3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D-6564-4F45-8560-A14789827587}"/>
              </c:ext>
            </c:extLst>
          </c:dPt>
          <c:dPt>
            <c:idx val="3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E-6564-4F45-8560-A14789827587}"/>
              </c:ext>
            </c:extLst>
          </c:dPt>
          <c:dPt>
            <c:idx val="3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F-6564-4F45-8560-A14789827587}"/>
              </c:ext>
            </c:extLst>
          </c:dPt>
          <c:dPt>
            <c:idx val="4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0-6564-4F45-8560-A14789827587}"/>
              </c:ext>
            </c:extLst>
          </c:dPt>
          <c:dPt>
            <c:idx val="4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1-6564-4F45-8560-A14789827587}"/>
              </c:ext>
            </c:extLst>
          </c:dPt>
          <c:dPt>
            <c:idx val="4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2-6564-4F45-8560-A14789827587}"/>
              </c:ext>
            </c:extLst>
          </c:dPt>
          <c:dPt>
            <c:idx val="4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3-6564-4F45-8560-A14789827587}"/>
              </c:ext>
            </c:extLst>
          </c:dPt>
          <c:dPt>
            <c:idx val="4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4-6564-4F45-8560-A14789827587}"/>
              </c:ext>
            </c:extLst>
          </c:dPt>
          <c:dPt>
            <c:idx val="4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5-6564-4F45-8560-A14789827587}"/>
              </c:ext>
            </c:extLst>
          </c:dPt>
          <c:dPt>
            <c:idx val="4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6-6564-4F45-8560-A14789827587}"/>
              </c:ext>
            </c:extLst>
          </c:dPt>
          <c:dPt>
            <c:idx val="4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7-6564-4F45-8560-A14789827587}"/>
              </c:ext>
            </c:extLst>
          </c:dPt>
          <c:dPt>
            <c:idx val="4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8-6564-4F45-8560-A14789827587}"/>
              </c:ext>
            </c:extLst>
          </c:dPt>
          <c:dPt>
            <c:idx val="4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9-6564-4F45-8560-A14789827587}"/>
              </c:ext>
            </c:extLst>
          </c:dPt>
          <c:dPt>
            <c:idx val="4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A-6564-4F45-8560-A14789827587}"/>
              </c:ext>
            </c:extLst>
          </c:dPt>
          <c:dPt>
            <c:idx val="4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B-6564-4F45-8560-A14789827587}"/>
              </c:ext>
            </c:extLst>
          </c:dPt>
          <c:dPt>
            <c:idx val="4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C-6564-4F45-8560-A14789827587}"/>
              </c:ext>
            </c:extLst>
          </c:dPt>
          <c:dPt>
            <c:idx val="4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D-6564-4F45-8560-A14789827587}"/>
              </c:ext>
            </c:extLst>
          </c:dPt>
          <c:dPt>
            <c:idx val="4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E-6564-4F45-8560-A14789827587}"/>
              </c:ext>
            </c:extLst>
          </c:dPt>
          <c:dPt>
            <c:idx val="4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F-6564-4F45-8560-A14789827587}"/>
              </c:ext>
            </c:extLst>
          </c:dPt>
          <c:dPt>
            <c:idx val="4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0-6564-4F45-8560-A14789827587}"/>
              </c:ext>
            </c:extLst>
          </c:dPt>
          <c:dPt>
            <c:idx val="4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1-6564-4F45-8560-A14789827587}"/>
              </c:ext>
            </c:extLst>
          </c:dPt>
          <c:dPt>
            <c:idx val="4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2-6564-4F45-8560-A14789827587}"/>
              </c:ext>
            </c:extLst>
          </c:dPt>
          <c:dPt>
            <c:idx val="4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3-6564-4F45-8560-A14789827587}"/>
              </c:ext>
            </c:extLst>
          </c:dPt>
          <c:dPt>
            <c:idx val="4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4-6564-4F45-8560-A14789827587}"/>
              </c:ext>
            </c:extLst>
          </c:dPt>
          <c:dPt>
            <c:idx val="4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5-6564-4F45-8560-A14789827587}"/>
              </c:ext>
            </c:extLst>
          </c:dPt>
          <c:dPt>
            <c:idx val="4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6-6564-4F45-8560-A14789827587}"/>
              </c:ext>
            </c:extLst>
          </c:dPt>
          <c:dPt>
            <c:idx val="4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7-6564-4F45-8560-A14789827587}"/>
              </c:ext>
            </c:extLst>
          </c:dPt>
          <c:dPt>
            <c:idx val="4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8-6564-4F45-8560-A14789827587}"/>
              </c:ext>
            </c:extLst>
          </c:dPt>
          <c:dPt>
            <c:idx val="4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9-6564-4F45-8560-A14789827587}"/>
              </c:ext>
            </c:extLst>
          </c:dPt>
          <c:dPt>
            <c:idx val="4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A-6564-4F45-8560-A14789827587}"/>
              </c:ext>
            </c:extLst>
          </c:dPt>
          <c:dPt>
            <c:idx val="4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B-6564-4F45-8560-A14789827587}"/>
              </c:ext>
            </c:extLst>
          </c:dPt>
          <c:dPt>
            <c:idx val="4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C-6564-4F45-8560-A14789827587}"/>
              </c:ext>
            </c:extLst>
          </c:dPt>
          <c:dPt>
            <c:idx val="4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D-6564-4F45-8560-A14789827587}"/>
              </c:ext>
            </c:extLst>
          </c:dPt>
          <c:dPt>
            <c:idx val="4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E-6564-4F45-8560-A14789827587}"/>
              </c:ext>
            </c:extLst>
          </c:dPt>
          <c:dPt>
            <c:idx val="4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F-6564-4F45-8560-A14789827587}"/>
              </c:ext>
            </c:extLst>
          </c:dPt>
          <c:dPt>
            <c:idx val="4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0-6564-4F45-8560-A14789827587}"/>
              </c:ext>
            </c:extLst>
          </c:dPt>
          <c:dPt>
            <c:idx val="4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1-6564-4F45-8560-A14789827587}"/>
              </c:ext>
            </c:extLst>
          </c:dPt>
          <c:dPt>
            <c:idx val="4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2-6564-4F45-8560-A14789827587}"/>
              </c:ext>
            </c:extLst>
          </c:dPt>
          <c:dPt>
            <c:idx val="4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3-6564-4F45-8560-A14789827587}"/>
              </c:ext>
            </c:extLst>
          </c:dPt>
          <c:dPt>
            <c:idx val="4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4-6564-4F45-8560-A14789827587}"/>
              </c:ext>
            </c:extLst>
          </c:dPt>
          <c:dPt>
            <c:idx val="4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5-6564-4F45-8560-A14789827587}"/>
              </c:ext>
            </c:extLst>
          </c:dPt>
          <c:dPt>
            <c:idx val="4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6-6564-4F45-8560-A14789827587}"/>
              </c:ext>
            </c:extLst>
          </c:dPt>
          <c:dPt>
            <c:idx val="4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7-6564-4F45-8560-A14789827587}"/>
              </c:ext>
            </c:extLst>
          </c:dPt>
          <c:dPt>
            <c:idx val="4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8-6564-4F45-8560-A14789827587}"/>
              </c:ext>
            </c:extLst>
          </c:dPt>
          <c:dPt>
            <c:idx val="4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9-6564-4F45-8560-A14789827587}"/>
              </c:ext>
            </c:extLst>
          </c:dPt>
          <c:dPt>
            <c:idx val="4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A-6564-4F45-8560-A14789827587}"/>
              </c:ext>
            </c:extLst>
          </c:dPt>
          <c:dPt>
            <c:idx val="4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B-6564-4F45-8560-A14789827587}"/>
              </c:ext>
            </c:extLst>
          </c:dPt>
          <c:dPt>
            <c:idx val="4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C-6564-4F45-8560-A14789827587}"/>
              </c:ext>
            </c:extLst>
          </c:dPt>
          <c:dPt>
            <c:idx val="4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D-6564-4F45-8560-A14789827587}"/>
              </c:ext>
            </c:extLst>
          </c:dPt>
          <c:dPt>
            <c:idx val="4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E-6564-4F45-8560-A14789827587}"/>
              </c:ext>
            </c:extLst>
          </c:dPt>
          <c:dPt>
            <c:idx val="4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F-6564-4F45-8560-A14789827587}"/>
              </c:ext>
            </c:extLst>
          </c:dPt>
          <c:dPt>
            <c:idx val="4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0-6564-4F45-8560-A14789827587}"/>
              </c:ext>
            </c:extLst>
          </c:dPt>
          <c:dPt>
            <c:idx val="4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1-6564-4F45-8560-A14789827587}"/>
              </c:ext>
            </c:extLst>
          </c:dPt>
          <c:dPt>
            <c:idx val="4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2-6564-4F45-8560-A14789827587}"/>
              </c:ext>
            </c:extLst>
          </c:dPt>
          <c:dPt>
            <c:idx val="4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3-6564-4F45-8560-A14789827587}"/>
              </c:ext>
            </c:extLst>
          </c:dPt>
          <c:dPt>
            <c:idx val="4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4-6564-4F45-8560-A14789827587}"/>
              </c:ext>
            </c:extLst>
          </c:dPt>
          <c:dPt>
            <c:idx val="4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5-6564-4F45-8560-A14789827587}"/>
              </c:ext>
            </c:extLst>
          </c:dPt>
          <c:dPt>
            <c:idx val="4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6-6564-4F45-8560-A14789827587}"/>
              </c:ext>
            </c:extLst>
          </c:dPt>
          <c:dPt>
            <c:idx val="4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7-6564-4F45-8560-A14789827587}"/>
              </c:ext>
            </c:extLst>
          </c:dPt>
          <c:dPt>
            <c:idx val="4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8-6564-4F45-8560-A14789827587}"/>
              </c:ext>
            </c:extLst>
          </c:dPt>
          <c:dPt>
            <c:idx val="4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9-6564-4F45-8560-A14789827587}"/>
              </c:ext>
            </c:extLst>
          </c:dPt>
          <c:dPt>
            <c:idx val="4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A-6564-4F45-8560-A14789827587}"/>
              </c:ext>
            </c:extLst>
          </c:dPt>
          <c:dPt>
            <c:idx val="4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B-6564-4F45-8560-A14789827587}"/>
              </c:ext>
            </c:extLst>
          </c:dPt>
          <c:dPt>
            <c:idx val="4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C-6564-4F45-8560-A14789827587}"/>
              </c:ext>
            </c:extLst>
          </c:dPt>
          <c:dPt>
            <c:idx val="4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D-6564-4F45-8560-A14789827587}"/>
              </c:ext>
            </c:extLst>
          </c:dPt>
          <c:dPt>
            <c:idx val="4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E-6564-4F45-8560-A14789827587}"/>
              </c:ext>
            </c:extLst>
          </c:dPt>
          <c:dPt>
            <c:idx val="4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F-6564-4F45-8560-A14789827587}"/>
              </c:ext>
            </c:extLst>
          </c:dPt>
          <c:dPt>
            <c:idx val="4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0-6564-4F45-8560-A14789827587}"/>
              </c:ext>
            </c:extLst>
          </c:dPt>
          <c:dPt>
            <c:idx val="4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1-6564-4F45-8560-A14789827587}"/>
              </c:ext>
            </c:extLst>
          </c:dPt>
          <c:dPt>
            <c:idx val="4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2-6564-4F45-8560-A14789827587}"/>
              </c:ext>
            </c:extLst>
          </c:dPt>
          <c:dPt>
            <c:idx val="4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3-6564-4F45-8560-A14789827587}"/>
              </c:ext>
            </c:extLst>
          </c:dPt>
          <c:dPt>
            <c:idx val="4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4-6564-4F45-8560-A14789827587}"/>
              </c:ext>
            </c:extLst>
          </c:dPt>
          <c:dPt>
            <c:idx val="4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5-6564-4F45-8560-A14789827587}"/>
              </c:ext>
            </c:extLst>
          </c:dPt>
          <c:dPt>
            <c:idx val="4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6-6564-4F45-8560-A14789827587}"/>
              </c:ext>
            </c:extLst>
          </c:dPt>
          <c:dPt>
            <c:idx val="4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7-6564-4F45-8560-A14789827587}"/>
              </c:ext>
            </c:extLst>
          </c:dPt>
          <c:dPt>
            <c:idx val="4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8-6564-4F45-8560-A14789827587}"/>
              </c:ext>
            </c:extLst>
          </c:dPt>
          <c:dPt>
            <c:idx val="4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9-6564-4F45-8560-A14789827587}"/>
              </c:ext>
            </c:extLst>
          </c:dPt>
          <c:dPt>
            <c:idx val="4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A-6564-4F45-8560-A14789827587}"/>
              </c:ext>
            </c:extLst>
          </c:dPt>
          <c:dPt>
            <c:idx val="4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B-6564-4F45-8560-A14789827587}"/>
              </c:ext>
            </c:extLst>
          </c:dPt>
          <c:dPt>
            <c:idx val="4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C-6564-4F45-8560-A14789827587}"/>
              </c:ext>
            </c:extLst>
          </c:dPt>
          <c:dPt>
            <c:idx val="4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D-6564-4F45-8560-A14789827587}"/>
              </c:ext>
            </c:extLst>
          </c:dPt>
          <c:dPt>
            <c:idx val="4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E-6564-4F45-8560-A14789827587}"/>
              </c:ext>
            </c:extLst>
          </c:dPt>
          <c:dPt>
            <c:idx val="4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F-6564-4F45-8560-A14789827587}"/>
              </c:ext>
            </c:extLst>
          </c:dPt>
          <c:dPt>
            <c:idx val="4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0-6564-4F45-8560-A14789827587}"/>
              </c:ext>
            </c:extLst>
          </c:dPt>
          <c:dPt>
            <c:idx val="4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1-6564-4F45-8560-A14789827587}"/>
              </c:ext>
            </c:extLst>
          </c:dPt>
          <c:dPt>
            <c:idx val="4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2-6564-4F45-8560-A14789827587}"/>
              </c:ext>
            </c:extLst>
          </c:dPt>
          <c:dPt>
            <c:idx val="4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3-6564-4F45-8560-A14789827587}"/>
              </c:ext>
            </c:extLst>
          </c:dPt>
          <c:dPt>
            <c:idx val="4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4-6564-4F45-8560-A14789827587}"/>
              </c:ext>
            </c:extLst>
          </c:dPt>
          <c:dPt>
            <c:idx val="4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5-6564-4F45-8560-A14789827587}"/>
              </c:ext>
            </c:extLst>
          </c:dPt>
          <c:dPt>
            <c:idx val="4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6-6564-4F45-8560-A14789827587}"/>
              </c:ext>
            </c:extLst>
          </c:dPt>
          <c:dPt>
            <c:idx val="4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7-6564-4F45-8560-A14789827587}"/>
              </c:ext>
            </c:extLst>
          </c:dPt>
          <c:dPt>
            <c:idx val="4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8-6564-4F45-8560-A14789827587}"/>
              </c:ext>
            </c:extLst>
          </c:dPt>
          <c:dPt>
            <c:idx val="4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9-6564-4F45-8560-A14789827587}"/>
              </c:ext>
            </c:extLst>
          </c:dPt>
          <c:dPt>
            <c:idx val="4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A-6564-4F45-8560-A14789827587}"/>
              </c:ext>
            </c:extLst>
          </c:dPt>
          <c:dPt>
            <c:idx val="4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B-6564-4F45-8560-A14789827587}"/>
              </c:ext>
            </c:extLst>
          </c:dPt>
          <c:dPt>
            <c:idx val="4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C-6564-4F45-8560-A14789827587}"/>
              </c:ext>
            </c:extLst>
          </c:dPt>
          <c:dPt>
            <c:idx val="4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D-6564-4F45-8560-A14789827587}"/>
              </c:ext>
            </c:extLst>
          </c:dPt>
          <c:dPt>
            <c:idx val="4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E-6564-4F45-8560-A14789827587}"/>
              </c:ext>
            </c:extLst>
          </c:dPt>
          <c:dPt>
            <c:idx val="4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F-6564-4F45-8560-A14789827587}"/>
              </c:ext>
            </c:extLst>
          </c:dPt>
          <c:dPt>
            <c:idx val="4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0-6564-4F45-8560-A14789827587}"/>
              </c:ext>
            </c:extLst>
          </c:dPt>
          <c:dPt>
            <c:idx val="4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1-6564-4F45-8560-A14789827587}"/>
              </c:ext>
            </c:extLst>
          </c:dPt>
          <c:dPt>
            <c:idx val="4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2-6564-4F45-8560-A14789827587}"/>
              </c:ext>
            </c:extLst>
          </c:dPt>
          <c:dPt>
            <c:idx val="4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3-6564-4F45-8560-A14789827587}"/>
              </c:ext>
            </c:extLst>
          </c:dPt>
          <c:dPt>
            <c:idx val="5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4-6564-4F45-8560-A14789827587}"/>
              </c:ext>
            </c:extLst>
          </c:dPt>
          <c:dPt>
            <c:idx val="5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5-6564-4F45-8560-A14789827587}"/>
              </c:ext>
            </c:extLst>
          </c:dPt>
          <c:dPt>
            <c:idx val="5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6-6564-4F45-8560-A14789827587}"/>
              </c:ext>
            </c:extLst>
          </c:dPt>
          <c:dPt>
            <c:idx val="5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7-6564-4F45-8560-A14789827587}"/>
              </c:ext>
            </c:extLst>
          </c:dPt>
          <c:dPt>
            <c:idx val="5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8-6564-4F45-8560-A14789827587}"/>
              </c:ext>
            </c:extLst>
          </c:dPt>
          <c:dPt>
            <c:idx val="5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9-6564-4F45-8560-A14789827587}"/>
              </c:ext>
            </c:extLst>
          </c:dPt>
          <c:dPt>
            <c:idx val="5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A-6564-4F45-8560-A14789827587}"/>
              </c:ext>
            </c:extLst>
          </c:dPt>
          <c:dPt>
            <c:idx val="5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B-6564-4F45-8560-A14789827587}"/>
              </c:ext>
            </c:extLst>
          </c:dPt>
          <c:dPt>
            <c:idx val="5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C-6564-4F45-8560-A14789827587}"/>
              </c:ext>
            </c:extLst>
          </c:dPt>
          <c:dPt>
            <c:idx val="5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D-6564-4F45-8560-A14789827587}"/>
              </c:ext>
            </c:extLst>
          </c:dPt>
          <c:dPt>
            <c:idx val="5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E-6564-4F45-8560-A14789827587}"/>
              </c:ext>
            </c:extLst>
          </c:dPt>
          <c:dPt>
            <c:idx val="5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F-6564-4F45-8560-A14789827587}"/>
              </c:ext>
            </c:extLst>
          </c:dPt>
          <c:dPt>
            <c:idx val="5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0-6564-4F45-8560-A14789827587}"/>
              </c:ext>
            </c:extLst>
          </c:dPt>
          <c:dPt>
            <c:idx val="5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1-6564-4F45-8560-A14789827587}"/>
              </c:ext>
            </c:extLst>
          </c:dPt>
          <c:dPt>
            <c:idx val="5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2-6564-4F45-8560-A14789827587}"/>
              </c:ext>
            </c:extLst>
          </c:dPt>
          <c:dPt>
            <c:idx val="5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3-6564-4F45-8560-A14789827587}"/>
              </c:ext>
            </c:extLst>
          </c:dPt>
          <c:dPt>
            <c:idx val="5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4-6564-4F45-8560-A14789827587}"/>
              </c:ext>
            </c:extLst>
          </c:dPt>
          <c:dPt>
            <c:idx val="5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5-6564-4F45-8560-A14789827587}"/>
              </c:ext>
            </c:extLst>
          </c:dPt>
          <c:dPt>
            <c:idx val="5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6-6564-4F45-8560-A14789827587}"/>
              </c:ext>
            </c:extLst>
          </c:dPt>
          <c:dPt>
            <c:idx val="5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7-6564-4F45-8560-A14789827587}"/>
              </c:ext>
            </c:extLst>
          </c:dPt>
          <c:dPt>
            <c:idx val="5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8-6564-4F45-8560-A14789827587}"/>
              </c:ext>
            </c:extLst>
          </c:dPt>
          <c:dPt>
            <c:idx val="5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9-6564-4F45-8560-A14789827587}"/>
              </c:ext>
            </c:extLst>
          </c:dPt>
          <c:dPt>
            <c:idx val="5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A-6564-4F45-8560-A14789827587}"/>
              </c:ext>
            </c:extLst>
          </c:dPt>
          <c:dPt>
            <c:idx val="5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B-6564-4F45-8560-A14789827587}"/>
              </c:ext>
            </c:extLst>
          </c:dPt>
          <c:dPt>
            <c:idx val="5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C-6564-4F45-8560-A14789827587}"/>
              </c:ext>
            </c:extLst>
          </c:dPt>
          <c:dPt>
            <c:idx val="5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D-6564-4F45-8560-A14789827587}"/>
              </c:ext>
            </c:extLst>
          </c:dPt>
          <c:dPt>
            <c:idx val="5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E-6564-4F45-8560-A14789827587}"/>
              </c:ext>
            </c:extLst>
          </c:dPt>
          <c:dPt>
            <c:idx val="5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F-6564-4F45-8560-A14789827587}"/>
              </c:ext>
            </c:extLst>
          </c:dPt>
          <c:dPt>
            <c:idx val="5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0-6564-4F45-8560-A14789827587}"/>
              </c:ext>
            </c:extLst>
          </c:dPt>
          <c:dPt>
            <c:idx val="5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1-6564-4F45-8560-A14789827587}"/>
              </c:ext>
            </c:extLst>
          </c:dPt>
          <c:dPt>
            <c:idx val="5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2-6564-4F45-8560-A14789827587}"/>
              </c:ext>
            </c:extLst>
          </c:dPt>
          <c:dPt>
            <c:idx val="5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3-6564-4F45-8560-A14789827587}"/>
              </c:ext>
            </c:extLst>
          </c:dPt>
          <c:dPt>
            <c:idx val="5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4-6564-4F45-8560-A14789827587}"/>
              </c:ext>
            </c:extLst>
          </c:dPt>
          <c:dPt>
            <c:idx val="5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5-6564-4F45-8560-A14789827587}"/>
              </c:ext>
            </c:extLst>
          </c:dPt>
          <c:dPt>
            <c:idx val="5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6-6564-4F45-8560-A14789827587}"/>
              </c:ext>
            </c:extLst>
          </c:dPt>
          <c:dPt>
            <c:idx val="5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7-6564-4F45-8560-A14789827587}"/>
              </c:ext>
            </c:extLst>
          </c:dPt>
          <c:dPt>
            <c:idx val="5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8-6564-4F45-8560-A14789827587}"/>
              </c:ext>
            </c:extLst>
          </c:dPt>
          <c:dPt>
            <c:idx val="5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9-6564-4F45-8560-A14789827587}"/>
              </c:ext>
            </c:extLst>
          </c:dPt>
          <c:dPt>
            <c:idx val="5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A-6564-4F45-8560-A14789827587}"/>
              </c:ext>
            </c:extLst>
          </c:dPt>
          <c:dPt>
            <c:idx val="5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B-6564-4F45-8560-A14789827587}"/>
              </c:ext>
            </c:extLst>
          </c:dPt>
          <c:dPt>
            <c:idx val="5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C-6564-4F45-8560-A14789827587}"/>
              </c:ext>
            </c:extLst>
          </c:dPt>
          <c:dPt>
            <c:idx val="5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D-6564-4F45-8560-A14789827587}"/>
              </c:ext>
            </c:extLst>
          </c:dPt>
          <c:dPt>
            <c:idx val="5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E-6564-4F45-8560-A14789827587}"/>
              </c:ext>
            </c:extLst>
          </c:dPt>
          <c:dPt>
            <c:idx val="5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F-6564-4F45-8560-A14789827587}"/>
              </c:ext>
            </c:extLst>
          </c:dPt>
          <c:dPt>
            <c:idx val="5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0-6564-4F45-8560-A14789827587}"/>
              </c:ext>
            </c:extLst>
          </c:dPt>
          <c:dPt>
            <c:idx val="5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1-6564-4F45-8560-A14789827587}"/>
              </c:ext>
            </c:extLst>
          </c:dPt>
          <c:dPt>
            <c:idx val="5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2-6564-4F45-8560-A14789827587}"/>
              </c:ext>
            </c:extLst>
          </c:dPt>
          <c:dPt>
            <c:idx val="5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3-6564-4F45-8560-A14789827587}"/>
              </c:ext>
            </c:extLst>
          </c:dPt>
          <c:dPt>
            <c:idx val="5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4-6564-4F45-8560-A14789827587}"/>
              </c:ext>
            </c:extLst>
          </c:dPt>
          <c:dPt>
            <c:idx val="5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5-6564-4F45-8560-A14789827587}"/>
              </c:ext>
            </c:extLst>
          </c:dPt>
          <c:dPt>
            <c:idx val="5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6-6564-4F45-8560-A14789827587}"/>
              </c:ext>
            </c:extLst>
          </c:dPt>
          <c:dPt>
            <c:idx val="5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7-6564-4F45-8560-A14789827587}"/>
              </c:ext>
            </c:extLst>
          </c:dPt>
          <c:dPt>
            <c:idx val="5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8-6564-4F45-8560-A14789827587}"/>
              </c:ext>
            </c:extLst>
          </c:dPt>
          <c:dPt>
            <c:idx val="5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9-6564-4F45-8560-A14789827587}"/>
              </c:ext>
            </c:extLst>
          </c:dPt>
          <c:dPt>
            <c:idx val="5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A-6564-4F45-8560-A14789827587}"/>
              </c:ext>
            </c:extLst>
          </c:dPt>
          <c:dPt>
            <c:idx val="5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B-6564-4F45-8560-A14789827587}"/>
              </c:ext>
            </c:extLst>
          </c:dPt>
          <c:dPt>
            <c:idx val="5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C-6564-4F45-8560-A14789827587}"/>
              </c:ext>
            </c:extLst>
          </c:dPt>
          <c:dPt>
            <c:idx val="5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D-6564-4F45-8560-A14789827587}"/>
              </c:ext>
            </c:extLst>
          </c:dPt>
          <c:dPt>
            <c:idx val="5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E-6564-4F45-8560-A14789827587}"/>
              </c:ext>
            </c:extLst>
          </c:dPt>
          <c:dPt>
            <c:idx val="5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F-6564-4F45-8560-A14789827587}"/>
              </c:ext>
            </c:extLst>
          </c:dPt>
          <c:dPt>
            <c:idx val="5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0-6564-4F45-8560-A14789827587}"/>
              </c:ext>
            </c:extLst>
          </c:dPt>
          <c:dPt>
            <c:idx val="5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1-6564-4F45-8560-A14789827587}"/>
              </c:ext>
            </c:extLst>
          </c:dPt>
          <c:dPt>
            <c:idx val="5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2-6564-4F45-8560-A14789827587}"/>
              </c:ext>
            </c:extLst>
          </c:dPt>
          <c:dPt>
            <c:idx val="5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3-6564-4F45-8560-A14789827587}"/>
              </c:ext>
            </c:extLst>
          </c:dPt>
          <c:dPt>
            <c:idx val="5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4-6564-4F45-8560-A14789827587}"/>
              </c:ext>
            </c:extLst>
          </c:dPt>
          <c:dPt>
            <c:idx val="5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5-6564-4F45-8560-A14789827587}"/>
              </c:ext>
            </c:extLst>
          </c:dPt>
          <c:dPt>
            <c:idx val="5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6-6564-4F45-8560-A14789827587}"/>
              </c:ext>
            </c:extLst>
          </c:dPt>
          <c:dPt>
            <c:idx val="5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7-6564-4F45-8560-A14789827587}"/>
              </c:ext>
            </c:extLst>
          </c:dPt>
          <c:dPt>
            <c:idx val="5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8-6564-4F45-8560-A14789827587}"/>
              </c:ext>
            </c:extLst>
          </c:dPt>
          <c:dPt>
            <c:idx val="5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9-6564-4F45-8560-A14789827587}"/>
              </c:ext>
            </c:extLst>
          </c:dPt>
          <c:dPt>
            <c:idx val="5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A-6564-4F45-8560-A14789827587}"/>
              </c:ext>
            </c:extLst>
          </c:dPt>
          <c:dPt>
            <c:idx val="5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B-6564-4F45-8560-A14789827587}"/>
              </c:ext>
            </c:extLst>
          </c:dPt>
          <c:dPt>
            <c:idx val="5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C-6564-4F45-8560-A14789827587}"/>
              </c:ext>
            </c:extLst>
          </c:dPt>
          <c:dPt>
            <c:idx val="5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D-6564-4F45-8560-A14789827587}"/>
              </c:ext>
            </c:extLst>
          </c:dPt>
          <c:dPt>
            <c:idx val="5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E-6564-4F45-8560-A14789827587}"/>
              </c:ext>
            </c:extLst>
          </c:dPt>
          <c:dPt>
            <c:idx val="5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F-6564-4F45-8560-A14789827587}"/>
              </c:ext>
            </c:extLst>
          </c:dPt>
          <c:dPt>
            <c:idx val="5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0-6564-4F45-8560-A14789827587}"/>
              </c:ext>
            </c:extLst>
          </c:dPt>
          <c:dPt>
            <c:idx val="5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1-6564-4F45-8560-A14789827587}"/>
              </c:ext>
            </c:extLst>
          </c:dPt>
          <c:dPt>
            <c:idx val="5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2-6564-4F45-8560-A14789827587}"/>
              </c:ext>
            </c:extLst>
          </c:dPt>
          <c:dPt>
            <c:idx val="5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3-6564-4F45-8560-A14789827587}"/>
              </c:ext>
            </c:extLst>
          </c:dPt>
          <c:dPt>
            <c:idx val="5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4-6564-4F45-8560-A14789827587}"/>
              </c:ext>
            </c:extLst>
          </c:dPt>
          <c:dPt>
            <c:idx val="5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5-6564-4F45-8560-A14789827587}"/>
              </c:ext>
            </c:extLst>
          </c:dPt>
          <c:dPt>
            <c:idx val="5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6-6564-4F45-8560-A14789827587}"/>
              </c:ext>
            </c:extLst>
          </c:dPt>
          <c:dPt>
            <c:idx val="5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7-6564-4F45-8560-A14789827587}"/>
              </c:ext>
            </c:extLst>
          </c:dPt>
          <c:dPt>
            <c:idx val="5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8-6564-4F45-8560-A14789827587}"/>
              </c:ext>
            </c:extLst>
          </c:dPt>
          <c:dPt>
            <c:idx val="5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9-6564-4F45-8560-A14789827587}"/>
              </c:ext>
            </c:extLst>
          </c:dPt>
          <c:dPt>
            <c:idx val="5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A-6564-4F45-8560-A14789827587}"/>
              </c:ext>
            </c:extLst>
          </c:dPt>
          <c:dPt>
            <c:idx val="5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B-6564-4F45-8560-A14789827587}"/>
              </c:ext>
            </c:extLst>
          </c:dPt>
          <c:dPt>
            <c:idx val="5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C-6564-4F45-8560-A14789827587}"/>
              </c:ext>
            </c:extLst>
          </c:dPt>
          <c:dPt>
            <c:idx val="5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D-6564-4F45-8560-A14789827587}"/>
              </c:ext>
            </c:extLst>
          </c:dPt>
          <c:dPt>
            <c:idx val="5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E-6564-4F45-8560-A14789827587}"/>
              </c:ext>
            </c:extLst>
          </c:dPt>
          <c:dPt>
            <c:idx val="5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F-6564-4F45-8560-A14789827587}"/>
              </c:ext>
            </c:extLst>
          </c:dPt>
          <c:dPt>
            <c:idx val="5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0-6564-4F45-8560-A14789827587}"/>
              </c:ext>
            </c:extLst>
          </c:dPt>
          <c:dPt>
            <c:idx val="5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1-6564-4F45-8560-A14789827587}"/>
              </c:ext>
            </c:extLst>
          </c:dPt>
          <c:dPt>
            <c:idx val="5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2-6564-4F45-8560-A14789827587}"/>
              </c:ext>
            </c:extLst>
          </c:dPt>
          <c:dPt>
            <c:idx val="5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3-6564-4F45-8560-A14789827587}"/>
              </c:ext>
            </c:extLst>
          </c:dPt>
          <c:dPt>
            <c:idx val="5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4-6564-4F45-8560-A14789827587}"/>
              </c:ext>
            </c:extLst>
          </c:dPt>
          <c:dPt>
            <c:idx val="5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5-6564-4F45-8560-A14789827587}"/>
              </c:ext>
            </c:extLst>
          </c:dPt>
          <c:dPt>
            <c:idx val="5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6-6564-4F45-8560-A14789827587}"/>
              </c:ext>
            </c:extLst>
          </c:dPt>
          <c:dPt>
            <c:idx val="5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7-6564-4F45-8560-A14789827587}"/>
              </c:ext>
            </c:extLst>
          </c:dPt>
          <c:dPt>
            <c:idx val="6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8-6564-4F45-8560-A14789827587}"/>
              </c:ext>
            </c:extLst>
          </c:dPt>
          <c:dPt>
            <c:idx val="6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9-6564-4F45-8560-A14789827587}"/>
              </c:ext>
            </c:extLst>
          </c:dPt>
          <c:dPt>
            <c:idx val="6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A-6564-4F45-8560-A14789827587}"/>
              </c:ext>
            </c:extLst>
          </c:dPt>
          <c:dPt>
            <c:idx val="6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B-6564-4F45-8560-A14789827587}"/>
              </c:ext>
            </c:extLst>
          </c:dPt>
          <c:dPt>
            <c:idx val="6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C-6564-4F45-8560-A14789827587}"/>
              </c:ext>
            </c:extLst>
          </c:dPt>
          <c:dPt>
            <c:idx val="6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D-6564-4F45-8560-A14789827587}"/>
              </c:ext>
            </c:extLst>
          </c:dPt>
          <c:dPt>
            <c:idx val="6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E-6564-4F45-8560-A14789827587}"/>
              </c:ext>
            </c:extLst>
          </c:dPt>
          <c:dPt>
            <c:idx val="6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F-6564-4F45-8560-A14789827587}"/>
              </c:ext>
            </c:extLst>
          </c:dPt>
          <c:dPt>
            <c:idx val="6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0-6564-4F45-8560-A14789827587}"/>
              </c:ext>
            </c:extLst>
          </c:dPt>
          <c:dPt>
            <c:idx val="6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1-6564-4F45-8560-A14789827587}"/>
              </c:ext>
            </c:extLst>
          </c:dPt>
          <c:dPt>
            <c:idx val="6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2-6564-4F45-8560-A14789827587}"/>
              </c:ext>
            </c:extLst>
          </c:dPt>
          <c:dPt>
            <c:idx val="6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3-6564-4F45-8560-A14789827587}"/>
              </c:ext>
            </c:extLst>
          </c:dPt>
          <c:dPt>
            <c:idx val="6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4-6564-4F45-8560-A14789827587}"/>
              </c:ext>
            </c:extLst>
          </c:dPt>
          <c:dPt>
            <c:idx val="6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5-6564-4F45-8560-A14789827587}"/>
              </c:ext>
            </c:extLst>
          </c:dPt>
          <c:dPt>
            <c:idx val="6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6-6564-4F45-8560-A14789827587}"/>
              </c:ext>
            </c:extLst>
          </c:dPt>
          <c:dPt>
            <c:idx val="6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7-6564-4F45-8560-A14789827587}"/>
              </c:ext>
            </c:extLst>
          </c:dPt>
          <c:dPt>
            <c:idx val="6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8-6564-4F45-8560-A14789827587}"/>
              </c:ext>
            </c:extLst>
          </c:dPt>
          <c:dPt>
            <c:idx val="6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9-6564-4F45-8560-A14789827587}"/>
              </c:ext>
            </c:extLst>
          </c:dPt>
          <c:dPt>
            <c:idx val="6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A-6564-4F45-8560-A14789827587}"/>
              </c:ext>
            </c:extLst>
          </c:dPt>
          <c:dPt>
            <c:idx val="6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B-6564-4F45-8560-A14789827587}"/>
              </c:ext>
            </c:extLst>
          </c:dPt>
          <c:dPt>
            <c:idx val="6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C-6564-4F45-8560-A14789827587}"/>
              </c:ext>
            </c:extLst>
          </c:dPt>
          <c:dPt>
            <c:idx val="6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D-6564-4F45-8560-A14789827587}"/>
              </c:ext>
            </c:extLst>
          </c:dPt>
          <c:dPt>
            <c:idx val="6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E-6564-4F45-8560-A14789827587}"/>
              </c:ext>
            </c:extLst>
          </c:dPt>
          <c:dPt>
            <c:idx val="6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F-6564-4F45-8560-A14789827587}"/>
              </c:ext>
            </c:extLst>
          </c:dPt>
          <c:dPt>
            <c:idx val="6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0-6564-4F45-8560-A14789827587}"/>
              </c:ext>
            </c:extLst>
          </c:dPt>
          <c:dPt>
            <c:idx val="6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1-6564-4F45-8560-A14789827587}"/>
              </c:ext>
            </c:extLst>
          </c:dPt>
          <c:dPt>
            <c:idx val="6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2-6564-4F45-8560-A14789827587}"/>
              </c:ext>
            </c:extLst>
          </c:dPt>
          <c:dPt>
            <c:idx val="6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3-6564-4F45-8560-A14789827587}"/>
              </c:ext>
            </c:extLst>
          </c:dPt>
          <c:dPt>
            <c:idx val="6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4-6564-4F45-8560-A14789827587}"/>
              </c:ext>
            </c:extLst>
          </c:dPt>
          <c:dPt>
            <c:idx val="6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5-6564-4F45-8560-A14789827587}"/>
              </c:ext>
            </c:extLst>
          </c:dPt>
          <c:dPt>
            <c:idx val="6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6-6564-4F45-8560-A14789827587}"/>
              </c:ext>
            </c:extLst>
          </c:dPt>
          <c:dPt>
            <c:idx val="6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7-6564-4F45-8560-A14789827587}"/>
              </c:ext>
            </c:extLst>
          </c:dPt>
          <c:dPt>
            <c:idx val="6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8-6564-4F45-8560-A14789827587}"/>
              </c:ext>
            </c:extLst>
          </c:dPt>
          <c:dPt>
            <c:idx val="6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9-6564-4F45-8560-A14789827587}"/>
              </c:ext>
            </c:extLst>
          </c:dPt>
          <c:dPt>
            <c:idx val="6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A-6564-4F45-8560-A14789827587}"/>
              </c:ext>
            </c:extLst>
          </c:dPt>
          <c:dPt>
            <c:idx val="6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B-6564-4F45-8560-A14789827587}"/>
              </c:ext>
            </c:extLst>
          </c:dPt>
          <c:dPt>
            <c:idx val="6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C-6564-4F45-8560-A14789827587}"/>
              </c:ext>
            </c:extLst>
          </c:dPt>
          <c:dPt>
            <c:idx val="6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D-6564-4F45-8560-A14789827587}"/>
              </c:ext>
            </c:extLst>
          </c:dPt>
          <c:dPt>
            <c:idx val="6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E-6564-4F45-8560-A14789827587}"/>
              </c:ext>
            </c:extLst>
          </c:dPt>
          <c:dPt>
            <c:idx val="6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F-6564-4F45-8560-A14789827587}"/>
              </c:ext>
            </c:extLst>
          </c:dPt>
          <c:dPt>
            <c:idx val="6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0-6564-4F45-8560-A14789827587}"/>
              </c:ext>
            </c:extLst>
          </c:dPt>
          <c:dPt>
            <c:idx val="6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1-6564-4F45-8560-A14789827587}"/>
              </c:ext>
            </c:extLst>
          </c:dPt>
          <c:dPt>
            <c:idx val="6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2-6564-4F45-8560-A14789827587}"/>
              </c:ext>
            </c:extLst>
          </c:dPt>
          <c:dPt>
            <c:idx val="6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3-6564-4F45-8560-A14789827587}"/>
              </c:ext>
            </c:extLst>
          </c:dPt>
          <c:dPt>
            <c:idx val="6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4-6564-4F45-8560-A14789827587}"/>
              </c:ext>
            </c:extLst>
          </c:dPt>
          <c:dPt>
            <c:idx val="6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5-6564-4F45-8560-A14789827587}"/>
              </c:ext>
            </c:extLst>
          </c:dPt>
          <c:dPt>
            <c:idx val="6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6-6564-4F45-8560-A14789827587}"/>
              </c:ext>
            </c:extLst>
          </c:dPt>
          <c:dPt>
            <c:idx val="6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7-6564-4F45-8560-A14789827587}"/>
              </c:ext>
            </c:extLst>
          </c:dPt>
          <c:dPt>
            <c:idx val="6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8-6564-4F45-8560-A14789827587}"/>
              </c:ext>
            </c:extLst>
          </c:dPt>
          <c:dPt>
            <c:idx val="6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9-6564-4F45-8560-A14789827587}"/>
              </c:ext>
            </c:extLst>
          </c:dPt>
          <c:dPt>
            <c:idx val="6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A-6564-4F45-8560-A14789827587}"/>
              </c:ext>
            </c:extLst>
          </c:dPt>
          <c:dPt>
            <c:idx val="6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B-6564-4F45-8560-A14789827587}"/>
              </c:ext>
            </c:extLst>
          </c:dPt>
          <c:dPt>
            <c:idx val="6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C-6564-4F45-8560-A14789827587}"/>
              </c:ext>
            </c:extLst>
          </c:dPt>
          <c:dPt>
            <c:idx val="6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D-6564-4F45-8560-A14789827587}"/>
              </c:ext>
            </c:extLst>
          </c:dPt>
          <c:dPt>
            <c:idx val="6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E-6564-4F45-8560-A14789827587}"/>
              </c:ext>
            </c:extLst>
          </c:dPt>
          <c:dPt>
            <c:idx val="6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F-6564-4F45-8560-A14789827587}"/>
              </c:ext>
            </c:extLst>
          </c:dPt>
          <c:dPt>
            <c:idx val="6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0-6564-4F45-8560-A14789827587}"/>
              </c:ext>
            </c:extLst>
          </c:dPt>
          <c:dPt>
            <c:idx val="6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1-6564-4F45-8560-A14789827587}"/>
              </c:ext>
            </c:extLst>
          </c:dPt>
          <c:dPt>
            <c:idx val="6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2-6564-4F45-8560-A14789827587}"/>
              </c:ext>
            </c:extLst>
          </c:dPt>
          <c:dPt>
            <c:idx val="6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3-6564-4F45-8560-A14789827587}"/>
              </c:ext>
            </c:extLst>
          </c:dPt>
          <c:dPt>
            <c:idx val="6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4-6564-4F45-8560-A14789827587}"/>
              </c:ext>
            </c:extLst>
          </c:dPt>
          <c:dPt>
            <c:idx val="6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5-6564-4F45-8560-A14789827587}"/>
              </c:ext>
            </c:extLst>
          </c:dPt>
          <c:dPt>
            <c:idx val="6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6-6564-4F45-8560-A14789827587}"/>
              </c:ext>
            </c:extLst>
          </c:dPt>
          <c:dPt>
            <c:idx val="6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7-6564-4F45-8560-A14789827587}"/>
              </c:ext>
            </c:extLst>
          </c:dPt>
          <c:dPt>
            <c:idx val="6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8-6564-4F45-8560-A14789827587}"/>
              </c:ext>
            </c:extLst>
          </c:dPt>
          <c:dPt>
            <c:idx val="6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9-6564-4F45-8560-A14789827587}"/>
              </c:ext>
            </c:extLst>
          </c:dPt>
          <c:dPt>
            <c:idx val="6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A-6564-4F45-8560-A14789827587}"/>
              </c:ext>
            </c:extLst>
          </c:dPt>
          <c:dPt>
            <c:idx val="6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B-6564-4F45-8560-A14789827587}"/>
              </c:ext>
            </c:extLst>
          </c:dPt>
          <c:dPt>
            <c:idx val="6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C-6564-4F45-8560-A14789827587}"/>
              </c:ext>
            </c:extLst>
          </c:dPt>
          <c:dPt>
            <c:idx val="6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D-6564-4F45-8560-A14789827587}"/>
              </c:ext>
            </c:extLst>
          </c:dPt>
          <c:dPt>
            <c:idx val="6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E-6564-4F45-8560-A14789827587}"/>
              </c:ext>
            </c:extLst>
          </c:dPt>
          <c:dPt>
            <c:idx val="6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F-6564-4F45-8560-A14789827587}"/>
              </c:ext>
            </c:extLst>
          </c:dPt>
          <c:dPt>
            <c:idx val="6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0-6564-4F45-8560-A14789827587}"/>
              </c:ext>
            </c:extLst>
          </c:dPt>
          <c:dPt>
            <c:idx val="6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1-6564-4F45-8560-A14789827587}"/>
              </c:ext>
            </c:extLst>
          </c:dPt>
          <c:dPt>
            <c:idx val="6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2-6564-4F45-8560-A14789827587}"/>
              </c:ext>
            </c:extLst>
          </c:dPt>
          <c:dPt>
            <c:idx val="6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3-6564-4F45-8560-A14789827587}"/>
              </c:ext>
            </c:extLst>
          </c:dPt>
          <c:dPt>
            <c:idx val="6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4-6564-4F45-8560-A14789827587}"/>
              </c:ext>
            </c:extLst>
          </c:dPt>
          <c:dPt>
            <c:idx val="6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5-6564-4F45-8560-A14789827587}"/>
              </c:ext>
            </c:extLst>
          </c:dPt>
          <c:dPt>
            <c:idx val="6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6-6564-4F45-8560-A14789827587}"/>
              </c:ext>
            </c:extLst>
          </c:dPt>
          <c:dPt>
            <c:idx val="6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7-6564-4F45-8560-A14789827587}"/>
              </c:ext>
            </c:extLst>
          </c:dPt>
          <c:dPt>
            <c:idx val="6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8-6564-4F45-8560-A14789827587}"/>
              </c:ext>
            </c:extLst>
          </c:dPt>
          <c:dPt>
            <c:idx val="6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9-6564-4F45-8560-A14789827587}"/>
              </c:ext>
            </c:extLst>
          </c:dPt>
          <c:dPt>
            <c:idx val="6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A-6564-4F45-8560-A14789827587}"/>
              </c:ext>
            </c:extLst>
          </c:dPt>
          <c:dPt>
            <c:idx val="6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B-6564-4F45-8560-A14789827587}"/>
              </c:ext>
            </c:extLst>
          </c:dPt>
          <c:dPt>
            <c:idx val="6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C-6564-4F45-8560-A14789827587}"/>
              </c:ext>
            </c:extLst>
          </c:dPt>
          <c:dPt>
            <c:idx val="6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D-6564-4F45-8560-A14789827587}"/>
              </c:ext>
            </c:extLst>
          </c:dPt>
          <c:dPt>
            <c:idx val="6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E-6564-4F45-8560-A14789827587}"/>
              </c:ext>
            </c:extLst>
          </c:dPt>
          <c:dPt>
            <c:idx val="6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F-6564-4F45-8560-A14789827587}"/>
              </c:ext>
            </c:extLst>
          </c:dPt>
          <c:dPt>
            <c:idx val="6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0-6564-4F45-8560-A14789827587}"/>
              </c:ext>
            </c:extLst>
          </c:dPt>
          <c:dPt>
            <c:idx val="6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1-6564-4F45-8560-A14789827587}"/>
              </c:ext>
            </c:extLst>
          </c:dPt>
          <c:dPt>
            <c:idx val="6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2-6564-4F45-8560-A14789827587}"/>
              </c:ext>
            </c:extLst>
          </c:dPt>
          <c:dPt>
            <c:idx val="6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3-6564-4F45-8560-A14789827587}"/>
              </c:ext>
            </c:extLst>
          </c:dPt>
          <c:dPt>
            <c:idx val="6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4-6564-4F45-8560-A14789827587}"/>
              </c:ext>
            </c:extLst>
          </c:dPt>
          <c:dPt>
            <c:idx val="6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5-6564-4F45-8560-A14789827587}"/>
              </c:ext>
            </c:extLst>
          </c:dPt>
          <c:dPt>
            <c:idx val="6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6-6564-4F45-8560-A14789827587}"/>
              </c:ext>
            </c:extLst>
          </c:dPt>
          <c:dPt>
            <c:idx val="6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7-6564-4F45-8560-A14789827587}"/>
              </c:ext>
            </c:extLst>
          </c:dPt>
          <c:dPt>
            <c:idx val="6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8-6564-4F45-8560-A14789827587}"/>
              </c:ext>
            </c:extLst>
          </c:dPt>
          <c:dPt>
            <c:idx val="6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9-6564-4F45-8560-A14789827587}"/>
              </c:ext>
            </c:extLst>
          </c:dPt>
          <c:dPt>
            <c:idx val="6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A-6564-4F45-8560-A14789827587}"/>
              </c:ext>
            </c:extLst>
          </c:dPt>
          <c:dPt>
            <c:idx val="6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B-6564-4F45-8560-A14789827587}"/>
              </c:ext>
            </c:extLst>
          </c:dPt>
          <c:dPt>
            <c:idx val="7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C-6564-4F45-8560-A14789827587}"/>
              </c:ext>
            </c:extLst>
          </c:dPt>
          <c:dPt>
            <c:idx val="7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D-6564-4F45-8560-A14789827587}"/>
              </c:ext>
            </c:extLst>
          </c:dPt>
          <c:dPt>
            <c:idx val="7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E-6564-4F45-8560-A14789827587}"/>
              </c:ext>
            </c:extLst>
          </c:dPt>
          <c:dPt>
            <c:idx val="7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F-6564-4F45-8560-A14789827587}"/>
              </c:ext>
            </c:extLst>
          </c:dPt>
          <c:dPt>
            <c:idx val="7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0-6564-4F45-8560-A14789827587}"/>
              </c:ext>
            </c:extLst>
          </c:dPt>
          <c:dPt>
            <c:idx val="7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1-6564-4F45-8560-A14789827587}"/>
              </c:ext>
            </c:extLst>
          </c:dPt>
          <c:dPt>
            <c:idx val="7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2-6564-4F45-8560-A14789827587}"/>
              </c:ext>
            </c:extLst>
          </c:dPt>
          <c:dPt>
            <c:idx val="7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3-6564-4F45-8560-A14789827587}"/>
              </c:ext>
            </c:extLst>
          </c:dPt>
          <c:dPt>
            <c:idx val="7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4-6564-4F45-8560-A14789827587}"/>
              </c:ext>
            </c:extLst>
          </c:dPt>
          <c:dPt>
            <c:idx val="7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5-6564-4F45-8560-A14789827587}"/>
              </c:ext>
            </c:extLst>
          </c:dPt>
          <c:dPt>
            <c:idx val="7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6-6564-4F45-8560-A14789827587}"/>
              </c:ext>
            </c:extLst>
          </c:dPt>
          <c:dPt>
            <c:idx val="7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7-6564-4F45-8560-A14789827587}"/>
              </c:ext>
            </c:extLst>
          </c:dPt>
          <c:dPt>
            <c:idx val="7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8-6564-4F45-8560-A14789827587}"/>
              </c:ext>
            </c:extLst>
          </c:dPt>
          <c:dPt>
            <c:idx val="7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9-6564-4F45-8560-A14789827587}"/>
              </c:ext>
            </c:extLst>
          </c:dPt>
          <c:dPt>
            <c:idx val="7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A-6564-4F45-8560-A14789827587}"/>
              </c:ext>
            </c:extLst>
          </c:dPt>
          <c:dPt>
            <c:idx val="7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B-6564-4F45-8560-A14789827587}"/>
              </c:ext>
            </c:extLst>
          </c:dPt>
          <c:dPt>
            <c:idx val="7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C-6564-4F45-8560-A14789827587}"/>
              </c:ext>
            </c:extLst>
          </c:dPt>
          <c:dPt>
            <c:idx val="7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D-6564-4F45-8560-A14789827587}"/>
              </c:ext>
            </c:extLst>
          </c:dPt>
          <c:dPt>
            <c:idx val="7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E-6564-4F45-8560-A14789827587}"/>
              </c:ext>
            </c:extLst>
          </c:dPt>
          <c:dPt>
            <c:idx val="7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F-6564-4F45-8560-A14789827587}"/>
              </c:ext>
            </c:extLst>
          </c:dPt>
          <c:dPt>
            <c:idx val="7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0-6564-4F45-8560-A14789827587}"/>
              </c:ext>
            </c:extLst>
          </c:dPt>
          <c:dPt>
            <c:idx val="7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1-6564-4F45-8560-A14789827587}"/>
              </c:ext>
            </c:extLst>
          </c:dPt>
          <c:dPt>
            <c:idx val="7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2-6564-4F45-8560-A14789827587}"/>
              </c:ext>
            </c:extLst>
          </c:dPt>
          <c:dPt>
            <c:idx val="7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3-6564-4F45-8560-A14789827587}"/>
              </c:ext>
            </c:extLst>
          </c:dPt>
          <c:dPt>
            <c:idx val="7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4-6564-4F45-8560-A14789827587}"/>
              </c:ext>
            </c:extLst>
          </c:dPt>
          <c:dPt>
            <c:idx val="7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5-6564-4F45-8560-A14789827587}"/>
              </c:ext>
            </c:extLst>
          </c:dPt>
          <c:dPt>
            <c:idx val="7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6-6564-4F45-8560-A14789827587}"/>
              </c:ext>
            </c:extLst>
          </c:dPt>
          <c:dPt>
            <c:idx val="7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7-6564-4F45-8560-A14789827587}"/>
              </c:ext>
            </c:extLst>
          </c:dPt>
          <c:dPt>
            <c:idx val="7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8-6564-4F45-8560-A14789827587}"/>
              </c:ext>
            </c:extLst>
          </c:dPt>
          <c:dPt>
            <c:idx val="7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9-6564-4F45-8560-A14789827587}"/>
              </c:ext>
            </c:extLst>
          </c:dPt>
          <c:dPt>
            <c:idx val="7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A-6564-4F45-8560-A14789827587}"/>
              </c:ext>
            </c:extLst>
          </c:dPt>
          <c:dPt>
            <c:idx val="7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B-6564-4F45-8560-A14789827587}"/>
              </c:ext>
            </c:extLst>
          </c:dPt>
          <c:dPt>
            <c:idx val="7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C-6564-4F45-8560-A14789827587}"/>
              </c:ext>
            </c:extLst>
          </c:dPt>
          <c:dPt>
            <c:idx val="7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D-6564-4F45-8560-A14789827587}"/>
              </c:ext>
            </c:extLst>
          </c:dPt>
          <c:dPt>
            <c:idx val="7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E-6564-4F45-8560-A14789827587}"/>
              </c:ext>
            </c:extLst>
          </c:dPt>
          <c:dPt>
            <c:idx val="7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F-6564-4F45-8560-A14789827587}"/>
              </c:ext>
            </c:extLst>
          </c:dPt>
          <c:dPt>
            <c:idx val="7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0-6564-4F45-8560-A14789827587}"/>
              </c:ext>
            </c:extLst>
          </c:dPt>
          <c:dPt>
            <c:idx val="7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1-6564-4F45-8560-A14789827587}"/>
              </c:ext>
            </c:extLst>
          </c:dPt>
          <c:dPt>
            <c:idx val="7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2-6564-4F45-8560-A14789827587}"/>
              </c:ext>
            </c:extLst>
          </c:dPt>
          <c:dPt>
            <c:idx val="7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3-6564-4F45-8560-A14789827587}"/>
              </c:ext>
            </c:extLst>
          </c:dPt>
          <c:dPt>
            <c:idx val="7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4-6564-4F45-8560-A14789827587}"/>
              </c:ext>
            </c:extLst>
          </c:dPt>
          <c:dPt>
            <c:idx val="7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5-6564-4F45-8560-A14789827587}"/>
              </c:ext>
            </c:extLst>
          </c:dPt>
          <c:dPt>
            <c:idx val="7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6-6564-4F45-8560-A14789827587}"/>
              </c:ext>
            </c:extLst>
          </c:dPt>
          <c:dPt>
            <c:idx val="7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7-6564-4F45-8560-A14789827587}"/>
              </c:ext>
            </c:extLst>
          </c:dPt>
          <c:dPt>
            <c:idx val="7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8-6564-4F45-8560-A14789827587}"/>
              </c:ext>
            </c:extLst>
          </c:dPt>
          <c:dPt>
            <c:idx val="7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9-6564-4F45-8560-A14789827587}"/>
              </c:ext>
            </c:extLst>
          </c:dPt>
          <c:dPt>
            <c:idx val="7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A-6564-4F45-8560-A14789827587}"/>
              </c:ext>
            </c:extLst>
          </c:dPt>
          <c:dPt>
            <c:idx val="7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B-6564-4F45-8560-A14789827587}"/>
              </c:ext>
            </c:extLst>
          </c:dPt>
          <c:dPt>
            <c:idx val="7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C-6564-4F45-8560-A14789827587}"/>
              </c:ext>
            </c:extLst>
          </c:dPt>
          <c:dPt>
            <c:idx val="7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D-6564-4F45-8560-A14789827587}"/>
              </c:ext>
            </c:extLst>
          </c:dPt>
          <c:dPt>
            <c:idx val="7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E-6564-4F45-8560-A14789827587}"/>
              </c:ext>
            </c:extLst>
          </c:dPt>
          <c:dPt>
            <c:idx val="7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F-6564-4F45-8560-A14789827587}"/>
              </c:ext>
            </c:extLst>
          </c:dPt>
          <c:dPt>
            <c:idx val="7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0-6564-4F45-8560-A14789827587}"/>
              </c:ext>
            </c:extLst>
          </c:dPt>
          <c:dPt>
            <c:idx val="7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1-6564-4F45-8560-A14789827587}"/>
              </c:ext>
            </c:extLst>
          </c:dPt>
          <c:dPt>
            <c:idx val="7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2-6564-4F45-8560-A14789827587}"/>
              </c:ext>
            </c:extLst>
          </c:dPt>
          <c:dPt>
            <c:idx val="7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3-6564-4F45-8560-A14789827587}"/>
              </c:ext>
            </c:extLst>
          </c:dPt>
          <c:dPt>
            <c:idx val="7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4-6564-4F45-8560-A14789827587}"/>
              </c:ext>
            </c:extLst>
          </c:dPt>
          <c:dPt>
            <c:idx val="7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5-6564-4F45-8560-A14789827587}"/>
              </c:ext>
            </c:extLst>
          </c:dPt>
          <c:dPt>
            <c:idx val="7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6-6564-4F45-8560-A14789827587}"/>
              </c:ext>
            </c:extLst>
          </c:dPt>
          <c:dPt>
            <c:idx val="7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7-6564-4F45-8560-A14789827587}"/>
              </c:ext>
            </c:extLst>
          </c:dPt>
          <c:dPt>
            <c:idx val="7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8-6564-4F45-8560-A14789827587}"/>
              </c:ext>
            </c:extLst>
          </c:dPt>
          <c:dPt>
            <c:idx val="7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9-6564-4F45-8560-A14789827587}"/>
              </c:ext>
            </c:extLst>
          </c:dPt>
          <c:dPt>
            <c:idx val="7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A-6564-4F45-8560-A14789827587}"/>
              </c:ext>
            </c:extLst>
          </c:dPt>
          <c:dPt>
            <c:idx val="7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B-6564-4F45-8560-A14789827587}"/>
              </c:ext>
            </c:extLst>
          </c:dPt>
          <c:dPt>
            <c:idx val="7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C-6564-4F45-8560-A14789827587}"/>
              </c:ext>
            </c:extLst>
          </c:dPt>
          <c:dPt>
            <c:idx val="7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D-6564-4F45-8560-A14789827587}"/>
              </c:ext>
            </c:extLst>
          </c:dPt>
          <c:dPt>
            <c:idx val="7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E-6564-4F45-8560-A14789827587}"/>
              </c:ext>
            </c:extLst>
          </c:dPt>
          <c:dPt>
            <c:idx val="7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F-6564-4F45-8560-A14789827587}"/>
              </c:ext>
            </c:extLst>
          </c:dPt>
          <c:dPt>
            <c:idx val="7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0-6564-4F45-8560-A14789827587}"/>
              </c:ext>
            </c:extLst>
          </c:dPt>
          <c:dPt>
            <c:idx val="7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1-6564-4F45-8560-A14789827587}"/>
              </c:ext>
            </c:extLst>
          </c:dPt>
          <c:dPt>
            <c:idx val="7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2-6564-4F45-8560-A14789827587}"/>
              </c:ext>
            </c:extLst>
          </c:dPt>
          <c:dPt>
            <c:idx val="7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3-6564-4F45-8560-A14789827587}"/>
              </c:ext>
            </c:extLst>
          </c:dPt>
          <c:dPt>
            <c:idx val="7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4-6564-4F45-8560-A14789827587}"/>
              </c:ext>
            </c:extLst>
          </c:dPt>
          <c:dPt>
            <c:idx val="7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5-6564-4F45-8560-A14789827587}"/>
              </c:ext>
            </c:extLst>
          </c:dPt>
          <c:dPt>
            <c:idx val="7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6-6564-4F45-8560-A14789827587}"/>
              </c:ext>
            </c:extLst>
          </c:dPt>
          <c:dPt>
            <c:idx val="7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7-6564-4F45-8560-A14789827587}"/>
              </c:ext>
            </c:extLst>
          </c:dPt>
          <c:dPt>
            <c:idx val="7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8-6564-4F45-8560-A14789827587}"/>
              </c:ext>
            </c:extLst>
          </c:dPt>
          <c:dPt>
            <c:idx val="7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9-6564-4F45-8560-A14789827587}"/>
              </c:ext>
            </c:extLst>
          </c:dPt>
          <c:dPt>
            <c:idx val="7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A-6564-4F45-8560-A14789827587}"/>
              </c:ext>
            </c:extLst>
          </c:dPt>
          <c:dPt>
            <c:idx val="7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B-6564-4F45-8560-A14789827587}"/>
              </c:ext>
            </c:extLst>
          </c:dPt>
          <c:dPt>
            <c:idx val="7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C-6564-4F45-8560-A14789827587}"/>
              </c:ext>
            </c:extLst>
          </c:dPt>
          <c:dPt>
            <c:idx val="7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D-6564-4F45-8560-A14789827587}"/>
              </c:ext>
            </c:extLst>
          </c:dPt>
          <c:dPt>
            <c:idx val="7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E-6564-4F45-8560-A14789827587}"/>
              </c:ext>
            </c:extLst>
          </c:dPt>
          <c:dPt>
            <c:idx val="7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F-6564-4F45-8560-A14789827587}"/>
              </c:ext>
            </c:extLst>
          </c:dPt>
          <c:dPt>
            <c:idx val="7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0-6564-4F45-8560-A14789827587}"/>
              </c:ext>
            </c:extLst>
          </c:dPt>
          <c:dPt>
            <c:idx val="7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1-6564-4F45-8560-A14789827587}"/>
              </c:ext>
            </c:extLst>
          </c:dPt>
          <c:dPt>
            <c:idx val="7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2-6564-4F45-8560-A14789827587}"/>
              </c:ext>
            </c:extLst>
          </c:dPt>
          <c:dPt>
            <c:idx val="7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3-6564-4F45-8560-A14789827587}"/>
              </c:ext>
            </c:extLst>
          </c:dPt>
          <c:dPt>
            <c:idx val="7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4-6564-4F45-8560-A14789827587}"/>
              </c:ext>
            </c:extLst>
          </c:dPt>
          <c:dPt>
            <c:idx val="7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5-6564-4F45-8560-A14789827587}"/>
              </c:ext>
            </c:extLst>
          </c:dPt>
          <c:dPt>
            <c:idx val="7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6-6564-4F45-8560-A14789827587}"/>
              </c:ext>
            </c:extLst>
          </c:dPt>
          <c:dPt>
            <c:idx val="7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7-6564-4F45-8560-A14789827587}"/>
              </c:ext>
            </c:extLst>
          </c:dPt>
          <c:dPt>
            <c:idx val="7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8-6564-4F45-8560-A14789827587}"/>
              </c:ext>
            </c:extLst>
          </c:dPt>
          <c:dPt>
            <c:idx val="7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9-6564-4F45-8560-A14789827587}"/>
              </c:ext>
            </c:extLst>
          </c:dPt>
          <c:dPt>
            <c:idx val="7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A-6564-4F45-8560-A14789827587}"/>
              </c:ext>
            </c:extLst>
          </c:dPt>
          <c:dPt>
            <c:idx val="7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B-6564-4F45-8560-A14789827587}"/>
              </c:ext>
            </c:extLst>
          </c:dPt>
          <c:dPt>
            <c:idx val="7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C-6564-4F45-8560-A14789827587}"/>
              </c:ext>
            </c:extLst>
          </c:dPt>
          <c:dPt>
            <c:idx val="7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D-6564-4F45-8560-A14789827587}"/>
              </c:ext>
            </c:extLst>
          </c:dPt>
          <c:dPt>
            <c:idx val="7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E-6564-4F45-8560-A14789827587}"/>
              </c:ext>
            </c:extLst>
          </c:dPt>
          <c:dPt>
            <c:idx val="7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F-6564-4F45-8560-A14789827587}"/>
              </c:ext>
            </c:extLst>
          </c:dPt>
          <c:dPt>
            <c:idx val="8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0-6564-4F45-8560-A14789827587}"/>
              </c:ext>
            </c:extLst>
          </c:dPt>
          <c:dPt>
            <c:idx val="8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1-6564-4F45-8560-A14789827587}"/>
              </c:ext>
            </c:extLst>
          </c:dPt>
          <c:dPt>
            <c:idx val="8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2-6564-4F45-8560-A14789827587}"/>
              </c:ext>
            </c:extLst>
          </c:dPt>
          <c:dPt>
            <c:idx val="8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3-6564-4F45-8560-A14789827587}"/>
              </c:ext>
            </c:extLst>
          </c:dPt>
          <c:dPt>
            <c:idx val="8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4-6564-4F45-8560-A14789827587}"/>
              </c:ext>
            </c:extLst>
          </c:dPt>
          <c:dPt>
            <c:idx val="8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5-6564-4F45-8560-A14789827587}"/>
              </c:ext>
            </c:extLst>
          </c:dPt>
          <c:dPt>
            <c:idx val="8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6-6564-4F45-8560-A14789827587}"/>
              </c:ext>
            </c:extLst>
          </c:dPt>
          <c:dPt>
            <c:idx val="8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7-6564-4F45-8560-A14789827587}"/>
              </c:ext>
            </c:extLst>
          </c:dPt>
          <c:dPt>
            <c:idx val="8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8-6564-4F45-8560-A14789827587}"/>
              </c:ext>
            </c:extLst>
          </c:dPt>
          <c:dPt>
            <c:idx val="8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9-6564-4F45-8560-A14789827587}"/>
              </c:ext>
            </c:extLst>
          </c:dPt>
          <c:dPt>
            <c:idx val="8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A-6564-4F45-8560-A14789827587}"/>
              </c:ext>
            </c:extLst>
          </c:dPt>
          <c:dPt>
            <c:idx val="8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B-6564-4F45-8560-A14789827587}"/>
              </c:ext>
            </c:extLst>
          </c:dPt>
          <c:dPt>
            <c:idx val="8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C-6564-4F45-8560-A14789827587}"/>
              </c:ext>
            </c:extLst>
          </c:dPt>
          <c:dPt>
            <c:idx val="8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D-6564-4F45-8560-A14789827587}"/>
              </c:ext>
            </c:extLst>
          </c:dPt>
          <c:dPt>
            <c:idx val="8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E-6564-4F45-8560-A14789827587}"/>
              </c:ext>
            </c:extLst>
          </c:dPt>
          <c:dPt>
            <c:idx val="8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F-6564-4F45-8560-A14789827587}"/>
              </c:ext>
            </c:extLst>
          </c:dPt>
          <c:dPt>
            <c:idx val="8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0-6564-4F45-8560-A14789827587}"/>
              </c:ext>
            </c:extLst>
          </c:dPt>
          <c:dPt>
            <c:idx val="8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1-6564-4F45-8560-A14789827587}"/>
              </c:ext>
            </c:extLst>
          </c:dPt>
          <c:dPt>
            <c:idx val="8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2-6564-4F45-8560-A14789827587}"/>
              </c:ext>
            </c:extLst>
          </c:dPt>
          <c:dPt>
            <c:idx val="8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3-6564-4F45-8560-A14789827587}"/>
              </c:ext>
            </c:extLst>
          </c:dPt>
          <c:dPt>
            <c:idx val="8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4-6564-4F45-8560-A14789827587}"/>
              </c:ext>
            </c:extLst>
          </c:dPt>
          <c:dPt>
            <c:idx val="8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5-6564-4F45-8560-A14789827587}"/>
              </c:ext>
            </c:extLst>
          </c:dPt>
          <c:dPt>
            <c:idx val="8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6-6564-4F45-8560-A14789827587}"/>
              </c:ext>
            </c:extLst>
          </c:dPt>
          <c:dPt>
            <c:idx val="8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7-6564-4F45-8560-A14789827587}"/>
              </c:ext>
            </c:extLst>
          </c:dPt>
          <c:dPt>
            <c:idx val="8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8-6564-4F45-8560-A14789827587}"/>
              </c:ext>
            </c:extLst>
          </c:dPt>
          <c:dPt>
            <c:idx val="8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9-6564-4F45-8560-A14789827587}"/>
              </c:ext>
            </c:extLst>
          </c:dPt>
          <c:dPt>
            <c:idx val="8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A-6564-4F45-8560-A14789827587}"/>
              </c:ext>
            </c:extLst>
          </c:dPt>
          <c:dPt>
            <c:idx val="8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B-6564-4F45-8560-A14789827587}"/>
              </c:ext>
            </c:extLst>
          </c:dPt>
          <c:dPt>
            <c:idx val="8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C-6564-4F45-8560-A14789827587}"/>
              </c:ext>
            </c:extLst>
          </c:dPt>
          <c:dPt>
            <c:idx val="8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D-6564-4F45-8560-A14789827587}"/>
              </c:ext>
            </c:extLst>
          </c:dPt>
          <c:dPt>
            <c:idx val="8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E-6564-4F45-8560-A14789827587}"/>
              </c:ext>
            </c:extLst>
          </c:dPt>
          <c:dPt>
            <c:idx val="8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F-6564-4F45-8560-A14789827587}"/>
              </c:ext>
            </c:extLst>
          </c:dPt>
          <c:dPt>
            <c:idx val="8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0-6564-4F45-8560-A14789827587}"/>
              </c:ext>
            </c:extLst>
          </c:dPt>
          <c:dPt>
            <c:idx val="8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1-6564-4F45-8560-A14789827587}"/>
              </c:ext>
            </c:extLst>
          </c:dPt>
          <c:dPt>
            <c:idx val="8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2-6564-4F45-8560-A14789827587}"/>
              </c:ext>
            </c:extLst>
          </c:dPt>
          <c:dPt>
            <c:idx val="8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3-6564-4F45-8560-A14789827587}"/>
              </c:ext>
            </c:extLst>
          </c:dPt>
          <c:dPt>
            <c:idx val="8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4-6564-4F45-8560-A14789827587}"/>
              </c:ext>
            </c:extLst>
          </c:dPt>
          <c:dPt>
            <c:idx val="8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5-6564-4F45-8560-A14789827587}"/>
              </c:ext>
            </c:extLst>
          </c:dPt>
          <c:dPt>
            <c:idx val="8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6-6564-4F45-8560-A14789827587}"/>
              </c:ext>
            </c:extLst>
          </c:dPt>
          <c:dPt>
            <c:idx val="8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7-6564-4F45-8560-A14789827587}"/>
              </c:ext>
            </c:extLst>
          </c:dPt>
          <c:dPt>
            <c:idx val="8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8-6564-4F45-8560-A14789827587}"/>
              </c:ext>
            </c:extLst>
          </c:dPt>
          <c:dPt>
            <c:idx val="8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9-6564-4F45-8560-A14789827587}"/>
              </c:ext>
            </c:extLst>
          </c:dPt>
          <c:dPt>
            <c:idx val="8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A-6564-4F45-8560-A14789827587}"/>
              </c:ext>
            </c:extLst>
          </c:dPt>
          <c:dPt>
            <c:idx val="8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B-6564-4F45-8560-A14789827587}"/>
              </c:ext>
            </c:extLst>
          </c:dPt>
          <c:dPt>
            <c:idx val="8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C-6564-4F45-8560-A14789827587}"/>
              </c:ext>
            </c:extLst>
          </c:dPt>
          <c:dPt>
            <c:idx val="8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D-6564-4F45-8560-A14789827587}"/>
              </c:ext>
            </c:extLst>
          </c:dPt>
          <c:dPt>
            <c:idx val="8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E-6564-4F45-8560-A14789827587}"/>
              </c:ext>
            </c:extLst>
          </c:dPt>
          <c:dPt>
            <c:idx val="8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F-6564-4F45-8560-A14789827587}"/>
              </c:ext>
            </c:extLst>
          </c:dPt>
          <c:dPt>
            <c:idx val="8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0-6564-4F45-8560-A14789827587}"/>
              </c:ext>
            </c:extLst>
          </c:dPt>
          <c:dPt>
            <c:idx val="8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1-6564-4F45-8560-A14789827587}"/>
              </c:ext>
            </c:extLst>
          </c:dPt>
          <c:dPt>
            <c:idx val="8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2-6564-4F45-8560-A14789827587}"/>
              </c:ext>
            </c:extLst>
          </c:dPt>
          <c:dPt>
            <c:idx val="8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3-6564-4F45-8560-A14789827587}"/>
              </c:ext>
            </c:extLst>
          </c:dPt>
          <c:dPt>
            <c:idx val="8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4-6564-4F45-8560-A14789827587}"/>
              </c:ext>
            </c:extLst>
          </c:dPt>
          <c:dPt>
            <c:idx val="8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5-6564-4F45-8560-A14789827587}"/>
              </c:ext>
            </c:extLst>
          </c:dPt>
          <c:dPt>
            <c:idx val="8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6-6564-4F45-8560-A14789827587}"/>
              </c:ext>
            </c:extLst>
          </c:dPt>
          <c:dPt>
            <c:idx val="8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7-6564-4F45-8560-A14789827587}"/>
              </c:ext>
            </c:extLst>
          </c:dPt>
          <c:dPt>
            <c:idx val="8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8-6564-4F45-8560-A14789827587}"/>
              </c:ext>
            </c:extLst>
          </c:dPt>
          <c:dPt>
            <c:idx val="8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9-6564-4F45-8560-A14789827587}"/>
              </c:ext>
            </c:extLst>
          </c:dPt>
          <c:dPt>
            <c:idx val="8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A-6564-4F45-8560-A14789827587}"/>
              </c:ext>
            </c:extLst>
          </c:dPt>
          <c:dPt>
            <c:idx val="8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B-6564-4F45-8560-A14789827587}"/>
              </c:ext>
            </c:extLst>
          </c:dPt>
          <c:dPt>
            <c:idx val="8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C-6564-4F45-8560-A14789827587}"/>
              </c:ext>
            </c:extLst>
          </c:dPt>
          <c:dPt>
            <c:idx val="8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D-6564-4F45-8560-A14789827587}"/>
              </c:ext>
            </c:extLst>
          </c:dPt>
          <c:dPt>
            <c:idx val="8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E-6564-4F45-8560-A14789827587}"/>
              </c:ext>
            </c:extLst>
          </c:dPt>
          <c:dPt>
            <c:idx val="8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F-6564-4F45-8560-A14789827587}"/>
              </c:ext>
            </c:extLst>
          </c:dPt>
          <c:dPt>
            <c:idx val="8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0-6564-4F45-8560-A14789827587}"/>
              </c:ext>
            </c:extLst>
          </c:dPt>
          <c:dPt>
            <c:idx val="8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1-6564-4F45-8560-A14789827587}"/>
              </c:ext>
            </c:extLst>
          </c:dPt>
          <c:dPt>
            <c:idx val="8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2-6564-4F45-8560-A14789827587}"/>
              </c:ext>
            </c:extLst>
          </c:dPt>
          <c:dPt>
            <c:idx val="8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3-6564-4F45-8560-A14789827587}"/>
              </c:ext>
            </c:extLst>
          </c:dPt>
          <c:dPt>
            <c:idx val="8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4-6564-4F45-8560-A14789827587}"/>
              </c:ext>
            </c:extLst>
          </c:dPt>
          <c:dPt>
            <c:idx val="8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5-6564-4F45-8560-A14789827587}"/>
              </c:ext>
            </c:extLst>
          </c:dPt>
          <c:dPt>
            <c:idx val="8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6-6564-4F45-8560-A14789827587}"/>
              </c:ext>
            </c:extLst>
          </c:dPt>
          <c:dPt>
            <c:idx val="8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7-6564-4F45-8560-A14789827587}"/>
              </c:ext>
            </c:extLst>
          </c:dPt>
          <c:dPt>
            <c:idx val="8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8-6564-4F45-8560-A14789827587}"/>
              </c:ext>
            </c:extLst>
          </c:dPt>
          <c:dPt>
            <c:idx val="8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9-6564-4F45-8560-A14789827587}"/>
              </c:ext>
            </c:extLst>
          </c:dPt>
          <c:dPt>
            <c:idx val="8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A-6564-4F45-8560-A14789827587}"/>
              </c:ext>
            </c:extLst>
          </c:dPt>
          <c:dPt>
            <c:idx val="8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B-6564-4F45-8560-A14789827587}"/>
              </c:ext>
            </c:extLst>
          </c:dPt>
          <c:dPt>
            <c:idx val="8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C-6564-4F45-8560-A14789827587}"/>
              </c:ext>
            </c:extLst>
          </c:dPt>
          <c:dPt>
            <c:idx val="8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D-6564-4F45-8560-A14789827587}"/>
              </c:ext>
            </c:extLst>
          </c:dPt>
          <c:dPt>
            <c:idx val="8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E-6564-4F45-8560-A14789827587}"/>
              </c:ext>
            </c:extLst>
          </c:dPt>
          <c:dPt>
            <c:idx val="8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F-6564-4F45-8560-A14789827587}"/>
              </c:ext>
            </c:extLst>
          </c:dPt>
          <c:dPt>
            <c:idx val="8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0-6564-4F45-8560-A14789827587}"/>
              </c:ext>
            </c:extLst>
          </c:dPt>
          <c:dPt>
            <c:idx val="8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1-6564-4F45-8560-A14789827587}"/>
              </c:ext>
            </c:extLst>
          </c:dPt>
          <c:dPt>
            <c:idx val="8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2-6564-4F45-8560-A14789827587}"/>
              </c:ext>
            </c:extLst>
          </c:dPt>
          <c:dPt>
            <c:idx val="8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3-6564-4F45-8560-A14789827587}"/>
              </c:ext>
            </c:extLst>
          </c:dPt>
          <c:dPt>
            <c:idx val="8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4-6564-4F45-8560-A14789827587}"/>
              </c:ext>
            </c:extLst>
          </c:dPt>
          <c:dPt>
            <c:idx val="8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5-6564-4F45-8560-A14789827587}"/>
              </c:ext>
            </c:extLst>
          </c:dPt>
          <c:dPt>
            <c:idx val="8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6-6564-4F45-8560-A14789827587}"/>
              </c:ext>
            </c:extLst>
          </c:dPt>
          <c:dPt>
            <c:idx val="8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7-6564-4F45-8560-A14789827587}"/>
              </c:ext>
            </c:extLst>
          </c:dPt>
          <c:dPt>
            <c:idx val="8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8-6564-4F45-8560-A14789827587}"/>
              </c:ext>
            </c:extLst>
          </c:dPt>
          <c:dPt>
            <c:idx val="8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9-6564-4F45-8560-A14789827587}"/>
              </c:ext>
            </c:extLst>
          </c:dPt>
          <c:dPt>
            <c:idx val="8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A-6564-4F45-8560-A14789827587}"/>
              </c:ext>
            </c:extLst>
          </c:dPt>
          <c:dPt>
            <c:idx val="8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B-6564-4F45-8560-A14789827587}"/>
              </c:ext>
            </c:extLst>
          </c:dPt>
          <c:cat>
            <c:numRef>
              <c:f>USA!$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USA!$AD$9:$AD$900</c:f>
              <c:numCache>
                <c:formatCode>0.00</c:formatCode>
                <c:ptCount val="892"/>
                <c:pt idx="0">
                  <c:v>100</c:v>
                </c:pt>
                <c:pt idx="1">
                  <c:v>99.091629340842942</c:v>
                </c:pt>
                <c:pt idx="2">
                  <c:v>101.9855619941123</c:v>
                </c:pt>
                <c:pt idx="3">
                  <c:v>103.65718364753516</c:v>
                </c:pt>
                <c:pt idx="4">
                  <c:v>106.46746237814713</c:v>
                </c:pt>
                <c:pt idx="5">
                  <c:v>107.61469216140893</c:v>
                </c:pt>
                <c:pt idx="6">
                  <c:v>109.03714503113629</c:v>
                </c:pt>
                <c:pt idx="7">
                  <c:v>108.33513565606975</c:v>
                </c:pt>
                <c:pt idx="8">
                  <c:v>110.37403893241236</c:v>
                </c:pt>
                <c:pt idx="9">
                  <c:v>109.07597434687746</c:v>
                </c:pt>
                <c:pt idx="10">
                  <c:v>110.83164213826822</c:v>
                </c:pt>
                <c:pt idx="11">
                  <c:v>111.4709530944107</c:v>
                </c:pt>
                <c:pt idx="12">
                  <c:v>110.07993348028333</c:v>
                </c:pt>
                <c:pt idx="13">
                  <c:v>109.58764723482604</c:v>
                </c:pt>
                <c:pt idx="14">
                  <c:v>109.07289265515199</c:v>
                </c:pt>
                <c:pt idx="15">
                  <c:v>109.41249508330093</c:v>
                </c:pt>
                <c:pt idx="16">
                  <c:v>111.888214154042</c:v>
                </c:pt>
                <c:pt idx="17">
                  <c:v>111.99573717988227</c:v>
                </c:pt>
                <c:pt idx="18">
                  <c:v>111.75687805577752</c:v>
                </c:pt>
                <c:pt idx="19">
                  <c:v>110.50106066226118</c:v>
                </c:pt>
                <c:pt idx="20">
                  <c:v>108.67204860780375</c:v>
                </c:pt>
                <c:pt idx="21">
                  <c:v>112.14309807511931</c:v>
                </c:pt>
                <c:pt idx="22">
                  <c:v>113.61440976638535</c:v>
                </c:pt>
                <c:pt idx="23">
                  <c:v>115.26709302338611</c:v>
                </c:pt>
                <c:pt idx="24">
                  <c:v>116.04709721448687</c:v>
                </c:pt>
                <c:pt idx="25">
                  <c:v>116.0219954346138</c:v>
                </c:pt>
                <c:pt idx="26">
                  <c:v>116.49853703689178</c:v>
                </c:pt>
                <c:pt idx="27">
                  <c:v>116.58852243527609</c:v>
                </c:pt>
                <c:pt idx="28">
                  <c:v>116.55809773333171</c:v>
                </c:pt>
                <c:pt idx="29">
                  <c:v>115.79591132348013</c:v>
                </c:pt>
                <c:pt idx="30">
                  <c:v>116.4345499105189</c:v>
                </c:pt>
                <c:pt idx="31">
                  <c:v>113.64477843757111</c:v>
                </c:pt>
                <c:pt idx="32">
                  <c:v>114.27551668764085</c:v>
                </c:pt>
                <c:pt idx="33">
                  <c:v>115.68284125253399</c:v>
                </c:pt>
                <c:pt idx="34">
                  <c:v>115.8525584204705</c:v>
                </c:pt>
                <c:pt idx="35">
                  <c:v>115.02504014603858</c:v>
                </c:pt>
                <c:pt idx="36">
                  <c:v>113.86122525821776</c:v>
                </c:pt>
                <c:pt idx="37">
                  <c:v>114.30907911206938</c:v>
                </c:pt>
                <c:pt idx="38">
                  <c:v>113.51220966261639</c:v>
                </c:pt>
                <c:pt idx="39">
                  <c:v>111.29540872757508</c:v>
                </c:pt>
                <c:pt idx="40">
                  <c:v>115.43658606828804</c:v>
                </c:pt>
                <c:pt idx="41">
                  <c:v>116.43477403355347</c:v>
                </c:pt>
                <c:pt idx="42">
                  <c:v>118.120347345879</c:v>
                </c:pt>
                <c:pt idx="43">
                  <c:v>116.85102653952914</c:v>
                </c:pt>
                <c:pt idx="44">
                  <c:v>120.42668543323542</c:v>
                </c:pt>
                <c:pt idx="45">
                  <c:v>120.33227360491816</c:v>
                </c:pt>
                <c:pt idx="46">
                  <c:v>120.62542653415018</c:v>
                </c:pt>
                <c:pt idx="47">
                  <c:v>119.30943210584883</c:v>
                </c:pt>
                <c:pt idx="48">
                  <c:v>121.43837681133434</c:v>
                </c:pt>
                <c:pt idx="49">
                  <c:v>121.36424811764668</c:v>
                </c:pt>
                <c:pt idx="50">
                  <c:v>121.18141975218717</c:v>
                </c:pt>
                <c:pt idx="51">
                  <c:v>122.45365415798659</c:v>
                </c:pt>
                <c:pt idx="52">
                  <c:v>122.67609626980828</c:v>
                </c:pt>
                <c:pt idx="53">
                  <c:v>123.67120254334823</c:v>
                </c:pt>
                <c:pt idx="54">
                  <c:v>125.51853665588261</c:v>
                </c:pt>
                <c:pt idx="55">
                  <c:v>126.34504637665893</c:v>
                </c:pt>
                <c:pt idx="56">
                  <c:v>127.11115493961567</c:v>
                </c:pt>
                <c:pt idx="57">
                  <c:v>126.54866215357583</c:v>
                </c:pt>
                <c:pt idx="58">
                  <c:v>126.95785478396222</c:v>
                </c:pt>
                <c:pt idx="59">
                  <c:v>125.08625935293438</c:v>
                </c:pt>
                <c:pt idx="60">
                  <c:v>126.11997081918089</c:v>
                </c:pt>
                <c:pt idx="61">
                  <c:v>125.71828631045298</c:v>
                </c:pt>
                <c:pt idx="62">
                  <c:v>124.33309389522471</c:v>
                </c:pt>
                <c:pt idx="63">
                  <c:v>125.4003117551411</c:v>
                </c:pt>
                <c:pt idx="64">
                  <c:v>127.33662271240421</c:v>
                </c:pt>
                <c:pt idx="65">
                  <c:v>128.08956404707931</c:v>
                </c:pt>
                <c:pt idx="66">
                  <c:v>127.58030048175246</c:v>
                </c:pt>
                <c:pt idx="67">
                  <c:v>127.0980997728513</c:v>
                </c:pt>
                <c:pt idx="68">
                  <c:v>128.93781370220998</c:v>
                </c:pt>
                <c:pt idx="69">
                  <c:v>130.24215373271312</c:v>
                </c:pt>
                <c:pt idx="70">
                  <c:v>129.77099108326507</c:v>
                </c:pt>
                <c:pt idx="71">
                  <c:v>129.85772669764793</c:v>
                </c:pt>
                <c:pt idx="72">
                  <c:v>130.1757572837185</c:v>
                </c:pt>
                <c:pt idx="73">
                  <c:v>129.36482411384554</c:v>
                </c:pt>
                <c:pt idx="74">
                  <c:v>129.39003795523593</c:v>
                </c:pt>
                <c:pt idx="75">
                  <c:v>131.22353247038495</c:v>
                </c:pt>
                <c:pt idx="76">
                  <c:v>131.96033694657018</c:v>
                </c:pt>
                <c:pt idx="77">
                  <c:v>131.93898922752635</c:v>
                </c:pt>
                <c:pt idx="78">
                  <c:v>132.15829361686392</c:v>
                </c:pt>
                <c:pt idx="79">
                  <c:v>130.22752970470671</c:v>
                </c:pt>
                <c:pt idx="80">
                  <c:v>129.38734847882091</c:v>
                </c:pt>
                <c:pt idx="81">
                  <c:v>130.3962383189876</c:v>
                </c:pt>
                <c:pt idx="82">
                  <c:v>132.23001298792985</c:v>
                </c:pt>
                <c:pt idx="83">
                  <c:v>131.38999985432002</c:v>
                </c:pt>
                <c:pt idx="84">
                  <c:v>133.4729433069578</c:v>
                </c:pt>
                <c:pt idx="85">
                  <c:v>133.60074946742765</c:v>
                </c:pt>
                <c:pt idx="86">
                  <c:v>134.46978653401573</c:v>
                </c:pt>
                <c:pt idx="87">
                  <c:v>136.05187103512347</c:v>
                </c:pt>
                <c:pt idx="88">
                  <c:v>136.19009891670132</c:v>
                </c:pt>
                <c:pt idx="89">
                  <c:v>137.37083509363302</c:v>
                </c:pt>
                <c:pt idx="90">
                  <c:v>137.69284386356736</c:v>
                </c:pt>
                <c:pt idx="91">
                  <c:v>138.05009598068958</c:v>
                </c:pt>
                <c:pt idx="92">
                  <c:v>137.76523560373704</c:v>
                </c:pt>
                <c:pt idx="93">
                  <c:v>137.65513516299907</c:v>
                </c:pt>
                <c:pt idx="94">
                  <c:v>138.93611036714714</c:v>
                </c:pt>
                <c:pt idx="95">
                  <c:v>140.94245977271683</c:v>
                </c:pt>
                <c:pt idx="96">
                  <c:v>141.38443039691069</c:v>
                </c:pt>
                <c:pt idx="97">
                  <c:v>142.66366864754076</c:v>
                </c:pt>
                <c:pt idx="98">
                  <c:v>143.09157555131466</c:v>
                </c:pt>
                <c:pt idx="99">
                  <c:v>142.57474783357071</c:v>
                </c:pt>
                <c:pt idx="100">
                  <c:v>146.26964018167413</c:v>
                </c:pt>
                <c:pt idx="101">
                  <c:v>148.55513482681454</c:v>
                </c:pt>
                <c:pt idx="102">
                  <c:v>149.87790897691198</c:v>
                </c:pt>
                <c:pt idx="103">
                  <c:v>153.21678188458338</c:v>
                </c:pt>
                <c:pt idx="104">
                  <c:v>147.37417452684826</c:v>
                </c:pt>
                <c:pt idx="105">
                  <c:v>139.78755377552062</c:v>
                </c:pt>
                <c:pt idx="106">
                  <c:v>145.84050060121004</c:v>
                </c:pt>
                <c:pt idx="107">
                  <c:v>146.61008307120278</c:v>
                </c:pt>
                <c:pt idx="108">
                  <c:v>143.68281211653951</c:v>
                </c:pt>
                <c:pt idx="109">
                  <c:v>148.79270524347046</c:v>
                </c:pt>
                <c:pt idx="110">
                  <c:v>146.99988905909785</c:v>
                </c:pt>
                <c:pt idx="111">
                  <c:v>138.33394780398649</c:v>
                </c:pt>
                <c:pt idx="112">
                  <c:v>141.02566544930505</c:v>
                </c:pt>
                <c:pt idx="113">
                  <c:v>139.09081129176673</c:v>
                </c:pt>
                <c:pt idx="114">
                  <c:v>141.83273249683145</c:v>
                </c:pt>
                <c:pt idx="115">
                  <c:v>142.66243597085057</c:v>
                </c:pt>
                <c:pt idx="116">
                  <c:v>142.56113235921993</c:v>
                </c:pt>
                <c:pt idx="117">
                  <c:v>142.284228349995</c:v>
                </c:pt>
                <c:pt idx="118">
                  <c:v>145.69594124390525</c:v>
                </c:pt>
                <c:pt idx="119">
                  <c:v>144.92837588122376</c:v>
                </c:pt>
                <c:pt idx="120">
                  <c:v>145.35476995451424</c:v>
                </c:pt>
                <c:pt idx="121">
                  <c:v>146.14048928299681</c:v>
                </c:pt>
                <c:pt idx="122">
                  <c:v>148.54336836749903</c:v>
                </c:pt>
                <c:pt idx="123">
                  <c:v>148.67515271183268</c:v>
                </c:pt>
                <c:pt idx="124">
                  <c:v>147.35260268476983</c:v>
                </c:pt>
                <c:pt idx="125">
                  <c:v>145.33622377340265</c:v>
                </c:pt>
                <c:pt idx="126">
                  <c:v>147.58524239466496</c:v>
                </c:pt>
                <c:pt idx="127">
                  <c:v>149.77582093466029</c:v>
                </c:pt>
                <c:pt idx="128">
                  <c:v>149.78814770156225</c:v>
                </c:pt>
                <c:pt idx="129">
                  <c:v>150.55039014217246</c:v>
                </c:pt>
                <c:pt idx="130">
                  <c:v>151.70383933964391</c:v>
                </c:pt>
                <c:pt idx="131">
                  <c:v>151.40172148902863</c:v>
                </c:pt>
                <c:pt idx="132">
                  <c:v>152.20705158303701</c:v>
                </c:pt>
                <c:pt idx="133">
                  <c:v>153.59784707412982</c:v>
                </c:pt>
                <c:pt idx="134">
                  <c:v>155.02399797392778</c:v>
                </c:pt>
                <c:pt idx="135">
                  <c:v>153.3341663239452</c:v>
                </c:pt>
                <c:pt idx="136">
                  <c:v>155.15449361081261</c:v>
                </c:pt>
                <c:pt idx="137">
                  <c:v>156.32200652870398</c:v>
                </c:pt>
                <c:pt idx="138">
                  <c:v>155.5161721578678</c:v>
                </c:pt>
                <c:pt idx="139">
                  <c:v>153.87503123714797</c:v>
                </c:pt>
                <c:pt idx="140">
                  <c:v>147.51313080828854</c:v>
                </c:pt>
                <c:pt idx="141">
                  <c:v>147.47334896965037</c:v>
                </c:pt>
                <c:pt idx="142">
                  <c:v>141.67825569524646</c:v>
                </c:pt>
                <c:pt idx="143">
                  <c:v>145.22304164093919</c:v>
                </c:pt>
                <c:pt idx="144">
                  <c:v>148.07186953349913</c:v>
                </c:pt>
                <c:pt idx="145">
                  <c:v>145.71213413315374</c:v>
                </c:pt>
                <c:pt idx="146">
                  <c:v>140.2424114742029</c:v>
                </c:pt>
                <c:pt idx="147">
                  <c:v>147.01619400986365</c:v>
                </c:pt>
                <c:pt idx="148">
                  <c:v>140.31446702982069</c:v>
                </c:pt>
                <c:pt idx="149">
                  <c:v>138.53207256655617</c:v>
                </c:pt>
                <c:pt idx="150">
                  <c:v>128.68259359658077</c:v>
                </c:pt>
                <c:pt idx="151">
                  <c:v>132.41497052221789</c:v>
                </c:pt>
                <c:pt idx="152">
                  <c:v>134.94840127436356</c:v>
                </c:pt>
                <c:pt idx="153">
                  <c:v>138.51834503068807</c:v>
                </c:pt>
                <c:pt idx="154">
                  <c:v>142.46772908455827</c:v>
                </c:pt>
                <c:pt idx="155">
                  <c:v>142.20724208761644</c:v>
                </c:pt>
                <c:pt idx="156">
                  <c:v>144.51531712849086</c:v>
                </c:pt>
                <c:pt idx="157">
                  <c:v>144.63561516730223</c:v>
                </c:pt>
                <c:pt idx="158">
                  <c:v>148.26069319013365</c:v>
                </c:pt>
                <c:pt idx="159">
                  <c:v>149.17629181715594</c:v>
                </c:pt>
                <c:pt idx="160">
                  <c:v>149.84384227565565</c:v>
                </c:pt>
                <c:pt idx="161">
                  <c:v>146.54559166800206</c:v>
                </c:pt>
                <c:pt idx="162">
                  <c:v>150.77221591564904</c:v>
                </c:pt>
                <c:pt idx="163">
                  <c:v>149.57898487953946</c:v>
                </c:pt>
                <c:pt idx="164">
                  <c:v>151.36911158749709</c:v>
                </c:pt>
                <c:pt idx="165">
                  <c:v>154.46397054126834</c:v>
                </c:pt>
                <c:pt idx="166">
                  <c:v>155.29535493804681</c:v>
                </c:pt>
                <c:pt idx="167">
                  <c:v>155.11308688017377</c:v>
                </c:pt>
                <c:pt idx="168">
                  <c:v>156.95874006994879</c:v>
                </c:pt>
                <c:pt idx="169">
                  <c:v>157.29537286788957</c:v>
                </c:pt>
                <c:pt idx="170">
                  <c:v>153.87374252969911</c:v>
                </c:pt>
                <c:pt idx="171">
                  <c:v>152.69216589138773</c:v>
                </c:pt>
                <c:pt idx="172">
                  <c:v>150.86830866672568</c:v>
                </c:pt>
                <c:pt idx="173">
                  <c:v>146.97719660184657</c:v>
                </c:pt>
                <c:pt idx="174">
                  <c:v>153.43485359723076</c:v>
                </c:pt>
                <c:pt idx="175">
                  <c:v>154.15989161410047</c:v>
                </c:pt>
                <c:pt idx="176">
                  <c:v>157.56488081697327</c:v>
                </c:pt>
                <c:pt idx="177">
                  <c:v>157.07197823317088</c:v>
                </c:pt>
                <c:pt idx="178">
                  <c:v>159.7147249954335</c:v>
                </c:pt>
                <c:pt idx="179">
                  <c:v>160.99598035337479</c:v>
                </c:pt>
                <c:pt idx="180">
                  <c:v>159.06824210218443</c:v>
                </c:pt>
                <c:pt idx="181">
                  <c:v>161.73474590611261</c:v>
                </c:pt>
                <c:pt idx="182">
                  <c:v>156.6202022262141</c:v>
                </c:pt>
                <c:pt idx="183">
                  <c:v>155.93617872467269</c:v>
                </c:pt>
                <c:pt idx="184">
                  <c:v>154.25833765704022</c:v>
                </c:pt>
                <c:pt idx="185">
                  <c:v>152.05515219634972</c:v>
                </c:pt>
                <c:pt idx="186">
                  <c:v>156.19128676878461</c:v>
                </c:pt>
                <c:pt idx="187">
                  <c:v>158.9528187393752</c:v>
                </c:pt>
                <c:pt idx="188">
                  <c:v>160.34748035281447</c:v>
                </c:pt>
                <c:pt idx="189">
                  <c:v>159.60927510766311</c:v>
                </c:pt>
                <c:pt idx="190">
                  <c:v>157.90890967505521</c:v>
                </c:pt>
                <c:pt idx="191">
                  <c:v>157.44732828533552</c:v>
                </c:pt>
                <c:pt idx="192">
                  <c:v>158.43587896011394</c:v>
                </c:pt>
                <c:pt idx="193">
                  <c:v>159.21745201245679</c:v>
                </c:pt>
                <c:pt idx="194">
                  <c:v>161.23489550823822</c:v>
                </c:pt>
                <c:pt idx="195">
                  <c:v>163.57289097422921</c:v>
                </c:pt>
                <c:pt idx="196">
                  <c:v>164.9396492698632</c:v>
                </c:pt>
                <c:pt idx="197">
                  <c:v>166.48071925564258</c:v>
                </c:pt>
                <c:pt idx="198">
                  <c:v>166.07427213242983</c:v>
                </c:pt>
                <c:pt idx="199">
                  <c:v>167.72807600460348</c:v>
                </c:pt>
                <c:pt idx="200">
                  <c:v>167.90776664757885</c:v>
                </c:pt>
                <c:pt idx="201">
                  <c:v>169.02541219027597</c:v>
                </c:pt>
                <c:pt idx="202">
                  <c:v>171.85877559344979</c:v>
                </c:pt>
                <c:pt idx="203">
                  <c:v>172.87769493941397</c:v>
                </c:pt>
                <c:pt idx="204">
                  <c:v>172.67223014746173</c:v>
                </c:pt>
                <c:pt idx="205">
                  <c:v>174.38951686918051</c:v>
                </c:pt>
                <c:pt idx="206">
                  <c:v>177.83255095717348</c:v>
                </c:pt>
                <c:pt idx="207">
                  <c:v>176.13050460180619</c:v>
                </c:pt>
                <c:pt idx="208">
                  <c:v>172.5061549788372</c:v>
                </c:pt>
                <c:pt idx="209">
                  <c:v>177.9456210281196</c:v>
                </c:pt>
                <c:pt idx="210">
                  <c:v>180.9503825219893</c:v>
                </c:pt>
                <c:pt idx="211">
                  <c:v>178.80328385070271</c:v>
                </c:pt>
                <c:pt idx="212">
                  <c:v>158.13981243143235</c:v>
                </c:pt>
                <c:pt idx="213">
                  <c:v>159.01058645153844</c:v>
                </c:pt>
                <c:pt idx="214">
                  <c:v>144.49256864048087</c:v>
                </c:pt>
                <c:pt idx="215">
                  <c:v>122.76210348432875</c:v>
                </c:pt>
                <c:pt idx="216">
                  <c:v>135.63376951411249</c:v>
                </c:pt>
                <c:pt idx="217">
                  <c:v>132.47699657203819</c:v>
                </c:pt>
                <c:pt idx="218">
                  <c:v>148.87770390433533</c:v>
                </c:pt>
                <c:pt idx="219">
                  <c:v>153.54338517672662</c:v>
                </c:pt>
                <c:pt idx="220">
                  <c:v>151.60242366649598</c:v>
                </c:pt>
                <c:pt idx="221">
                  <c:v>151.37499481715483</c:v>
                </c:pt>
                <c:pt idx="222">
                  <c:v>157.16924763017906</c:v>
                </c:pt>
                <c:pt idx="223">
                  <c:v>153.62659085331484</c:v>
                </c:pt>
                <c:pt idx="224">
                  <c:v>158.72275644437772</c:v>
                </c:pt>
                <c:pt idx="225">
                  <c:v>163.52279947600036</c:v>
                </c:pt>
                <c:pt idx="226">
                  <c:v>171.26978025857076</c:v>
                </c:pt>
                <c:pt idx="227">
                  <c:v>163.36910710503639</c:v>
                </c:pt>
                <c:pt idx="228">
                  <c:v>166.79034522791633</c:v>
                </c:pt>
                <c:pt idx="229">
                  <c:v>162.10510922075784</c:v>
                </c:pt>
                <c:pt idx="230">
                  <c:v>168.73108261511237</c:v>
                </c:pt>
                <c:pt idx="231">
                  <c:v>172.14795033881799</c:v>
                </c:pt>
                <c:pt idx="232">
                  <c:v>174.13071079499801</c:v>
                </c:pt>
                <c:pt idx="233">
                  <c:v>173.48109017926481</c:v>
                </c:pt>
                <c:pt idx="234">
                  <c:v>176.72034039806493</c:v>
                </c:pt>
                <c:pt idx="235">
                  <c:v>180.84874272580674</c:v>
                </c:pt>
                <c:pt idx="236">
                  <c:v>182.04219788495092</c:v>
                </c:pt>
                <c:pt idx="237">
                  <c:v>183.80946404338127</c:v>
                </c:pt>
                <c:pt idx="238">
                  <c:v>189.74463421439833</c:v>
                </c:pt>
                <c:pt idx="239">
                  <c:v>185.21718082358493</c:v>
                </c:pt>
                <c:pt idx="240">
                  <c:v>180.41573702299613</c:v>
                </c:pt>
                <c:pt idx="241">
                  <c:v>179.77855523568218</c:v>
                </c:pt>
                <c:pt idx="242">
                  <c:v>178.83432489099218</c:v>
                </c:pt>
                <c:pt idx="243">
                  <c:v>181.75890636924046</c:v>
                </c:pt>
                <c:pt idx="244">
                  <c:v>188.85833967414754</c:v>
                </c:pt>
                <c:pt idx="245">
                  <c:v>189.34530299753354</c:v>
                </c:pt>
                <c:pt idx="246">
                  <c:v>188.20356422861894</c:v>
                </c:pt>
                <c:pt idx="247">
                  <c:v>177.44537841493465</c:v>
                </c:pt>
                <c:pt idx="248">
                  <c:v>190.92721940636531</c:v>
                </c:pt>
                <c:pt idx="249">
                  <c:v>194.34335873020856</c:v>
                </c:pt>
                <c:pt idx="250">
                  <c:v>193.64723258479978</c:v>
                </c:pt>
                <c:pt idx="251">
                  <c:v>198.48095010236818</c:v>
                </c:pt>
                <c:pt idx="252">
                  <c:v>201.76155102104852</c:v>
                </c:pt>
                <c:pt idx="253">
                  <c:v>200.15341221717074</c:v>
                </c:pt>
                <c:pt idx="254">
                  <c:v>203.44286599571703</c:v>
                </c:pt>
                <c:pt idx="255">
                  <c:v>203.20832124002791</c:v>
                </c:pt>
                <c:pt idx="256">
                  <c:v>205.516452311661</c:v>
                </c:pt>
                <c:pt idx="257">
                  <c:v>209.4307611106193</c:v>
                </c:pt>
                <c:pt idx="258">
                  <c:v>206.46230754835173</c:v>
                </c:pt>
                <c:pt idx="259">
                  <c:v>210.53994600876095</c:v>
                </c:pt>
                <c:pt idx="260">
                  <c:v>203.40863120218478</c:v>
                </c:pt>
                <c:pt idx="261">
                  <c:v>213.29822819535011</c:v>
                </c:pt>
                <c:pt idx="262">
                  <c:v>216.25698843637204</c:v>
                </c:pt>
                <c:pt idx="263">
                  <c:v>214.5678291554932</c:v>
                </c:pt>
                <c:pt idx="264">
                  <c:v>208.43061206880128</c:v>
                </c:pt>
                <c:pt idx="265">
                  <c:v>209.04157146106925</c:v>
                </c:pt>
                <c:pt idx="266">
                  <c:v>214.86938669852202</c:v>
                </c:pt>
                <c:pt idx="267">
                  <c:v>213.04709833510205</c:v>
                </c:pt>
                <c:pt idx="268">
                  <c:v>215.92085991525906</c:v>
                </c:pt>
                <c:pt idx="269">
                  <c:v>218.6548247525962</c:v>
                </c:pt>
                <c:pt idx="270">
                  <c:v>224.66177032543783</c:v>
                </c:pt>
                <c:pt idx="271">
                  <c:v>227.89603380671855</c:v>
                </c:pt>
                <c:pt idx="272">
                  <c:v>227.73242399147438</c:v>
                </c:pt>
                <c:pt idx="273">
                  <c:v>227.55542282491396</c:v>
                </c:pt>
                <c:pt idx="274">
                  <c:v>229.40931253620991</c:v>
                </c:pt>
                <c:pt idx="275">
                  <c:v>226.11296697435023</c:v>
                </c:pt>
                <c:pt idx="276">
                  <c:v>225.49875779808085</c:v>
                </c:pt>
                <c:pt idx="277">
                  <c:v>228.32276406456091</c:v>
                </c:pt>
                <c:pt idx="278">
                  <c:v>229.59174868635887</c:v>
                </c:pt>
                <c:pt idx="279">
                  <c:v>231.02916176864454</c:v>
                </c:pt>
                <c:pt idx="280">
                  <c:v>227.13939444197288</c:v>
                </c:pt>
                <c:pt idx="281">
                  <c:v>233.51076406904338</c:v>
                </c:pt>
                <c:pt idx="282">
                  <c:v>237.2357449345393</c:v>
                </c:pt>
                <c:pt idx="283">
                  <c:v>238.22351117869664</c:v>
                </c:pt>
                <c:pt idx="284">
                  <c:v>235.66559498502301</c:v>
                </c:pt>
                <c:pt idx="285">
                  <c:v>240.84513434495</c:v>
                </c:pt>
                <c:pt idx="286">
                  <c:v>239.73516501618732</c:v>
                </c:pt>
                <c:pt idx="287">
                  <c:v>241.96563745633804</c:v>
                </c:pt>
                <c:pt idx="288">
                  <c:v>243.48743286114347</c:v>
                </c:pt>
                <c:pt idx="289">
                  <c:v>241.88993990140827</c:v>
                </c:pt>
                <c:pt idx="290">
                  <c:v>245.84957758411062</c:v>
                </c:pt>
                <c:pt idx="291">
                  <c:v>247.38947092395841</c:v>
                </c:pt>
                <c:pt idx="292">
                  <c:v>243.12793951367544</c:v>
                </c:pt>
                <c:pt idx="293">
                  <c:v>241.85200707780547</c:v>
                </c:pt>
                <c:pt idx="294">
                  <c:v>242.9470722247685</c:v>
                </c:pt>
                <c:pt idx="295">
                  <c:v>237.18867909727726</c:v>
                </c:pt>
                <c:pt idx="296">
                  <c:v>238.97275448330117</c:v>
                </c:pt>
                <c:pt idx="297">
                  <c:v>243.73217521490596</c:v>
                </c:pt>
                <c:pt idx="298">
                  <c:v>247.74386547238976</c:v>
                </c:pt>
                <c:pt idx="299">
                  <c:v>250.74442465936099</c:v>
                </c:pt>
                <c:pt idx="300">
                  <c:v>255.52222347980148</c:v>
                </c:pt>
                <c:pt idx="301">
                  <c:v>254.90201901235707</c:v>
                </c:pt>
                <c:pt idx="302">
                  <c:v>255.47672650378152</c:v>
                </c:pt>
                <c:pt idx="303">
                  <c:v>249.59204004630382</c:v>
                </c:pt>
                <c:pt idx="304">
                  <c:v>245.56326040743329</c:v>
                </c:pt>
                <c:pt idx="305">
                  <c:v>254.67879246991427</c:v>
                </c:pt>
                <c:pt idx="306">
                  <c:v>249.73928888002357</c:v>
                </c:pt>
                <c:pt idx="307">
                  <c:v>255.53275726242677</c:v>
                </c:pt>
                <c:pt idx="308">
                  <c:v>257.38261275910025</c:v>
                </c:pt>
                <c:pt idx="309">
                  <c:v>251.53216109515481</c:v>
                </c:pt>
                <c:pt idx="310">
                  <c:v>250.54725241968831</c:v>
                </c:pt>
                <c:pt idx="311">
                  <c:v>236.05248737346852</c:v>
                </c:pt>
                <c:pt idx="312">
                  <c:v>237.62952910629821</c:v>
                </c:pt>
                <c:pt idx="313">
                  <c:v>241.71501187291778</c:v>
                </c:pt>
                <c:pt idx="314">
                  <c:v>237.52032515769858</c:v>
                </c:pt>
                <c:pt idx="315">
                  <c:v>233.41455925644942</c:v>
                </c:pt>
                <c:pt idx="316">
                  <c:v>235.54283159283122</c:v>
                </c:pt>
                <c:pt idx="317">
                  <c:v>232.05906314330315</c:v>
                </c:pt>
                <c:pt idx="318">
                  <c:v>225.08637141445172</c:v>
                </c:pt>
                <c:pt idx="319">
                  <c:v>239.47809589552281</c:v>
                </c:pt>
                <c:pt idx="320">
                  <c:v>243.57276770656023</c:v>
                </c:pt>
                <c:pt idx="321">
                  <c:v>244.02577639020717</c:v>
                </c:pt>
                <c:pt idx="322">
                  <c:v>240.40265944392837</c:v>
                </c:pt>
                <c:pt idx="323">
                  <c:v>235.41300832505013</c:v>
                </c:pt>
                <c:pt idx="324">
                  <c:v>228.47993034256086</c:v>
                </c:pt>
                <c:pt idx="325">
                  <c:v>220.88955553040398</c:v>
                </c:pt>
                <c:pt idx="326">
                  <c:v>219.85741292539953</c:v>
                </c:pt>
                <c:pt idx="327">
                  <c:v>214.52883174747609</c:v>
                </c:pt>
                <c:pt idx="328">
                  <c:v>207.949700067349</c:v>
                </c:pt>
                <c:pt idx="329">
                  <c:v>221.54993405179709</c:v>
                </c:pt>
                <c:pt idx="330">
                  <c:v>218.96036047948883</c:v>
                </c:pt>
                <c:pt idx="331">
                  <c:v>207.80396406411262</c:v>
                </c:pt>
                <c:pt idx="332">
                  <c:v>195.67935613934628</c:v>
                </c:pt>
                <c:pt idx="333">
                  <c:v>208.63490021482193</c:v>
                </c:pt>
                <c:pt idx="334">
                  <c:v>203.72587735763426</c:v>
                </c:pt>
                <c:pt idx="335">
                  <c:v>207.93502000858393</c:v>
                </c:pt>
                <c:pt idx="336">
                  <c:v>205.77318524777363</c:v>
                </c:pt>
                <c:pt idx="337">
                  <c:v>211.22195240299115</c:v>
                </c:pt>
                <c:pt idx="338">
                  <c:v>220.07251500783869</c:v>
                </c:pt>
                <c:pt idx="339">
                  <c:v>221.44947090154611</c:v>
                </c:pt>
                <c:pt idx="340">
                  <c:v>228.7855781309708</c:v>
                </c:pt>
                <c:pt idx="341">
                  <c:v>225.54459095865269</c:v>
                </c:pt>
                <c:pt idx="342">
                  <c:v>216.59843987955631</c:v>
                </c:pt>
                <c:pt idx="343">
                  <c:v>209.3047479344261</c:v>
                </c:pt>
                <c:pt idx="344">
                  <c:v>217.26156390812301</c:v>
                </c:pt>
                <c:pt idx="345">
                  <c:v>206.78325173387182</c:v>
                </c:pt>
                <c:pt idx="346">
                  <c:v>196.84883013379027</c:v>
                </c:pt>
                <c:pt idx="347">
                  <c:v>191.24681885367792</c:v>
                </c:pt>
                <c:pt idx="348">
                  <c:v>194.23180148974583</c:v>
                </c:pt>
                <c:pt idx="349">
                  <c:v>190.75755826918746</c:v>
                </c:pt>
                <c:pt idx="350">
                  <c:v>199.87219383953015</c:v>
                </c:pt>
                <c:pt idx="351">
                  <c:v>207.76283748726701</c:v>
                </c:pt>
                <c:pt idx="352">
                  <c:v>200.56888029252539</c:v>
                </c:pt>
                <c:pt idx="353">
                  <c:v>212.71590052074987</c:v>
                </c:pt>
                <c:pt idx="354">
                  <c:v>210.94079005610919</c:v>
                </c:pt>
                <c:pt idx="355">
                  <c:v>214.08181835500417</c:v>
                </c:pt>
                <c:pt idx="356">
                  <c:v>216.61917126025503</c:v>
                </c:pt>
                <c:pt idx="357">
                  <c:v>209.1231522456568</c:v>
                </c:pt>
                <c:pt idx="358">
                  <c:v>204.75914057781162</c:v>
                </c:pt>
                <c:pt idx="359">
                  <c:v>204.22746470902666</c:v>
                </c:pt>
                <c:pt idx="360">
                  <c:v>203.96277540518645</c:v>
                </c:pt>
                <c:pt idx="361">
                  <c:v>206.82152074202654</c:v>
                </c:pt>
                <c:pt idx="362">
                  <c:v>212.65303400954991</c:v>
                </c:pt>
                <c:pt idx="363">
                  <c:v>211.40085861534553</c:v>
                </c:pt>
                <c:pt idx="364">
                  <c:v>216.90100597624075</c:v>
                </c:pt>
                <c:pt idx="365">
                  <c:v>220.48708659105506</c:v>
                </c:pt>
                <c:pt idx="366">
                  <c:v>217.77542199565875</c:v>
                </c:pt>
                <c:pt idx="367">
                  <c:v>217.42074729343423</c:v>
                </c:pt>
                <c:pt idx="368">
                  <c:v>211.56766218383245</c:v>
                </c:pt>
                <c:pt idx="369">
                  <c:v>215.69141395860672</c:v>
                </c:pt>
                <c:pt idx="370">
                  <c:v>205.45790016887673</c:v>
                </c:pt>
                <c:pt idx="371">
                  <c:v>208.42063859376245</c:v>
                </c:pt>
                <c:pt idx="372">
                  <c:v>211.21489252740182</c:v>
                </c:pt>
                <c:pt idx="373">
                  <c:v>218.78913048106892</c:v>
                </c:pt>
                <c:pt idx="374">
                  <c:v>218.18579127197668</c:v>
                </c:pt>
                <c:pt idx="375">
                  <c:v>219.99592096077066</c:v>
                </c:pt>
                <c:pt idx="376">
                  <c:v>219.73330479500029</c:v>
                </c:pt>
                <c:pt idx="377">
                  <c:v>221.359933749231</c:v>
                </c:pt>
                <c:pt idx="378">
                  <c:v>219.66892545331683</c:v>
                </c:pt>
                <c:pt idx="379">
                  <c:v>219.17176453185743</c:v>
                </c:pt>
                <c:pt idx="380">
                  <c:v>222.81000978297047</c:v>
                </c:pt>
                <c:pt idx="381">
                  <c:v>223.67008192817531</c:v>
                </c:pt>
                <c:pt idx="382">
                  <c:v>227.96534385516273</c:v>
                </c:pt>
                <c:pt idx="383">
                  <c:v>228.77734160944993</c:v>
                </c:pt>
                <c:pt idx="384">
                  <c:v>234.78501558215393</c:v>
                </c:pt>
                <c:pt idx="385">
                  <c:v>231.38131508673001</c:v>
                </c:pt>
                <c:pt idx="386">
                  <c:v>236.93093760750907</c:v>
                </c:pt>
                <c:pt idx="387">
                  <c:v>234.21462245914518</c:v>
                </c:pt>
                <c:pt idx="388">
                  <c:v>240.20963348039541</c:v>
                </c:pt>
                <c:pt idx="389">
                  <c:v>241.85811443049778</c:v>
                </c:pt>
                <c:pt idx="390">
                  <c:v>244.37114998649659</c:v>
                </c:pt>
                <c:pt idx="391">
                  <c:v>238.77519002831798</c:v>
                </c:pt>
                <c:pt idx="392">
                  <c:v>237.74315948483081</c:v>
                </c:pt>
                <c:pt idx="393">
                  <c:v>232.65915256839395</c:v>
                </c:pt>
                <c:pt idx="394">
                  <c:v>234.56868082302461</c:v>
                </c:pt>
                <c:pt idx="395">
                  <c:v>240.8301741323917</c:v>
                </c:pt>
                <c:pt idx="396">
                  <c:v>237.75139600635163</c:v>
                </c:pt>
                <c:pt idx="397">
                  <c:v>237.25955800696354</c:v>
                </c:pt>
                <c:pt idx="398">
                  <c:v>230.23279659601937</c:v>
                </c:pt>
                <c:pt idx="399">
                  <c:v>228.79202166821503</c:v>
                </c:pt>
                <c:pt idx="400">
                  <c:v>229.82046624314884</c:v>
                </c:pt>
                <c:pt idx="401">
                  <c:v>230.76200711142388</c:v>
                </c:pt>
                <c:pt idx="402">
                  <c:v>225.10390904190766</c:v>
                </c:pt>
                <c:pt idx="403">
                  <c:v>219.26802537520999</c:v>
                </c:pt>
                <c:pt idx="404">
                  <c:v>232.27091544174087</c:v>
                </c:pt>
                <c:pt idx="405">
                  <c:v>235.24956660208187</c:v>
                </c:pt>
                <c:pt idx="406">
                  <c:v>240.69256258915894</c:v>
                </c:pt>
                <c:pt idx="407">
                  <c:v>243.15371366265225</c:v>
                </c:pt>
                <c:pt idx="408">
                  <c:v>245.47708510063688</c:v>
                </c:pt>
                <c:pt idx="409">
                  <c:v>245.99805909452056</c:v>
                </c:pt>
                <c:pt idx="410">
                  <c:v>252.4065210838142</c:v>
                </c:pt>
                <c:pt idx="411">
                  <c:v>254.3271434286566</c:v>
                </c:pt>
                <c:pt idx="412">
                  <c:v>255.05240556856091</c:v>
                </c:pt>
                <c:pt idx="413">
                  <c:v>250.81754479939309</c:v>
                </c:pt>
                <c:pt idx="414">
                  <c:v>255.52844289401108</c:v>
                </c:pt>
                <c:pt idx="415">
                  <c:v>258.54020823271145</c:v>
                </c:pt>
                <c:pt idx="416">
                  <c:v>261.20211751443077</c:v>
                </c:pt>
                <c:pt idx="417">
                  <c:v>264.81739015449921</c:v>
                </c:pt>
                <c:pt idx="418">
                  <c:v>268.63762330969212</c:v>
                </c:pt>
                <c:pt idx="419">
                  <c:v>267.5524195762506</c:v>
                </c:pt>
                <c:pt idx="420">
                  <c:v>271.72351734208013</c:v>
                </c:pt>
                <c:pt idx="421">
                  <c:v>274.46538251638623</c:v>
                </c:pt>
                <c:pt idx="422">
                  <c:v>273.76830384808045</c:v>
                </c:pt>
                <c:pt idx="423">
                  <c:v>273.22542182756644</c:v>
                </c:pt>
                <c:pt idx="424">
                  <c:v>279.54552331047654</c:v>
                </c:pt>
                <c:pt idx="425">
                  <c:v>280.61184467825461</c:v>
                </c:pt>
                <c:pt idx="426">
                  <c:v>277.95822794881479</c:v>
                </c:pt>
                <c:pt idx="427">
                  <c:v>273.59309566579668</c:v>
                </c:pt>
                <c:pt idx="428">
                  <c:v>264.97371597111953</c:v>
                </c:pt>
                <c:pt idx="429">
                  <c:v>272.28606615887861</c:v>
                </c:pt>
                <c:pt idx="430">
                  <c:v>273.83167463610829</c:v>
                </c:pt>
                <c:pt idx="431">
                  <c:v>278.75173555274904</c:v>
                </c:pt>
                <c:pt idx="432">
                  <c:v>283.14841315288442</c:v>
                </c:pt>
                <c:pt idx="433">
                  <c:v>283.05803553918958</c:v>
                </c:pt>
                <c:pt idx="434">
                  <c:v>281.24628095839495</c:v>
                </c:pt>
                <c:pt idx="435">
                  <c:v>284.75744844890045</c:v>
                </c:pt>
                <c:pt idx="436">
                  <c:v>289.24091769417737</c:v>
                </c:pt>
                <c:pt idx="437">
                  <c:v>291.01042508295353</c:v>
                </c:pt>
                <c:pt idx="438">
                  <c:v>290.9641997070712</c:v>
                </c:pt>
                <c:pt idx="439">
                  <c:v>296.59809248885273</c:v>
                </c:pt>
                <c:pt idx="440">
                  <c:v>299.28162964340908</c:v>
                </c:pt>
                <c:pt idx="441">
                  <c:v>293.39436577103368</c:v>
                </c:pt>
                <c:pt idx="442">
                  <c:v>291.01003286764302</c:v>
                </c:pt>
                <c:pt idx="443">
                  <c:v>284.72108448653978</c:v>
                </c:pt>
                <c:pt idx="444">
                  <c:v>284.73839799096112</c:v>
                </c:pt>
                <c:pt idx="445">
                  <c:v>296.02646668915366</c:v>
                </c:pt>
                <c:pt idx="446">
                  <c:v>300.42331238156498</c:v>
                </c:pt>
                <c:pt idx="447">
                  <c:v>301.06150272253456</c:v>
                </c:pt>
                <c:pt idx="448">
                  <c:v>288.08741246594735</c:v>
                </c:pt>
                <c:pt idx="449">
                  <c:v>299.8777969153947</c:v>
                </c:pt>
                <c:pt idx="450">
                  <c:v>304.09063759641492</c:v>
                </c:pt>
                <c:pt idx="451">
                  <c:v>305.97046954896359</c:v>
                </c:pt>
                <c:pt idx="452">
                  <c:v>306.74610334089004</c:v>
                </c:pt>
                <c:pt idx="453">
                  <c:v>310.37090120992821</c:v>
                </c:pt>
                <c:pt idx="454">
                  <c:v>313.06211457841897</c:v>
                </c:pt>
                <c:pt idx="455">
                  <c:v>309.96658325554398</c:v>
                </c:pt>
                <c:pt idx="456">
                  <c:v>305.96206493516684</c:v>
                </c:pt>
                <c:pt idx="457">
                  <c:v>320.66184652726963</c:v>
                </c:pt>
                <c:pt idx="458">
                  <c:v>314.10843296536069</c:v>
                </c:pt>
                <c:pt idx="459">
                  <c:v>320.14955730097597</c:v>
                </c:pt>
                <c:pt idx="460">
                  <c:v>323.33367325326907</c:v>
                </c:pt>
                <c:pt idx="461">
                  <c:v>326.89313925772694</c:v>
                </c:pt>
                <c:pt idx="462">
                  <c:v>324.39629659097659</c:v>
                </c:pt>
                <c:pt idx="463">
                  <c:v>317.68476422817071</c:v>
                </c:pt>
                <c:pt idx="464">
                  <c:v>319.58835322238497</c:v>
                </c:pt>
                <c:pt idx="465">
                  <c:v>318.326316414659</c:v>
                </c:pt>
                <c:pt idx="466">
                  <c:v>312.11071229662235</c:v>
                </c:pt>
                <c:pt idx="467">
                  <c:v>321.46857739024421</c:v>
                </c:pt>
                <c:pt idx="468">
                  <c:v>327.11647786168692</c:v>
                </c:pt>
                <c:pt idx="469">
                  <c:v>324.06173693110571</c:v>
                </c:pt>
                <c:pt idx="470">
                  <c:v>323.285991077662</c:v>
                </c:pt>
                <c:pt idx="471">
                  <c:v>327.99885024883264</c:v>
                </c:pt>
                <c:pt idx="472">
                  <c:v>321.99487430619916</c:v>
                </c:pt>
                <c:pt idx="473">
                  <c:v>318.5832174430476</c:v>
                </c:pt>
                <c:pt idx="474">
                  <c:v>308.29865963219169</c:v>
                </c:pt>
                <c:pt idx="475">
                  <c:v>301.14162670739734</c:v>
                </c:pt>
                <c:pt idx="476">
                  <c:v>302.87420982622621</c:v>
                </c:pt>
                <c:pt idx="477">
                  <c:v>298.06413728880608</c:v>
                </c:pt>
                <c:pt idx="478">
                  <c:v>270.7795671511833</c:v>
                </c:pt>
                <c:pt idx="479">
                  <c:v>286.2044988216731</c:v>
                </c:pt>
                <c:pt idx="480">
                  <c:v>282.17448650611243</c:v>
                </c:pt>
                <c:pt idx="481">
                  <c:v>295.39987471522369</c:v>
                </c:pt>
                <c:pt idx="482">
                  <c:v>303.99902730602992</c:v>
                </c:pt>
                <c:pt idx="483">
                  <c:v>302.81599386799377</c:v>
                </c:pt>
                <c:pt idx="484">
                  <c:v>319.03387283483141</c:v>
                </c:pt>
                <c:pt idx="485">
                  <c:v>310.66898484592105</c:v>
                </c:pt>
                <c:pt idx="486">
                  <c:v>316.57888514478913</c:v>
                </c:pt>
                <c:pt idx="487">
                  <c:v>321.49367917011722</c:v>
                </c:pt>
                <c:pt idx="488">
                  <c:v>319.98942139276778</c:v>
                </c:pt>
                <c:pt idx="489">
                  <c:v>319.60303328115003</c:v>
                </c:pt>
                <c:pt idx="490">
                  <c:v>330.62092166115508</c:v>
                </c:pt>
                <c:pt idx="491">
                  <c:v>336.37203079002245</c:v>
                </c:pt>
                <c:pt idx="492">
                  <c:v>335.09665866173896</c:v>
                </c:pt>
                <c:pt idx="493">
                  <c:v>337.4419941571125</c:v>
                </c:pt>
                <c:pt idx="494">
                  <c:v>342.24668774170271</c:v>
                </c:pt>
                <c:pt idx="495">
                  <c:v>334.22644494921934</c:v>
                </c:pt>
                <c:pt idx="496">
                  <c:v>342.36861067251476</c:v>
                </c:pt>
                <c:pt idx="497">
                  <c:v>345.39023742473665</c:v>
                </c:pt>
                <c:pt idx="498">
                  <c:v>346.32370986376685</c:v>
                </c:pt>
                <c:pt idx="499">
                  <c:v>346.10160393649704</c:v>
                </c:pt>
                <c:pt idx="500">
                  <c:v>347.26345774776524</c:v>
                </c:pt>
                <c:pt idx="501">
                  <c:v>352.86714995063687</c:v>
                </c:pt>
                <c:pt idx="502">
                  <c:v>357.45057806933698</c:v>
                </c:pt>
                <c:pt idx="503">
                  <c:v>356.20355750492791</c:v>
                </c:pt>
                <c:pt idx="504">
                  <c:v>359.86354269039532</c:v>
                </c:pt>
                <c:pt idx="505">
                  <c:v>351.1248735105624</c:v>
                </c:pt>
                <c:pt idx="506">
                  <c:v>356.99672892431028</c:v>
                </c:pt>
                <c:pt idx="507">
                  <c:v>363.90067091230401</c:v>
                </c:pt>
                <c:pt idx="508">
                  <c:v>366.69156300042471</c:v>
                </c:pt>
                <c:pt idx="509">
                  <c:v>360.41398886332638</c:v>
                </c:pt>
                <c:pt idx="510">
                  <c:v>360.33252014025618</c:v>
                </c:pt>
                <c:pt idx="511">
                  <c:v>353.09396246163294</c:v>
                </c:pt>
                <c:pt idx="512">
                  <c:v>366.38557902746294</c:v>
                </c:pt>
                <c:pt idx="513">
                  <c:v>367.7133959458385</c:v>
                </c:pt>
                <c:pt idx="514">
                  <c:v>365.22215635495263</c:v>
                </c:pt>
                <c:pt idx="515">
                  <c:v>365.5534662308221</c:v>
                </c:pt>
                <c:pt idx="516">
                  <c:v>370.60441499965822</c:v>
                </c:pt>
                <c:pt idx="517">
                  <c:v>366.88105902616297</c:v>
                </c:pt>
                <c:pt idx="518">
                  <c:v>372.506659255665</c:v>
                </c:pt>
                <c:pt idx="519">
                  <c:v>371.08555112414513</c:v>
                </c:pt>
                <c:pt idx="520">
                  <c:v>369.58773688403988</c:v>
                </c:pt>
                <c:pt idx="521">
                  <c:v>370.49224142085041</c:v>
                </c:pt>
                <c:pt idx="522">
                  <c:v>369.83388000676854</c:v>
                </c:pt>
                <c:pt idx="523">
                  <c:v>370.401079376534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val>
          <c:smooth val="0"/>
          <c:extLst>
            <c:ext xmlns:c16="http://schemas.microsoft.com/office/drawing/2014/chart" uri="{C3380CC4-5D6E-409C-BE32-E72D297353CC}">
              <c16:uniqueId val="{00000006-7DF5-4049-9C18-76D54EAFDC14}"/>
            </c:ext>
          </c:extLst>
        </c:ser>
        <c:ser>
          <c:idx val="7"/>
          <c:order val="7"/>
          <c:tx>
            <c:strRef>
              <c:f>USA!$BB$7</c:f>
              <c:strCache>
                <c:ptCount val="1"/>
                <c:pt idx="0">
                  <c:v>USA fwd Earnings (rhs)</c:v>
                </c:pt>
              </c:strCache>
            </c:strRef>
          </c:tx>
          <c:spPr>
            <a:ln w="19050" cap="rnd" cmpd="sng" algn="ctr">
              <a:solidFill>
                <a:srgbClr val="B98E2C"/>
              </a:solidFill>
              <a:prstDash val="solid"/>
              <a:round/>
              <a:headEnd type="none" w="med" len="med"/>
              <a:tailEnd type="none" w="med" len="med"/>
            </a:ln>
            <a:effectLst/>
          </c:spPr>
          <c:marker>
            <c:symbol val="none"/>
          </c:marker>
          <c:val>
            <c:numRef>
              <c:f>USA!$BB$9:$BB$900</c:f>
              <c:numCache>
                <c:formatCode>0.00</c:formatCode>
                <c:ptCount val="892"/>
                <c:pt idx="0">
                  <c:v>100</c:v>
                </c:pt>
                <c:pt idx="1">
                  <c:v>100.04168113928446</c:v>
                </c:pt>
                <c:pt idx="2">
                  <c:v>98.168634942688442</c:v>
                </c:pt>
                <c:pt idx="3">
                  <c:v>99.118617575547063</c:v>
                </c:pt>
                <c:pt idx="4">
                  <c:v>99.687391455366452</c:v>
                </c:pt>
                <c:pt idx="5">
                  <c:v>99.446856547412295</c:v>
                </c:pt>
                <c:pt idx="6">
                  <c:v>99.233240708579373</c:v>
                </c:pt>
                <c:pt idx="7">
                  <c:v>100.4150746787079</c:v>
                </c:pt>
                <c:pt idx="8">
                  <c:v>99.182875998610626</c:v>
                </c:pt>
                <c:pt idx="9">
                  <c:v>99.473775616533516</c:v>
                </c:pt>
                <c:pt idx="10">
                  <c:v>99.395623480375122</c:v>
                </c:pt>
                <c:pt idx="11">
                  <c:v>100.22143105244878</c:v>
                </c:pt>
                <c:pt idx="12">
                  <c:v>99.821986800972567</c:v>
                </c:pt>
                <c:pt idx="13">
                  <c:v>101.8548106981591</c:v>
                </c:pt>
                <c:pt idx="14">
                  <c:v>102.16655088572422</c:v>
                </c:pt>
                <c:pt idx="15">
                  <c:v>101.39023966655087</c:v>
                </c:pt>
                <c:pt idx="16">
                  <c:v>100.44980896144496</c:v>
                </c:pt>
                <c:pt idx="17">
                  <c:v>102.15439388676624</c:v>
                </c:pt>
                <c:pt idx="18">
                  <c:v>101.52222994095172</c:v>
                </c:pt>
                <c:pt idx="19">
                  <c:v>101.98419590135464</c:v>
                </c:pt>
                <c:pt idx="20">
                  <c:v>101.95467176102815</c:v>
                </c:pt>
                <c:pt idx="21">
                  <c:v>99.911427579020511</c:v>
                </c:pt>
                <c:pt idx="22">
                  <c:v>102.00503647099688</c:v>
                </c:pt>
                <c:pt idx="23">
                  <c:v>102.46526571726294</c:v>
                </c:pt>
                <c:pt idx="24">
                  <c:v>102.03369225425496</c:v>
                </c:pt>
                <c:pt idx="25">
                  <c:v>102.6406738450851</c:v>
                </c:pt>
                <c:pt idx="26">
                  <c:v>103.03403959708233</c:v>
                </c:pt>
                <c:pt idx="27">
                  <c:v>103.59412990621743</c:v>
                </c:pt>
                <c:pt idx="28">
                  <c:v>103.13303230288295</c:v>
                </c:pt>
                <c:pt idx="29">
                  <c:v>103.86158388329281</c:v>
                </c:pt>
                <c:pt idx="30">
                  <c:v>104.35481069815908</c:v>
                </c:pt>
                <c:pt idx="31">
                  <c:v>104.1064605765891</c:v>
                </c:pt>
                <c:pt idx="32">
                  <c:v>104.05001736714136</c:v>
                </c:pt>
                <c:pt idx="33">
                  <c:v>102.76050712052796</c:v>
                </c:pt>
                <c:pt idx="34">
                  <c:v>103.48819034386941</c:v>
                </c:pt>
                <c:pt idx="35">
                  <c:v>104.73862452240361</c:v>
                </c:pt>
                <c:pt idx="36">
                  <c:v>104.90621743660995</c:v>
                </c:pt>
                <c:pt idx="37">
                  <c:v>104.83067037165684</c:v>
                </c:pt>
                <c:pt idx="38">
                  <c:v>105.25182354984371</c:v>
                </c:pt>
                <c:pt idx="39">
                  <c:v>106.57606807919417</c:v>
                </c:pt>
                <c:pt idx="40">
                  <c:v>104.63094824591872</c:v>
                </c:pt>
                <c:pt idx="41">
                  <c:v>105.9030913511636</c:v>
                </c:pt>
                <c:pt idx="42">
                  <c:v>105.70684265369921</c:v>
                </c:pt>
                <c:pt idx="43">
                  <c:v>107.09274053490796</c:v>
                </c:pt>
                <c:pt idx="44">
                  <c:v>105.14414727335881</c:v>
                </c:pt>
                <c:pt idx="45">
                  <c:v>107.49478985758944</c:v>
                </c:pt>
                <c:pt idx="46">
                  <c:v>106.91559569294895</c:v>
                </c:pt>
                <c:pt idx="47">
                  <c:v>107.56078499478987</c:v>
                </c:pt>
                <c:pt idx="48">
                  <c:v>106.98159083014936</c:v>
                </c:pt>
                <c:pt idx="49">
                  <c:v>107.45831886071554</c:v>
                </c:pt>
                <c:pt idx="50">
                  <c:v>107.61722820423758</c:v>
                </c:pt>
                <c:pt idx="51">
                  <c:v>106.79576241750608</c:v>
                </c:pt>
                <c:pt idx="52">
                  <c:v>108.22420979506772</c:v>
                </c:pt>
                <c:pt idx="53">
                  <c:v>107.86818339701286</c:v>
                </c:pt>
                <c:pt idx="54">
                  <c:v>107.29593608891976</c:v>
                </c:pt>
                <c:pt idx="55">
                  <c:v>107.9289683918027</c:v>
                </c:pt>
                <c:pt idx="56">
                  <c:v>107.37669329628343</c:v>
                </c:pt>
                <c:pt idx="57">
                  <c:v>108.75390760680791</c:v>
                </c:pt>
                <c:pt idx="58">
                  <c:v>107.57381035081626</c:v>
                </c:pt>
                <c:pt idx="59">
                  <c:v>108.30236193122613</c:v>
                </c:pt>
                <c:pt idx="60">
                  <c:v>108.44303577631122</c:v>
                </c:pt>
                <c:pt idx="61">
                  <c:v>110.08336227856897</c:v>
                </c:pt>
                <c:pt idx="62">
                  <c:v>110.16846127127475</c:v>
                </c:pt>
                <c:pt idx="63">
                  <c:v>110.01649878430011</c:v>
                </c:pt>
                <c:pt idx="64">
                  <c:v>109.99044807224732</c:v>
                </c:pt>
                <c:pt idx="65">
                  <c:v>111.24956582146579</c:v>
                </c:pt>
                <c:pt idx="66">
                  <c:v>110.92740534907955</c:v>
                </c:pt>
                <c:pt idx="67">
                  <c:v>113.11219173324069</c:v>
                </c:pt>
                <c:pt idx="68">
                  <c:v>110.87877735324767</c:v>
                </c:pt>
                <c:pt idx="69">
                  <c:v>112.24643973601947</c:v>
                </c:pt>
                <c:pt idx="70">
                  <c:v>111.78186870441127</c:v>
                </c:pt>
                <c:pt idx="71">
                  <c:v>112.03369225425494</c:v>
                </c:pt>
                <c:pt idx="72">
                  <c:v>112.13268496005557</c:v>
                </c:pt>
                <c:pt idx="73">
                  <c:v>111.06113233761722</c:v>
                </c:pt>
                <c:pt idx="74">
                  <c:v>112.97325460229246</c:v>
                </c:pt>
                <c:pt idx="75">
                  <c:v>112.08405696422368</c:v>
                </c:pt>
                <c:pt idx="76">
                  <c:v>112.06668982285517</c:v>
                </c:pt>
                <c:pt idx="77">
                  <c:v>112.76137547759639</c:v>
                </c:pt>
                <c:pt idx="78">
                  <c:v>113.83813824244531</c:v>
                </c:pt>
                <c:pt idx="79">
                  <c:v>113.96491837443557</c:v>
                </c:pt>
                <c:pt idx="80">
                  <c:v>113.64102118791249</c:v>
                </c:pt>
                <c:pt idx="81">
                  <c:v>114.19242792636332</c:v>
                </c:pt>
                <c:pt idx="82">
                  <c:v>113.25199722125738</c:v>
                </c:pt>
                <c:pt idx="83">
                  <c:v>114.27492184786384</c:v>
                </c:pt>
                <c:pt idx="84">
                  <c:v>114.52587704063913</c:v>
                </c:pt>
                <c:pt idx="85">
                  <c:v>114.45119833275443</c:v>
                </c:pt>
                <c:pt idx="86">
                  <c:v>114.13077457450503</c:v>
                </c:pt>
                <c:pt idx="87">
                  <c:v>115.39857589440778</c:v>
                </c:pt>
                <c:pt idx="88">
                  <c:v>115.29003126085446</c:v>
                </c:pt>
                <c:pt idx="89">
                  <c:v>115.55314345258772</c:v>
                </c:pt>
                <c:pt idx="90">
                  <c:v>116.08718304967003</c:v>
                </c:pt>
                <c:pt idx="91">
                  <c:v>116.56998957971518</c:v>
                </c:pt>
                <c:pt idx="92">
                  <c:v>116.7176102813477</c:v>
                </c:pt>
                <c:pt idx="93">
                  <c:v>117.53473428273706</c:v>
                </c:pt>
                <c:pt idx="94">
                  <c:v>117.08579367836056</c:v>
                </c:pt>
                <c:pt idx="95">
                  <c:v>117.02153525529697</c:v>
                </c:pt>
                <c:pt idx="96">
                  <c:v>117.64327891629038</c:v>
                </c:pt>
                <c:pt idx="97">
                  <c:v>117.73098298020146</c:v>
                </c:pt>
                <c:pt idx="98">
                  <c:v>118.26936436262592</c:v>
                </c:pt>
                <c:pt idx="99">
                  <c:v>118.38919763806877</c:v>
                </c:pt>
                <c:pt idx="100">
                  <c:v>119.47551233067037</c:v>
                </c:pt>
                <c:pt idx="101">
                  <c:v>122.17436609934005</c:v>
                </c:pt>
                <c:pt idx="102">
                  <c:v>122.21344216741925</c:v>
                </c:pt>
                <c:pt idx="103">
                  <c:v>124.65265717262939</c:v>
                </c:pt>
                <c:pt idx="104">
                  <c:v>127.37148315387287</c:v>
                </c:pt>
                <c:pt idx="105">
                  <c:v>128.99010072941991</c:v>
                </c:pt>
                <c:pt idx="106">
                  <c:v>127.20736366794026</c:v>
                </c:pt>
                <c:pt idx="107">
                  <c:v>129.83067037165682</c:v>
                </c:pt>
                <c:pt idx="108">
                  <c:v>131.81052448766934</c:v>
                </c:pt>
                <c:pt idx="109">
                  <c:v>130.41420632163948</c:v>
                </c:pt>
                <c:pt idx="110">
                  <c:v>131.12799583188607</c:v>
                </c:pt>
                <c:pt idx="111">
                  <c:v>130.69034386939907</c:v>
                </c:pt>
                <c:pt idx="112">
                  <c:v>130.96908648836404</c:v>
                </c:pt>
                <c:pt idx="113">
                  <c:v>130.1372004168114</c:v>
                </c:pt>
                <c:pt idx="114">
                  <c:v>132.4105592219521</c:v>
                </c:pt>
                <c:pt idx="115">
                  <c:v>131.79489406043766</c:v>
                </c:pt>
                <c:pt idx="116">
                  <c:v>132.38277179576241</c:v>
                </c:pt>
                <c:pt idx="117">
                  <c:v>135.33171240013894</c:v>
                </c:pt>
                <c:pt idx="118">
                  <c:v>133.35098992705801</c:v>
                </c:pt>
                <c:pt idx="119">
                  <c:v>134.28881556095865</c:v>
                </c:pt>
                <c:pt idx="120">
                  <c:v>134.65005210142408</c:v>
                </c:pt>
                <c:pt idx="121">
                  <c:v>133.46995484543245</c:v>
                </c:pt>
                <c:pt idx="122">
                  <c:v>134.90100729419939</c:v>
                </c:pt>
                <c:pt idx="123">
                  <c:v>136.7931573463008</c:v>
                </c:pt>
                <c:pt idx="124">
                  <c:v>135.98124348732199</c:v>
                </c:pt>
                <c:pt idx="125">
                  <c:v>137.67540812782215</c:v>
                </c:pt>
                <c:pt idx="126">
                  <c:v>137.68061827023271</c:v>
                </c:pt>
                <c:pt idx="127">
                  <c:v>138.69312261201807</c:v>
                </c:pt>
                <c:pt idx="128">
                  <c:v>137.58509899270581</c:v>
                </c:pt>
                <c:pt idx="129">
                  <c:v>136.92514762070164</c:v>
                </c:pt>
                <c:pt idx="130">
                  <c:v>139.95397707537339</c:v>
                </c:pt>
                <c:pt idx="131">
                  <c:v>139.93400486279958</c:v>
                </c:pt>
                <c:pt idx="132">
                  <c:v>141.01684612712748</c:v>
                </c:pt>
                <c:pt idx="133">
                  <c:v>139.99478985758944</c:v>
                </c:pt>
                <c:pt idx="134">
                  <c:v>139.29663077457451</c:v>
                </c:pt>
                <c:pt idx="135">
                  <c:v>141.59169850642584</c:v>
                </c:pt>
                <c:pt idx="136">
                  <c:v>141.16967697117056</c:v>
                </c:pt>
                <c:pt idx="137">
                  <c:v>141.13754775963875</c:v>
                </c:pt>
                <c:pt idx="138">
                  <c:v>141.62469607502607</c:v>
                </c:pt>
                <c:pt idx="139">
                  <c:v>142.18912816950331</c:v>
                </c:pt>
                <c:pt idx="140">
                  <c:v>146.90257033692257</c:v>
                </c:pt>
                <c:pt idx="141">
                  <c:v>142.34803751302536</c:v>
                </c:pt>
                <c:pt idx="142">
                  <c:v>146.86349426884334</c:v>
                </c:pt>
                <c:pt idx="143">
                  <c:v>141.4623133032303</c:v>
                </c:pt>
                <c:pt idx="144">
                  <c:v>139.75164987843002</c:v>
                </c:pt>
                <c:pt idx="145">
                  <c:v>143.66880861410215</c:v>
                </c:pt>
                <c:pt idx="146">
                  <c:v>141.66724557137894</c:v>
                </c:pt>
                <c:pt idx="147">
                  <c:v>138.81816602987149</c:v>
                </c:pt>
                <c:pt idx="148">
                  <c:v>142.65456755817993</c:v>
                </c:pt>
                <c:pt idx="149">
                  <c:v>141.35637374088225</c:v>
                </c:pt>
                <c:pt idx="150">
                  <c:v>143.67315039944427</c:v>
                </c:pt>
                <c:pt idx="151">
                  <c:v>134.57276832233413</c:v>
                </c:pt>
                <c:pt idx="152">
                  <c:v>141.81573463007987</c:v>
                </c:pt>
                <c:pt idx="153">
                  <c:v>140.1372004168114</c:v>
                </c:pt>
                <c:pt idx="154">
                  <c:v>139.95484543244183</c:v>
                </c:pt>
                <c:pt idx="155">
                  <c:v>139.40257033692254</c:v>
                </c:pt>
                <c:pt idx="156">
                  <c:v>136.86349426884334</c:v>
                </c:pt>
                <c:pt idx="157">
                  <c:v>140.20753733935393</c:v>
                </c:pt>
                <c:pt idx="158">
                  <c:v>139.28447377561653</c:v>
                </c:pt>
                <c:pt idx="159">
                  <c:v>139.18982285515804</c:v>
                </c:pt>
                <c:pt idx="160">
                  <c:v>139.20979506773185</c:v>
                </c:pt>
                <c:pt idx="161">
                  <c:v>140.9256686349427</c:v>
                </c:pt>
                <c:pt idx="162">
                  <c:v>139.00486279958321</c:v>
                </c:pt>
                <c:pt idx="163">
                  <c:v>140.24227162209101</c:v>
                </c:pt>
                <c:pt idx="164">
                  <c:v>140.41246960750263</c:v>
                </c:pt>
                <c:pt idx="165">
                  <c:v>140.81191385897881</c:v>
                </c:pt>
                <c:pt idx="166">
                  <c:v>140.22403612365406</c:v>
                </c:pt>
                <c:pt idx="167">
                  <c:v>141.2070163251129</c:v>
                </c:pt>
                <c:pt idx="168">
                  <c:v>141.35029524140324</c:v>
                </c:pt>
                <c:pt idx="169">
                  <c:v>143.25112886418896</c:v>
                </c:pt>
                <c:pt idx="170">
                  <c:v>142.3037513025356</c:v>
                </c:pt>
                <c:pt idx="171">
                  <c:v>141.21830496700244</c:v>
                </c:pt>
                <c:pt idx="172">
                  <c:v>142.35845779784648</c:v>
                </c:pt>
                <c:pt idx="173">
                  <c:v>142.86210489753387</c:v>
                </c:pt>
                <c:pt idx="174">
                  <c:v>140.54793331017714</c:v>
                </c:pt>
                <c:pt idx="175">
                  <c:v>141.83744355679056</c:v>
                </c:pt>
                <c:pt idx="176">
                  <c:v>140.88572420979509</c:v>
                </c:pt>
                <c:pt idx="177">
                  <c:v>141.18791246960751</c:v>
                </c:pt>
                <c:pt idx="178">
                  <c:v>141.06894755123309</c:v>
                </c:pt>
                <c:pt idx="179">
                  <c:v>141.46318166029872</c:v>
                </c:pt>
                <c:pt idx="180">
                  <c:v>142.5955192775269</c:v>
                </c:pt>
                <c:pt idx="181">
                  <c:v>140.68339701285169</c:v>
                </c:pt>
                <c:pt idx="182">
                  <c:v>144.04914901007294</c:v>
                </c:pt>
                <c:pt idx="183">
                  <c:v>142.0258770406391</c:v>
                </c:pt>
                <c:pt idx="184">
                  <c:v>146.43886766238279</c:v>
                </c:pt>
                <c:pt idx="185">
                  <c:v>140.73549843695727</c:v>
                </c:pt>
                <c:pt idx="186">
                  <c:v>141.05505383813824</c:v>
                </c:pt>
                <c:pt idx="187">
                  <c:v>141.07676276484889</c:v>
                </c:pt>
                <c:pt idx="188">
                  <c:v>141.60819729072594</c:v>
                </c:pt>
                <c:pt idx="189">
                  <c:v>142.61114970475859</c:v>
                </c:pt>
                <c:pt idx="190">
                  <c:v>141.61080236193123</c:v>
                </c:pt>
                <c:pt idx="191">
                  <c:v>146.12799583188607</c:v>
                </c:pt>
                <c:pt idx="192">
                  <c:v>141.89215005210144</c:v>
                </c:pt>
                <c:pt idx="193">
                  <c:v>142.9124696075026</c:v>
                </c:pt>
                <c:pt idx="194">
                  <c:v>142.01024661340742</c:v>
                </c:pt>
                <c:pt idx="195">
                  <c:v>141.55175408127823</c:v>
                </c:pt>
                <c:pt idx="196">
                  <c:v>142.97499131642931</c:v>
                </c:pt>
                <c:pt idx="197">
                  <c:v>142.63112191733239</c:v>
                </c:pt>
                <c:pt idx="198">
                  <c:v>142.84560611323377</c:v>
                </c:pt>
                <c:pt idx="199">
                  <c:v>141.89736019451198</c:v>
                </c:pt>
                <c:pt idx="200">
                  <c:v>141.88693990969085</c:v>
                </c:pt>
                <c:pt idx="201">
                  <c:v>142.27856894755124</c:v>
                </c:pt>
                <c:pt idx="202">
                  <c:v>142.61028134769015</c:v>
                </c:pt>
                <c:pt idx="203">
                  <c:v>142.48436957276834</c:v>
                </c:pt>
                <c:pt idx="204">
                  <c:v>143.77387981938173</c:v>
                </c:pt>
                <c:pt idx="205">
                  <c:v>142.87686696769711</c:v>
                </c:pt>
                <c:pt idx="206">
                  <c:v>143.20597429663079</c:v>
                </c:pt>
                <c:pt idx="207">
                  <c:v>143.39874956582148</c:v>
                </c:pt>
                <c:pt idx="208">
                  <c:v>143.78516846127127</c:v>
                </c:pt>
                <c:pt idx="209">
                  <c:v>142.94373046196597</c:v>
                </c:pt>
                <c:pt idx="210">
                  <c:v>143.21118443904132</c:v>
                </c:pt>
                <c:pt idx="211">
                  <c:v>143.65404654393885</c:v>
                </c:pt>
                <c:pt idx="212">
                  <c:v>144.2341090656478</c:v>
                </c:pt>
                <c:pt idx="213">
                  <c:v>138.1252170892671</c:v>
                </c:pt>
                <c:pt idx="214">
                  <c:v>149.99739492879471</c:v>
                </c:pt>
                <c:pt idx="215">
                  <c:v>139.67436609934006</c:v>
                </c:pt>
                <c:pt idx="216">
                  <c:v>135.56616880861409</c:v>
                </c:pt>
                <c:pt idx="217">
                  <c:v>132.54428621048976</c:v>
                </c:pt>
                <c:pt idx="218">
                  <c:v>127.42532129211533</c:v>
                </c:pt>
                <c:pt idx="219">
                  <c:v>122.23601945119833</c:v>
                </c:pt>
                <c:pt idx="220">
                  <c:v>118.45519277526921</c:v>
                </c:pt>
                <c:pt idx="221">
                  <c:v>115.88572420979509</c:v>
                </c:pt>
                <c:pt idx="222">
                  <c:v>116.24782910732894</c:v>
                </c:pt>
                <c:pt idx="223">
                  <c:v>115.05991663772141</c:v>
                </c:pt>
                <c:pt idx="224">
                  <c:v>114.72646752344563</c:v>
                </c:pt>
                <c:pt idx="225">
                  <c:v>114.39388676623827</c:v>
                </c:pt>
                <c:pt idx="226">
                  <c:v>116.12886418895452</c:v>
                </c:pt>
                <c:pt idx="227">
                  <c:v>116.06200069468566</c:v>
                </c:pt>
                <c:pt idx="228">
                  <c:v>116.10628690517541</c:v>
                </c:pt>
                <c:pt idx="229">
                  <c:v>116.09847169155958</c:v>
                </c:pt>
                <c:pt idx="230">
                  <c:v>118.69746439736019</c:v>
                </c:pt>
                <c:pt idx="231">
                  <c:v>118.54463355331713</c:v>
                </c:pt>
                <c:pt idx="232">
                  <c:v>118.63841611670718</c:v>
                </c:pt>
                <c:pt idx="233">
                  <c:v>119.58666203542899</c:v>
                </c:pt>
                <c:pt idx="234">
                  <c:v>120.32476554359152</c:v>
                </c:pt>
                <c:pt idx="235">
                  <c:v>123.96926015977772</c:v>
                </c:pt>
                <c:pt idx="236">
                  <c:v>123.95797151788817</c:v>
                </c:pt>
                <c:pt idx="237">
                  <c:v>124.2210837096214</c:v>
                </c:pt>
                <c:pt idx="238">
                  <c:v>124.44425147620701</c:v>
                </c:pt>
                <c:pt idx="239">
                  <c:v>126.32424452935047</c:v>
                </c:pt>
                <c:pt idx="240">
                  <c:v>126.36853073984025</c:v>
                </c:pt>
                <c:pt idx="241">
                  <c:v>126.64901007294198</c:v>
                </c:pt>
                <c:pt idx="242">
                  <c:v>126.78794720389024</c:v>
                </c:pt>
                <c:pt idx="243">
                  <c:v>128.77474817645015</c:v>
                </c:pt>
                <c:pt idx="244">
                  <c:v>128.82858631469261</c:v>
                </c:pt>
                <c:pt idx="245">
                  <c:v>129.25321292115319</c:v>
                </c:pt>
                <c:pt idx="246">
                  <c:v>129.5936088919764</c:v>
                </c:pt>
                <c:pt idx="247">
                  <c:v>130.31521361583884</c:v>
                </c:pt>
                <c:pt idx="248">
                  <c:v>133.10784994789859</c:v>
                </c:pt>
                <c:pt idx="249">
                  <c:v>133.51424105592221</c:v>
                </c:pt>
                <c:pt idx="250">
                  <c:v>133.44477249044809</c:v>
                </c:pt>
                <c:pt idx="251">
                  <c:v>134.09690864883638</c:v>
                </c:pt>
                <c:pt idx="252">
                  <c:v>135.0981243487322</c:v>
                </c:pt>
                <c:pt idx="253">
                  <c:v>135.41333796457104</c:v>
                </c:pt>
                <c:pt idx="254">
                  <c:v>135.72247308093088</c:v>
                </c:pt>
                <c:pt idx="255">
                  <c:v>136.0411601250434</c:v>
                </c:pt>
                <c:pt idx="256">
                  <c:v>136.11670718999653</c:v>
                </c:pt>
                <c:pt idx="257">
                  <c:v>138.49079541507467</c:v>
                </c:pt>
                <c:pt idx="258">
                  <c:v>139.16811392844735</c:v>
                </c:pt>
                <c:pt idx="259">
                  <c:v>140.2717957624175</c:v>
                </c:pt>
                <c:pt idx="260">
                  <c:v>142.08926710663425</c:v>
                </c:pt>
                <c:pt idx="261">
                  <c:v>145.15369920111149</c:v>
                </c:pt>
                <c:pt idx="262">
                  <c:v>145.69989579715181</c:v>
                </c:pt>
                <c:pt idx="263">
                  <c:v>145.7884682181313</c:v>
                </c:pt>
                <c:pt idx="264">
                  <c:v>146.21830496700244</c:v>
                </c:pt>
                <c:pt idx="265">
                  <c:v>147.71361583883294</c:v>
                </c:pt>
                <c:pt idx="266">
                  <c:v>148.14605765890934</c:v>
                </c:pt>
                <c:pt idx="267">
                  <c:v>148.42827370614796</c:v>
                </c:pt>
                <c:pt idx="268">
                  <c:v>148.67922889892324</c:v>
                </c:pt>
                <c:pt idx="269">
                  <c:v>150.8700937825634</c:v>
                </c:pt>
                <c:pt idx="270">
                  <c:v>151.29819381729769</c:v>
                </c:pt>
                <c:pt idx="271">
                  <c:v>152.41576936436263</c:v>
                </c:pt>
                <c:pt idx="272">
                  <c:v>153.87547759638764</c:v>
                </c:pt>
                <c:pt idx="273">
                  <c:v>157.07189996526571</c:v>
                </c:pt>
                <c:pt idx="274">
                  <c:v>160.66950329975685</c:v>
                </c:pt>
                <c:pt idx="275">
                  <c:v>161.17749218478639</c:v>
                </c:pt>
                <c:pt idx="276">
                  <c:v>161.71153178186873</c:v>
                </c:pt>
                <c:pt idx="277">
                  <c:v>162.21170545328238</c:v>
                </c:pt>
                <c:pt idx="278">
                  <c:v>163.1477943730462</c:v>
                </c:pt>
                <c:pt idx="279">
                  <c:v>163.48298020145884</c:v>
                </c:pt>
                <c:pt idx="280">
                  <c:v>163.60541854810697</c:v>
                </c:pt>
                <c:pt idx="281">
                  <c:v>163.95536644668289</c:v>
                </c:pt>
                <c:pt idx="282">
                  <c:v>165.78499478985759</c:v>
                </c:pt>
                <c:pt idx="283">
                  <c:v>165.8865925668635</c:v>
                </c:pt>
                <c:pt idx="284">
                  <c:v>166.41108023619313</c:v>
                </c:pt>
                <c:pt idx="285">
                  <c:v>167.14831538728725</c:v>
                </c:pt>
                <c:pt idx="286">
                  <c:v>169.61097603334491</c:v>
                </c:pt>
                <c:pt idx="287">
                  <c:v>172.04932268148661</c:v>
                </c:pt>
                <c:pt idx="288">
                  <c:v>172.47568600208405</c:v>
                </c:pt>
                <c:pt idx="289">
                  <c:v>172.83344911427579</c:v>
                </c:pt>
                <c:pt idx="290">
                  <c:v>173.06009030913512</c:v>
                </c:pt>
                <c:pt idx="291">
                  <c:v>172.94286210489753</c:v>
                </c:pt>
                <c:pt idx="292">
                  <c:v>173.22941993747833</c:v>
                </c:pt>
                <c:pt idx="293">
                  <c:v>173.26936436262594</c:v>
                </c:pt>
                <c:pt idx="294">
                  <c:v>173.62452240361236</c:v>
                </c:pt>
                <c:pt idx="295">
                  <c:v>173.01493574157695</c:v>
                </c:pt>
                <c:pt idx="296">
                  <c:v>174.57016325112886</c:v>
                </c:pt>
                <c:pt idx="297">
                  <c:v>174.79419937478292</c:v>
                </c:pt>
                <c:pt idx="298">
                  <c:v>175.43157346300796</c:v>
                </c:pt>
                <c:pt idx="299">
                  <c:v>175.78933657519974</c:v>
                </c:pt>
                <c:pt idx="300">
                  <c:v>177.25164987843002</c:v>
                </c:pt>
                <c:pt idx="301">
                  <c:v>177.47742271622093</c:v>
                </c:pt>
                <c:pt idx="302">
                  <c:v>177.88641889544982</c:v>
                </c:pt>
                <c:pt idx="303">
                  <c:v>178.13911080236196</c:v>
                </c:pt>
                <c:pt idx="304">
                  <c:v>178.31625564432093</c:v>
                </c:pt>
                <c:pt idx="305">
                  <c:v>178.54029176797499</c:v>
                </c:pt>
                <c:pt idx="306">
                  <c:v>178.95710316081971</c:v>
                </c:pt>
                <c:pt idx="307">
                  <c:v>179.09169850642584</c:v>
                </c:pt>
                <c:pt idx="308">
                  <c:v>179.12556443209448</c:v>
                </c:pt>
                <c:pt idx="309">
                  <c:v>180.96561306009031</c:v>
                </c:pt>
                <c:pt idx="310">
                  <c:v>181.20962139631817</c:v>
                </c:pt>
                <c:pt idx="311">
                  <c:v>181.26345953456061</c:v>
                </c:pt>
                <c:pt idx="312">
                  <c:v>181.59864536297326</c:v>
                </c:pt>
                <c:pt idx="313">
                  <c:v>184.30878777353249</c:v>
                </c:pt>
                <c:pt idx="314">
                  <c:v>184.0543591524835</c:v>
                </c:pt>
                <c:pt idx="315">
                  <c:v>184.53716568252867</c:v>
                </c:pt>
                <c:pt idx="316">
                  <c:v>184.48766932962835</c:v>
                </c:pt>
                <c:pt idx="317">
                  <c:v>185.61306009030915</c:v>
                </c:pt>
                <c:pt idx="318">
                  <c:v>186.10802361931226</c:v>
                </c:pt>
                <c:pt idx="319">
                  <c:v>186.81226120180619</c:v>
                </c:pt>
                <c:pt idx="320">
                  <c:v>186.99808961444947</c:v>
                </c:pt>
                <c:pt idx="321">
                  <c:v>187.04671761028135</c:v>
                </c:pt>
                <c:pt idx="322">
                  <c:v>188.841611670719</c:v>
                </c:pt>
                <c:pt idx="323">
                  <c:v>188.21899965265715</c:v>
                </c:pt>
                <c:pt idx="324">
                  <c:v>189.31660298714831</c:v>
                </c:pt>
                <c:pt idx="325">
                  <c:v>189.30270927405351</c:v>
                </c:pt>
                <c:pt idx="326">
                  <c:v>189.87235151094131</c:v>
                </c:pt>
                <c:pt idx="327">
                  <c:v>190.17280305661689</c:v>
                </c:pt>
                <c:pt idx="328">
                  <c:v>190.26571726293852</c:v>
                </c:pt>
                <c:pt idx="329">
                  <c:v>190.34213268496006</c:v>
                </c:pt>
                <c:pt idx="330">
                  <c:v>191.99982632858632</c:v>
                </c:pt>
                <c:pt idx="331">
                  <c:v>192.20910038207711</c:v>
                </c:pt>
                <c:pt idx="332">
                  <c:v>192.40882250781522</c:v>
                </c:pt>
                <c:pt idx="333">
                  <c:v>192.18912816950328</c:v>
                </c:pt>
                <c:pt idx="334">
                  <c:v>191.67679749913168</c:v>
                </c:pt>
                <c:pt idx="335">
                  <c:v>192.73185133726989</c:v>
                </c:pt>
                <c:pt idx="336">
                  <c:v>192.06755817992359</c:v>
                </c:pt>
                <c:pt idx="337">
                  <c:v>191.56130600903091</c:v>
                </c:pt>
                <c:pt idx="338">
                  <c:v>189.74036123654048</c:v>
                </c:pt>
                <c:pt idx="339">
                  <c:v>190.08509899270581</c:v>
                </c:pt>
                <c:pt idx="340">
                  <c:v>189.56147968044462</c:v>
                </c:pt>
                <c:pt idx="341">
                  <c:v>189.38693990969088</c:v>
                </c:pt>
                <c:pt idx="342">
                  <c:v>189.33223341438</c:v>
                </c:pt>
                <c:pt idx="343">
                  <c:v>190.79541507467871</c:v>
                </c:pt>
                <c:pt idx="344">
                  <c:v>190.37165682528655</c:v>
                </c:pt>
                <c:pt idx="345">
                  <c:v>190.24487669329631</c:v>
                </c:pt>
                <c:pt idx="346">
                  <c:v>190.04949635290032</c:v>
                </c:pt>
                <c:pt idx="347">
                  <c:v>189.81156651615143</c:v>
                </c:pt>
                <c:pt idx="348">
                  <c:v>189.81417158735673</c:v>
                </c:pt>
                <c:pt idx="349">
                  <c:v>189.28707884682183</c:v>
                </c:pt>
                <c:pt idx="350">
                  <c:v>188.48298020145884</c:v>
                </c:pt>
                <c:pt idx="351">
                  <c:v>186.08805140673846</c:v>
                </c:pt>
                <c:pt idx="352">
                  <c:v>184.98784300104205</c:v>
                </c:pt>
                <c:pt idx="353">
                  <c:v>184.16811392844738</c:v>
                </c:pt>
                <c:pt idx="354">
                  <c:v>184.07172629385204</c:v>
                </c:pt>
                <c:pt idx="355">
                  <c:v>184.23324070857939</c:v>
                </c:pt>
                <c:pt idx="356">
                  <c:v>185.33171240013894</c:v>
                </c:pt>
                <c:pt idx="357">
                  <c:v>185.35255296978116</c:v>
                </c:pt>
                <c:pt idx="358">
                  <c:v>184.83327544286212</c:v>
                </c:pt>
                <c:pt idx="359">
                  <c:v>184.26015977770058</c:v>
                </c:pt>
                <c:pt idx="360">
                  <c:v>184.1194859326155</c:v>
                </c:pt>
                <c:pt idx="361">
                  <c:v>185.39944425147621</c:v>
                </c:pt>
                <c:pt idx="362">
                  <c:v>184.79072594650921</c:v>
                </c:pt>
                <c:pt idx="363">
                  <c:v>183.8607155262244</c:v>
                </c:pt>
                <c:pt idx="364">
                  <c:v>182.93157346300799</c:v>
                </c:pt>
                <c:pt idx="365">
                  <c:v>183.605418548107</c:v>
                </c:pt>
                <c:pt idx="366">
                  <c:v>182.33935394234109</c:v>
                </c:pt>
                <c:pt idx="367">
                  <c:v>182.24036123654045</c:v>
                </c:pt>
                <c:pt idx="368">
                  <c:v>181.96769711705454</c:v>
                </c:pt>
                <c:pt idx="369">
                  <c:v>182.77353247655438</c:v>
                </c:pt>
                <c:pt idx="370">
                  <c:v>182.80479333101772</c:v>
                </c:pt>
                <c:pt idx="371">
                  <c:v>182.57988885029525</c:v>
                </c:pt>
                <c:pt idx="372">
                  <c:v>182.31851337269887</c:v>
                </c:pt>
                <c:pt idx="373">
                  <c:v>181.84786384161166</c:v>
                </c:pt>
                <c:pt idx="374">
                  <c:v>183.17297672803056</c:v>
                </c:pt>
                <c:pt idx="375">
                  <c:v>182.66672455713791</c:v>
                </c:pt>
                <c:pt idx="376">
                  <c:v>182.55731156651615</c:v>
                </c:pt>
                <c:pt idx="377">
                  <c:v>182.95675581799239</c:v>
                </c:pt>
                <c:pt idx="378">
                  <c:v>184.95571378951027</c:v>
                </c:pt>
                <c:pt idx="379">
                  <c:v>184.66047238624523</c:v>
                </c:pt>
                <c:pt idx="380">
                  <c:v>185.1207016325113</c:v>
                </c:pt>
                <c:pt idx="381">
                  <c:v>185.77804793331018</c:v>
                </c:pt>
                <c:pt idx="382">
                  <c:v>187.440951719347</c:v>
                </c:pt>
                <c:pt idx="383">
                  <c:v>186.58388329281001</c:v>
                </c:pt>
                <c:pt idx="384">
                  <c:v>186.38416116707191</c:v>
                </c:pt>
                <c:pt idx="385">
                  <c:v>186.30427231677666</c:v>
                </c:pt>
                <c:pt idx="386">
                  <c:v>186.02813476901702</c:v>
                </c:pt>
                <c:pt idx="387">
                  <c:v>187.15439388676623</c:v>
                </c:pt>
                <c:pt idx="388">
                  <c:v>186.55088572420979</c:v>
                </c:pt>
                <c:pt idx="389">
                  <c:v>186.4562348037513</c:v>
                </c:pt>
                <c:pt idx="390">
                  <c:v>186.92601597777008</c:v>
                </c:pt>
                <c:pt idx="391">
                  <c:v>189.39388676623827</c:v>
                </c:pt>
                <c:pt idx="392">
                  <c:v>189.86453629732546</c:v>
                </c:pt>
                <c:pt idx="393">
                  <c:v>190.07467870788469</c:v>
                </c:pt>
                <c:pt idx="394">
                  <c:v>190.99600555748523</c:v>
                </c:pt>
                <c:pt idx="395">
                  <c:v>191.10455019103856</c:v>
                </c:pt>
                <c:pt idx="396">
                  <c:v>192.80045154567557</c:v>
                </c:pt>
                <c:pt idx="397">
                  <c:v>192.78655783258077</c:v>
                </c:pt>
                <c:pt idx="398">
                  <c:v>192.85428968391804</c:v>
                </c:pt>
                <c:pt idx="399">
                  <c:v>192.90986453629733</c:v>
                </c:pt>
                <c:pt idx="400">
                  <c:v>194.6101076762765</c:v>
                </c:pt>
                <c:pt idx="401">
                  <c:v>194.54498089614452</c:v>
                </c:pt>
                <c:pt idx="402">
                  <c:v>194.38520319555403</c:v>
                </c:pt>
                <c:pt idx="403">
                  <c:v>194.12556443209451</c:v>
                </c:pt>
                <c:pt idx="404">
                  <c:v>195.77544286210491</c:v>
                </c:pt>
                <c:pt idx="405">
                  <c:v>195.62782216047239</c:v>
                </c:pt>
                <c:pt idx="406">
                  <c:v>195.48106981590831</c:v>
                </c:pt>
                <c:pt idx="407">
                  <c:v>195.70857936783605</c:v>
                </c:pt>
                <c:pt idx="408">
                  <c:v>195.77978464744706</c:v>
                </c:pt>
                <c:pt idx="409">
                  <c:v>197.21517888155611</c:v>
                </c:pt>
                <c:pt idx="410">
                  <c:v>196.62730114623136</c:v>
                </c:pt>
                <c:pt idx="411">
                  <c:v>196.56304272316777</c:v>
                </c:pt>
                <c:pt idx="412">
                  <c:v>196.55175408127823</c:v>
                </c:pt>
                <c:pt idx="413">
                  <c:v>198.79385203195557</c:v>
                </c:pt>
                <c:pt idx="414">
                  <c:v>198.39614449461621</c:v>
                </c:pt>
                <c:pt idx="415">
                  <c:v>198.09742966307746</c:v>
                </c:pt>
                <c:pt idx="416">
                  <c:v>197.48784300104202</c:v>
                </c:pt>
                <c:pt idx="417">
                  <c:v>199.52848211184437</c:v>
                </c:pt>
                <c:pt idx="418">
                  <c:v>200.29697811740189</c:v>
                </c:pt>
                <c:pt idx="419">
                  <c:v>200.1797499131643</c:v>
                </c:pt>
                <c:pt idx="420">
                  <c:v>200.60611323376173</c:v>
                </c:pt>
                <c:pt idx="421">
                  <c:v>200.52882945467178</c:v>
                </c:pt>
                <c:pt idx="422">
                  <c:v>202.77961097603333</c:v>
                </c:pt>
                <c:pt idx="423">
                  <c:v>202.84039597082318</c:v>
                </c:pt>
                <c:pt idx="424">
                  <c:v>202.93070510593955</c:v>
                </c:pt>
                <c:pt idx="425">
                  <c:v>202.89683918027092</c:v>
                </c:pt>
                <c:pt idx="426">
                  <c:v>205.24835012157001</c:v>
                </c:pt>
                <c:pt idx="427">
                  <c:v>204.54932268148664</c:v>
                </c:pt>
                <c:pt idx="428">
                  <c:v>204.98957971517888</c:v>
                </c:pt>
                <c:pt idx="429">
                  <c:v>205.19017019798542</c:v>
                </c:pt>
                <c:pt idx="430">
                  <c:v>208.4065647794373</c:v>
                </c:pt>
                <c:pt idx="431">
                  <c:v>208.74001389371307</c:v>
                </c:pt>
                <c:pt idx="432">
                  <c:v>208.78430010420286</c:v>
                </c:pt>
                <c:pt idx="433">
                  <c:v>209.25408127822163</c:v>
                </c:pt>
                <c:pt idx="434">
                  <c:v>209.35046891281695</c:v>
                </c:pt>
                <c:pt idx="435">
                  <c:v>210.84317471344218</c:v>
                </c:pt>
                <c:pt idx="436">
                  <c:v>210.99426884334838</c:v>
                </c:pt>
                <c:pt idx="437">
                  <c:v>211.05158040986453</c:v>
                </c:pt>
                <c:pt idx="438">
                  <c:v>211.09847169155955</c:v>
                </c:pt>
                <c:pt idx="439">
                  <c:v>213.32580757207364</c:v>
                </c:pt>
                <c:pt idx="440">
                  <c:v>213.14953108718305</c:v>
                </c:pt>
                <c:pt idx="441">
                  <c:v>213.21465786731503</c:v>
                </c:pt>
                <c:pt idx="442">
                  <c:v>213.39788120875306</c:v>
                </c:pt>
                <c:pt idx="443">
                  <c:v>214.86887808266761</c:v>
                </c:pt>
                <c:pt idx="444">
                  <c:v>215.75894407780481</c:v>
                </c:pt>
                <c:pt idx="445">
                  <c:v>215.34126432789162</c:v>
                </c:pt>
                <c:pt idx="446">
                  <c:v>215.3169503299757</c:v>
                </c:pt>
                <c:pt idx="447">
                  <c:v>215.57745745050366</c:v>
                </c:pt>
                <c:pt idx="448">
                  <c:v>218.09829802014588</c:v>
                </c:pt>
                <c:pt idx="449">
                  <c:v>217.99062174366099</c:v>
                </c:pt>
                <c:pt idx="450">
                  <c:v>217.3654046543939</c:v>
                </c:pt>
                <c:pt idx="451">
                  <c:v>217.13789510246616</c:v>
                </c:pt>
                <c:pt idx="452">
                  <c:v>219.02570336922543</c:v>
                </c:pt>
                <c:pt idx="453">
                  <c:v>218.65838832928102</c:v>
                </c:pt>
                <c:pt idx="454">
                  <c:v>218.50642584230636</c:v>
                </c:pt>
                <c:pt idx="455">
                  <c:v>218.28325807572077</c:v>
                </c:pt>
                <c:pt idx="456">
                  <c:v>218.21726293852035</c:v>
                </c:pt>
                <c:pt idx="457">
                  <c:v>220.34994789857589</c:v>
                </c:pt>
                <c:pt idx="458">
                  <c:v>220.28916290378606</c:v>
                </c:pt>
                <c:pt idx="459">
                  <c:v>220.67992358457801</c:v>
                </c:pt>
                <c:pt idx="460">
                  <c:v>220.42115317818687</c:v>
                </c:pt>
                <c:pt idx="461">
                  <c:v>223.11045501910388</c:v>
                </c:pt>
                <c:pt idx="462">
                  <c:v>222.81087183049672</c:v>
                </c:pt>
                <c:pt idx="463">
                  <c:v>222.44355679055226</c:v>
                </c:pt>
                <c:pt idx="464">
                  <c:v>222.2959360889198</c:v>
                </c:pt>
                <c:pt idx="465">
                  <c:v>224.86019451198334</c:v>
                </c:pt>
                <c:pt idx="466">
                  <c:v>224.84630079888854</c:v>
                </c:pt>
                <c:pt idx="467">
                  <c:v>224.6856547412296</c:v>
                </c:pt>
                <c:pt idx="468">
                  <c:v>224.66481417158738</c:v>
                </c:pt>
                <c:pt idx="469">
                  <c:v>224.21847863841609</c:v>
                </c:pt>
                <c:pt idx="470">
                  <c:v>225.40291767974995</c:v>
                </c:pt>
                <c:pt idx="471">
                  <c:v>224.88711358110459</c:v>
                </c:pt>
                <c:pt idx="472">
                  <c:v>224.72820423758253</c:v>
                </c:pt>
                <c:pt idx="473">
                  <c:v>224.72733588051406</c:v>
                </c:pt>
                <c:pt idx="474">
                  <c:v>223.83032302882944</c:v>
                </c:pt>
                <c:pt idx="475">
                  <c:v>226.29732546022922</c:v>
                </c:pt>
                <c:pt idx="476">
                  <c:v>226.02900312608546</c:v>
                </c:pt>
                <c:pt idx="477">
                  <c:v>225.85098992705798</c:v>
                </c:pt>
                <c:pt idx="478">
                  <c:v>228.1703716568253</c:v>
                </c:pt>
                <c:pt idx="479">
                  <c:v>227.09274053490796</c:v>
                </c:pt>
                <c:pt idx="480">
                  <c:v>225.57311566516151</c:v>
                </c:pt>
                <c:pt idx="481">
                  <c:v>224.4199374782911</c:v>
                </c:pt>
                <c:pt idx="482">
                  <c:v>226.79836748871134</c:v>
                </c:pt>
                <c:pt idx="483">
                  <c:v>226.31642931573461</c:v>
                </c:pt>
                <c:pt idx="484">
                  <c:v>225.6703716568253</c:v>
                </c:pt>
                <c:pt idx="485">
                  <c:v>225.38902396665509</c:v>
                </c:pt>
                <c:pt idx="486">
                  <c:v>225.36644668287599</c:v>
                </c:pt>
                <c:pt idx="487">
                  <c:v>227.05974296630779</c:v>
                </c:pt>
                <c:pt idx="488">
                  <c:v>227.07711010767628</c:v>
                </c:pt>
                <c:pt idx="489">
                  <c:v>227.21952066689823</c:v>
                </c:pt>
                <c:pt idx="490">
                  <c:v>227.43313650573117</c:v>
                </c:pt>
                <c:pt idx="491">
                  <c:v>230.01823549843698</c:v>
                </c:pt>
                <c:pt idx="492">
                  <c:v>230.16238277179579</c:v>
                </c:pt>
                <c:pt idx="493">
                  <c:v>230.68687044112539</c:v>
                </c:pt>
                <c:pt idx="494">
                  <c:v>231.36158388329281</c:v>
                </c:pt>
                <c:pt idx="495">
                  <c:v>231.58822507815216</c:v>
                </c:pt>
                <c:pt idx="496">
                  <c:v>235.10593956234806</c:v>
                </c:pt>
                <c:pt idx="497">
                  <c:v>235.28829454671762</c:v>
                </c:pt>
                <c:pt idx="498">
                  <c:v>235.53838138242443</c:v>
                </c:pt>
                <c:pt idx="499">
                  <c:v>235.1432789162904</c:v>
                </c:pt>
                <c:pt idx="500">
                  <c:v>237.95936088919763</c:v>
                </c:pt>
                <c:pt idx="501">
                  <c:v>238.51424105592218</c:v>
                </c:pt>
                <c:pt idx="502">
                  <c:v>238.60889197638068</c:v>
                </c:pt>
                <c:pt idx="503">
                  <c:v>238.95449808961448</c:v>
                </c:pt>
                <c:pt idx="504">
                  <c:v>241.76710663424799</c:v>
                </c:pt>
                <c:pt idx="505">
                  <c:v>241.84178534213268</c:v>
                </c:pt>
                <c:pt idx="506">
                  <c:v>242.2672803056617</c:v>
                </c:pt>
                <c:pt idx="507">
                  <c:v>241.32598124348732</c:v>
                </c:pt>
                <c:pt idx="508">
                  <c:v>243.48211184439043</c:v>
                </c:pt>
                <c:pt idx="509">
                  <c:v>247.31503994442514</c:v>
                </c:pt>
                <c:pt idx="510">
                  <c:v>247.59291420632161</c:v>
                </c:pt>
                <c:pt idx="511">
                  <c:v>248.84508509899271</c:v>
                </c:pt>
                <c:pt idx="512">
                  <c:v>248.33188607155262</c:v>
                </c:pt>
                <c:pt idx="513">
                  <c:v>251.11236540465441</c:v>
                </c:pt>
                <c:pt idx="514">
                  <c:v>251.64032650225772</c:v>
                </c:pt>
                <c:pt idx="515">
                  <c:v>253.00277874261897</c:v>
                </c:pt>
                <c:pt idx="516">
                  <c:v>253.63928447377563</c:v>
                </c:pt>
                <c:pt idx="517">
                  <c:v>256.90864883640154</c:v>
                </c:pt>
                <c:pt idx="518">
                  <c:v>256.84004862799583</c:v>
                </c:pt>
                <c:pt idx="519">
                  <c:v>256.98506425842311</c:v>
                </c:pt>
                <c:pt idx="520">
                  <c:v>256.3806877387982</c:v>
                </c:pt>
                <c:pt idx="521">
                  <c:v>256.51615144147274</c:v>
                </c:pt>
                <c:pt idx="522">
                  <c:v>256.51615144147274</c:v>
                </c:pt>
                <c:pt idx="523">
                  <c:v>256.84004862799583</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val>
          <c:smooth val="0"/>
          <c:extLst>
            <c:ext xmlns:c16="http://schemas.microsoft.com/office/drawing/2014/chart" uri="{C3380CC4-5D6E-409C-BE32-E72D297353CC}">
              <c16:uniqueId val="{00000007-7DF5-4049-9C18-76D54EAFDC14}"/>
            </c:ext>
          </c:extLst>
        </c:ser>
        <c:dLbls>
          <c:showLegendKey val="0"/>
          <c:showVal val="0"/>
          <c:showCatName val="0"/>
          <c:showSerName val="0"/>
          <c:showPercent val="0"/>
          <c:showBubbleSize val="0"/>
        </c:dLbls>
        <c:marker val="1"/>
        <c:smooth val="0"/>
        <c:axId val="1391326560"/>
        <c:axId val="1391283296"/>
      </c:lineChart>
      <c:dateAx>
        <c:axId val="922392832"/>
        <c:scaling>
          <c:orientation val="minMax"/>
        </c:scaling>
        <c:delete val="0"/>
        <c:axPos val="b"/>
        <c:numFmt formatCode="[$-409]\ mmm\ yy" sourceLinked="0"/>
        <c:majorTickMark val="none"/>
        <c:minorTickMark val="none"/>
        <c:tickLblPos val="low"/>
        <c:spPr>
          <a:ln w="12700">
            <a:noFill/>
            <a:prstDash val="solid"/>
          </a:ln>
          <a:effectLst/>
        </c:spPr>
        <c:txPr>
          <a:bodyPr rot="0" vert="horz"/>
          <a:lstStyle/>
          <a:p>
            <a:pPr>
              <a:defRPr>
                <a:solidFill>
                  <a:schemeClr val="tx1">
                    <a:lumMod val="65000"/>
                    <a:lumOff val="35000"/>
                  </a:schemeClr>
                </a:solidFill>
                <a:latin typeface="+mj-lt"/>
              </a:defRPr>
            </a:pPr>
            <a:endParaRPr lang="en-US"/>
          </a:p>
        </c:txPr>
        <c:crossAx val="923154688"/>
        <c:crossesAt val="0"/>
        <c:auto val="1"/>
        <c:lblOffset val="100"/>
        <c:baseTimeUnit val="days"/>
        <c:majorUnit val="24"/>
        <c:majorTimeUnit val="months"/>
        <c:minorUnit val="24"/>
        <c:minorTimeUnit val="months"/>
      </c:dateAx>
      <c:valAx>
        <c:axId val="923154688"/>
        <c:scaling>
          <c:orientation val="minMax"/>
          <c:min val="10"/>
        </c:scaling>
        <c:delete val="0"/>
        <c:axPos val="l"/>
        <c:numFmt formatCode="General" sourceLinked="0"/>
        <c:majorTickMark val="none"/>
        <c:minorTickMark val="none"/>
        <c:tickLblPos val="low"/>
        <c:spPr>
          <a:ln w="25400">
            <a:noFill/>
          </a:ln>
          <a:effectLst/>
        </c:spPr>
        <c:txPr>
          <a:bodyPr rot="0" vert="horz"/>
          <a:lstStyle/>
          <a:p>
            <a:pPr>
              <a:defRPr sz="1200">
                <a:solidFill>
                  <a:schemeClr val="tx1">
                    <a:lumMod val="65000"/>
                    <a:lumOff val="35000"/>
                  </a:schemeClr>
                </a:solidFill>
                <a:latin typeface="+mj-lt"/>
              </a:defRPr>
            </a:pPr>
            <a:endParaRPr lang="en-US"/>
          </a:p>
        </c:txPr>
        <c:crossAx val="922392832"/>
        <c:crossesAt val="43466"/>
        <c:crossBetween val="midCat"/>
      </c:valAx>
      <c:valAx>
        <c:axId val="1391283296"/>
        <c:scaling>
          <c:orientation val="minMax"/>
        </c:scaling>
        <c:delete val="0"/>
        <c:axPos val="r"/>
        <c:numFmt formatCode="0" sourceLinked="0"/>
        <c:majorTickMark val="out"/>
        <c:minorTickMark val="none"/>
        <c:tickLblPos val="nextTo"/>
        <c:spPr>
          <a:ln>
            <a:noFill/>
          </a:ln>
        </c:spPr>
        <c:txPr>
          <a:bodyPr/>
          <a:lstStyle/>
          <a:p>
            <a:pPr>
              <a:defRPr sz="1200">
                <a:solidFill>
                  <a:schemeClr val="tx1">
                    <a:lumMod val="65000"/>
                    <a:lumOff val="35000"/>
                  </a:schemeClr>
                </a:solidFill>
                <a:latin typeface="+mj-lt"/>
              </a:defRPr>
            </a:pPr>
            <a:endParaRPr lang="en-US"/>
          </a:p>
        </c:txPr>
        <c:crossAx val="1391326560"/>
        <c:crosses val="max"/>
        <c:crossBetween val="between"/>
      </c:valAx>
      <c:dateAx>
        <c:axId val="1391326560"/>
        <c:scaling>
          <c:orientation val="minMax"/>
        </c:scaling>
        <c:delete val="1"/>
        <c:axPos val="b"/>
        <c:title>
          <c:tx>
            <c:strRef>
              <c:f>USA!$TZ$4</c:f>
              <c:strCache>
                <c:ptCount val="1"/>
                <c:pt idx="0">
                  <c:v>rebased to 100</c:v>
                </c:pt>
              </c:strCache>
            </c:strRef>
          </c:tx>
          <c:layout>
            <c:manualLayout>
              <c:xMode val="edge"/>
              <c:yMode val="edge"/>
              <c:x val="0.91971027230743052"/>
              <c:y val="6.2796112700945709E-3"/>
            </c:manualLayout>
          </c:layout>
          <c:overlay val="0"/>
          <c:txPr>
            <a:bodyPr/>
            <a:lstStyle/>
            <a:p>
              <a:pPr>
                <a:defRPr sz="1200">
                  <a:solidFill>
                    <a:schemeClr val="tx1">
                      <a:lumMod val="65000"/>
                      <a:lumOff val="35000"/>
                    </a:schemeClr>
                  </a:solidFill>
                  <a:latin typeface="+mj-lt"/>
                </a:defRPr>
              </a:pPr>
              <a:endParaRPr lang="en-US"/>
            </a:p>
          </c:txPr>
        </c:title>
        <c:numFmt formatCode="m/d/yyyy" sourceLinked="1"/>
        <c:majorTickMark val="out"/>
        <c:minorTickMark val="none"/>
        <c:tickLblPos val="nextTo"/>
        <c:crossAx val="1391283296"/>
        <c:crosses val="autoZero"/>
        <c:auto val="1"/>
        <c:lblOffset val="100"/>
        <c:baseTimeUnit val="days"/>
      </c:dateAx>
      <c:spPr>
        <a:noFill/>
        <a:ln w="25400">
          <a:noFill/>
        </a:ln>
      </c:spPr>
    </c:plotArea>
    <c:legend>
      <c:legendPos val="b"/>
      <c:legendEntry>
        <c:idx val="3"/>
        <c:delete val="1"/>
      </c:legendEntry>
      <c:legendEntry>
        <c:idx val="4"/>
        <c:delete val="1"/>
      </c:legendEntry>
      <c:legendEntry>
        <c:idx val="5"/>
        <c:delete val="1"/>
      </c:legendEntry>
      <c:layout>
        <c:manualLayout>
          <c:xMode val="edge"/>
          <c:yMode val="edge"/>
          <c:x val="1.8831350511505526E-2"/>
          <c:y val="0.88044259039679862"/>
          <c:w val="0.96828024534499035"/>
          <c:h val="0.11869577233634064"/>
        </c:manualLayout>
      </c:layout>
      <c:overlay val="0"/>
      <c:txPr>
        <a:bodyPr/>
        <a:lstStyle/>
        <a:p>
          <a:pPr>
            <a:defRPr sz="1200">
              <a:solidFill>
                <a:schemeClr val="tx1">
                  <a:lumMod val="65000"/>
                  <a:lumOff val="35000"/>
                </a:schemeClr>
              </a:solidFill>
              <a:latin typeface="+mj-lt"/>
            </a:defRPr>
          </a:pPr>
          <a:endParaRPr lang="en-US"/>
        </a:p>
      </c:txPr>
    </c:legend>
    <c:plotVisOnly val="1"/>
    <c:dispBlanksAs val="gap"/>
    <c:showDLblsOverMax val="0"/>
  </c:chart>
  <c:spPr>
    <a:ln>
      <a:noFill/>
    </a:ln>
  </c:spPr>
  <c:txPr>
    <a:bodyPr/>
    <a:lstStyle/>
    <a:p>
      <a:pPr>
        <a:defRPr sz="1000" b="0">
          <a:latin typeface="Credit Suisse Type Roman" panose="020B0503040503020204" pitchFamily="34" charset="0"/>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17026512396551"/>
          <c:y val="4.0845343077476656E-2"/>
          <c:w val="0.76923573294893399"/>
          <c:h val="0.78040405675431224"/>
        </c:manualLayout>
      </c:layout>
      <c:barChart>
        <c:barDir val="col"/>
        <c:grouping val="clustered"/>
        <c:varyColors val="0"/>
        <c:ser>
          <c:idx val="0"/>
          <c:order val="0"/>
          <c:spPr>
            <a:solidFill>
              <a:srgbClr val="8E8D83"/>
            </a:solidFill>
            <a:ln>
              <a:noFill/>
            </a:ln>
            <a:effectLst/>
            <a:extLst>
              <a:ext uri="{91240B29-F687-4F45-9708-019B960494DF}">
                <a14:hiddenLine xmlns:a14="http://schemas.microsoft.com/office/drawing/2010/main">
                  <a:noFill/>
                </a14:hiddenLine>
              </a:ext>
            </a:extLst>
          </c:spPr>
          <c:invertIfNegative val="0"/>
          <c:cat>
            <c:strRef>
              <c:f>'1.22.26 charts'!$A$3:$A$20</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E</c:v>
                </c:pt>
                <c:pt idx="16">
                  <c:v>2026E</c:v>
                </c:pt>
                <c:pt idx="17">
                  <c:v>2027E</c:v>
                </c:pt>
              </c:strCache>
            </c:strRef>
          </c:cat>
          <c:val>
            <c:numRef>
              <c:f>'1.22.26 charts'!$B$3:$B$20</c:f>
              <c:numCache>
                <c:formatCode>_-* #,##0_-;\-* #,##0_-;_-* "-"??_-;_-@_-</c:formatCode>
                <c:ptCount val="18"/>
                <c:pt idx="0">
                  <c:v>4151</c:v>
                </c:pt>
                <c:pt idx="1">
                  <c:v>4137.3999999999996</c:v>
                </c:pt>
                <c:pt idx="2">
                  <c:v>4095</c:v>
                </c:pt>
                <c:pt idx="3">
                  <c:v>4123.8</c:v>
                </c:pt>
                <c:pt idx="4">
                  <c:v>4146.8</c:v>
                </c:pt>
                <c:pt idx="5">
                  <c:v>4145.3999999999996</c:v>
                </c:pt>
                <c:pt idx="6">
                  <c:v>4144.1000000000004</c:v>
                </c:pt>
                <c:pt idx="7">
                  <c:v>4091.8</c:v>
                </c:pt>
                <c:pt idx="8">
                  <c:v>4225.3999999999996</c:v>
                </c:pt>
                <c:pt idx="9">
                  <c:v>4169.6000000000004</c:v>
                </c:pt>
                <c:pt idx="10">
                  <c:v>4057.1</c:v>
                </c:pt>
                <c:pt idx="11">
                  <c:v>4149</c:v>
                </c:pt>
                <c:pt idx="12">
                  <c:v>4271.8999999999996</c:v>
                </c:pt>
                <c:pt idx="13">
                  <c:v>4202.2</c:v>
                </c:pt>
                <c:pt idx="14">
                  <c:v>4322.5</c:v>
                </c:pt>
                <c:pt idx="15">
                  <c:v>4432</c:v>
                </c:pt>
                <c:pt idx="16">
                  <c:v>4481.5</c:v>
                </c:pt>
                <c:pt idx="17">
                  <c:v>4592.8</c:v>
                </c:pt>
              </c:numCache>
            </c:numRef>
          </c:val>
          <c:extLst>
            <c:ext xmlns:c16="http://schemas.microsoft.com/office/drawing/2014/chart" uri="{C3380CC4-5D6E-409C-BE32-E72D297353CC}">
              <c16:uniqueId val="{00000000-BD50-4514-9500-3915A29E12BA}"/>
            </c:ext>
          </c:extLst>
        </c:ser>
        <c:dLbls>
          <c:showLegendKey val="0"/>
          <c:showVal val="0"/>
          <c:showCatName val="0"/>
          <c:showSerName val="0"/>
          <c:showPercent val="0"/>
          <c:showBubbleSize val="0"/>
        </c:dLbls>
        <c:gapWidth val="50"/>
        <c:axId val="877724896"/>
        <c:axId val="877742656"/>
      </c:barChart>
      <c:catAx>
        <c:axId val="877724896"/>
        <c:scaling>
          <c:orientation val="minMax"/>
        </c:scaling>
        <c:delete val="0"/>
        <c:axPos val="b"/>
        <c:numFmt formatCode="General" sourceLinked="1"/>
        <c:majorTickMark val="none"/>
        <c:minorTickMark val="none"/>
        <c:tickLblPos val="nextTo"/>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877742656"/>
        <c:crosses val="autoZero"/>
        <c:auto val="1"/>
        <c:lblAlgn val="ctr"/>
        <c:lblOffset val="100"/>
        <c:noMultiLvlLbl val="0"/>
      </c:catAx>
      <c:valAx>
        <c:axId val="877742656"/>
        <c:scaling>
          <c:orientation val="minMax"/>
        </c:scaling>
        <c:delete val="0"/>
        <c:axPos val="l"/>
        <c:numFmt formatCode="_-* #,##0_-;\-* #,##0_-;_-* &quot;-&quot;??_-;_-@_-"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8777248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a:solidFill>
            <a:srgbClr val="000000"/>
          </a:solidFill>
          <a:latin typeface="Frutiger 45 Light" panose="020B0603020202020204" pitchFamily="34" charset="0"/>
          <a:ea typeface="+mn-ea"/>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713962291390279"/>
          <c:y val="5.9189002979779963E-2"/>
          <c:w val="0.8011903837467339"/>
          <c:h val="0.74959593143761749"/>
        </c:manualLayout>
      </c:layout>
      <c:barChart>
        <c:barDir val="col"/>
        <c:grouping val="clustered"/>
        <c:varyColors val="0"/>
        <c:ser>
          <c:idx val="0"/>
          <c:order val="0"/>
          <c:tx>
            <c:strRef>
              <c:f>Sheet1!$BV$55</c:f>
              <c:strCache>
                <c:ptCount val="1"/>
                <c:pt idx="0">
                  <c:v>S&amp;P 493</c:v>
                </c:pt>
              </c:strCache>
            </c:strRef>
          </c:tx>
          <c:spPr>
            <a:solidFill>
              <a:srgbClr val="8E8D83"/>
            </a:solidFill>
            <a:ln>
              <a:noFill/>
            </a:ln>
            <a:effectLst/>
          </c:spPr>
          <c:invertIfNegative val="0"/>
          <c:cat>
            <c:strRef>
              <c:f>Sheet1!$BT$5:$CE$5</c:f>
              <c:strCache>
                <c:ptCount val="12"/>
                <c:pt idx="0">
                  <c:v>1Q23</c:v>
                </c:pt>
                <c:pt idx="1">
                  <c:v>2Q23</c:v>
                </c:pt>
                <c:pt idx="2">
                  <c:v>3Q23</c:v>
                </c:pt>
                <c:pt idx="3">
                  <c:v>4Q23</c:v>
                </c:pt>
                <c:pt idx="4">
                  <c:v>1Q24</c:v>
                </c:pt>
                <c:pt idx="5">
                  <c:v>2Q24</c:v>
                </c:pt>
                <c:pt idx="6">
                  <c:v>3Q24</c:v>
                </c:pt>
                <c:pt idx="7">
                  <c:v>4Q24</c:v>
                </c:pt>
                <c:pt idx="8">
                  <c:v>1Q25</c:v>
                </c:pt>
                <c:pt idx="9">
                  <c:v>2Q25</c:v>
                </c:pt>
                <c:pt idx="10">
                  <c:v>3Q25</c:v>
                </c:pt>
                <c:pt idx="11">
                  <c:v>4Q25E</c:v>
                </c:pt>
              </c:strCache>
            </c:strRef>
          </c:cat>
          <c:val>
            <c:numRef>
              <c:f>Sheet1!$BT$25:$CE$25</c:f>
              <c:numCache>
                <c:formatCode>0.0%</c:formatCode>
                <c:ptCount val="12"/>
                <c:pt idx="0">
                  <c:v>-3.2536480325329409E-2</c:v>
                </c:pt>
                <c:pt idx="1">
                  <c:v>-7.5150011870357414E-2</c:v>
                </c:pt>
                <c:pt idx="2">
                  <c:v>-6.7310886708975559E-3</c:v>
                </c:pt>
                <c:pt idx="3">
                  <c:v>1.5308074867732335E-2</c:v>
                </c:pt>
                <c:pt idx="4">
                  <c:v>2.6722366486338522E-2</c:v>
                </c:pt>
                <c:pt idx="5">
                  <c:v>7.6613730601640562E-2</c:v>
                </c:pt>
                <c:pt idx="6">
                  <c:v>2.5687390432540536E-2</c:v>
                </c:pt>
                <c:pt idx="7">
                  <c:v>6.3266922134499692E-2</c:v>
                </c:pt>
                <c:pt idx="8">
                  <c:v>5.3566788179391978E-2</c:v>
                </c:pt>
                <c:pt idx="9">
                  <c:v>4.0124972313700935E-2</c:v>
                </c:pt>
                <c:pt idx="10">
                  <c:v>0.12076374437184922</c:v>
                </c:pt>
                <c:pt idx="11">
                  <c:v>9.0584230964798174E-2</c:v>
                </c:pt>
              </c:numCache>
            </c:numRef>
          </c:val>
          <c:extLst>
            <c:ext xmlns:c16="http://schemas.microsoft.com/office/drawing/2014/chart" uri="{C3380CC4-5D6E-409C-BE32-E72D297353CC}">
              <c16:uniqueId val="{00000000-6AD2-49C3-B95D-41E9EE6863F2}"/>
            </c:ext>
          </c:extLst>
        </c:ser>
        <c:ser>
          <c:idx val="1"/>
          <c:order val="1"/>
          <c:tx>
            <c:strRef>
              <c:f>Sheet1!$BV$54</c:f>
              <c:strCache>
                <c:ptCount val="1"/>
                <c:pt idx="0">
                  <c:v>Magnificent 7</c:v>
                </c:pt>
              </c:strCache>
            </c:strRef>
          </c:tx>
          <c:spPr>
            <a:solidFill>
              <a:srgbClr val="BD000C"/>
            </a:solidFill>
            <a:ln>
              <a:noFill/>
            </a:ln>
            <a:effectLst/>
          </c:spPr>
          <c:invertIfNegative val="0"/>
          <c:cat>
            <c:strRef>
              <c:f>Sheet1!$BT$5:$CE$5</c:f>
              <c:strCache>
                <c:ptCount val="12"/>
                <c:pt idx="0">
                  <c:v>1Q23</c:v>
                </c:pt>
                <c:pt idx="1">
                  <c:v>2Q23</c:v>
                </c:pt>
                <c:pt idx="2">
                  <c:v>3Q23</c:v>
                </c:pt>
                <c:pt idx="3">
                  <c:v>4Q23</c:v>
                </c:pt>
                <c:pt idx="4">
                  <c:v>1Q24</c:v>
                </c:pt>
                <c:pt idx="5">
                  <c:v>2Q24</c:v>
                </c:pt>
                <c:pt idx="6">
                  <c:v>3Q24</c:v>
                </c:pt>
                <c:pt idx="7">
                  <c:v>4Q24</c:v>
                </c:pt>
                <c:pt idx="8">
                  <c:v>1Q25</c:v>
                </c:pt>
                <c:pt idx="9">
                  <c:v>2Q25</c:v>
                </c:pt>
                <c:pt idx="10">
                  <c:v>3Q25</c:v>
                </c:pt>
                <c:pt idx="11">
                  <c:v>4Q25E</c:v>
                </c:pt>
              </c:strCache>
            </c:strRef>
          </c:cat>
          <c:val>
            <c:numRef>
              <c:f>Sheet1!$BT$15:$CE$15</c:f>
              <c:numCache>
                <c:formatCode>0.0%</c:formatCode>
                <c:ptCount val="12"/>
                <c:pt idx="0">
                  <c:v>4.7158606971301031E-2</c:v>
                </c:pt>
                <c:pt idx="1">
                  <c:v>0.35459594666561478</c:v>
                </c:pt>
                <c:pt idx="2">
                  <c:v>0.52433677740930107</c:v>
                </c:pt>
                <c:pt idx="3">
                  <c:v>0.60296613342734995</c:v>
                </c:pt>
                <c:pt idx="4">
                  <c:v>0.50643172994107122</c:v>
                </c:pt>
                <c:pt idx="5">
                  <c:v>0.36008834412263746</c:v>
                </c:pt>
                <c:pt idx="6">
                  <c:v>0.32830760163495443</c:v>
                </c:pt>
                <c:pt idx="7">
                  <c:v>0.32377164665813507</c:v>
                </c:pt>
                <c:pt idx="8">
                  <c:v>0.29593755068725569</c:v>
                </c:pt>
                <c:pt idx="9">
                  <c:v>0.28524504695845376</c:v>
                </c:pt>
                <c:pt idx="10">
                  <c:v>0.29455792292522309</c:v>
                </c:pt>
                <c:pt idx="11">
                  <c:v>0.23400360225832495</c:v>
                </c:pt>
              </c:numCache>
            </c:numRef>
          </c:val>
          <c:extLst>
            <c:ext xmlns:c16="http://schemas.microsoft.com/office/drawing/2014/chart" uri="{C3380CC4-5D6E-409C-BE32-E72D297353CC}">
              <c16:uniqueId val="{00000001-6AD2-49C3-B95D-41E9EE6863F2}"/>
            </c:ext>
          </c:extLst>
        </c:ser>
        <c:dLbls>
          <c:showLegendKey val="0"/>
          <c:showVal val="0"/>
          <c:showCatName val="0"/>
          <c:showSerName val="0"/>
          <c:showPercent val="0"/>
          <c:showBubbleSize val="0"/>
        </c:dLbls>
        <c:gapWidth val="65"/>
        <c:overlap val="-27"/>
        <c:axId val="132457584"/>
        <c:axId val="700524031"/>
      </c:barChart>
      <c:catAx>
        <c:axId val="132457584"/>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700524031"/>
        <c:crosses val="autoZero"/>
        <c:auto val="1"/>
        <c:lblAlgn val="ctr"/>
        <c:lblOffset val="100"/>
        <c:tickLblSkip val="2"/>
        <c:tickMarkSkip val="2"/>
        <c:noMultiLvlLbl val="0"/>
      </c:catAx>
      <c:valAx>
        <c:axId val="700524031"/>
        <c:scaling>
          <c:orientation val="minMax"/>
          <c:max val="0.60000000000000009"/>
          <c:min val="-0.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32457584"/>
        <c:crosses val="autoZero"/>
        <c:crossBetween val="between"/>
        <c:majorUnit val="0.1"/>
      </c:valAx>
      <c:spPr>
        <a:noFill/>
        <a:ln>
          <a:noFill/>
        </a:ln>
        <a:effectLst/>
      </c:spPr>
    </c:plotArea>
    <c:legend>
      <c:legendPos val="b"/>
      <c:layout>
        <c:manualLayout>
          <c:xMode val="edge"/>
          <c:yMode val="edge"/>
          <c:x val="0.21373972331561902"/>
          <c:y val="0.94071975961471332"/>
          <c:w val="0.57946555225865581"/>
          <c:h val="5.928024038528665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400">
          <a:solidFill>
            <a:sysClr val="windowText" lastClr="000000"/>
          </a:solidFill>
          <a:latin typeface="Frutiger 45 Light" panose="020B0603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75728555698708E-2"/>
          <c:y val="7.9849926734618298E-2"/>
          <c:w val="0.91123584271484903"/>
          <c:h val="0.75902677809445607"/>
        </c:manualLayout>
      </c:layout>
      <c:lineChart>
        <c:grouping val="standard"/>
        <c:varyColors val="0"/>
        <c:ser>
          <c:idx val="0"/>
          <c:order val="0"/>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eu!#REF!</c:f>
              <c:numCache>
                <c:formatCode>General</c:formatCode>
                <c:ptCount val="1"/>
                <c:pt idx="0">
                  <c:v>1</c:v>
                </c:pt>
              </c:numCache>
            </c:numRef>
          </c:val>
          <c:smooth val="0"/>
          <c:extLst>
            <c:ext xmlns:c16="http://schemas.microsoft.com/office/drawing/2014/chart" uri="{C3380CC4-5D6E-409C-BE32-E72D297353CC}">
              <c16:uniqueId val="{00000000-3D12-4B15-8069-2F347FD537FD}"/>
            </c:ext>
          </c:extLst>
        </c:ser>
        <c:ser>
          <c:idx val="1"/>
          <c:order val="1"/>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eu!#REF!</c:f>
              <c:numCache>
                <c:formatCode>General</c:formatCode>
                <c:ptCount val="1"/>
                <c:pt idx="0">
                  <c:v>1</c:v>
                </c:pt>
              </c:numCache>
            </c:numRef>
          </c:val>
          <c:smooth val="0"/>
          <c:extLst>
            <c:ext xmlns:c16="http://schemas.microsoft.com/office/drawing/2014/chart" uri="{C3380CC4-5D6E-409C-BE32-E72D297353CC}">
              <c16:uniqueId val="{00000001-3D12-4B15-8069-2F347FD537FD}"/>
            </c:ext>
          </c:extLst>
        </c:ser>
        <c:ser>
          <c:idx val="2"/>
          <c:order val="2"/>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eu!#REF!</c:f>
              <c:numCache>
                <c:formatCode>General</c:formatCode>
                <c:ptCount val="1"/>
                <c:pt idx="0">
                  <c:v>1</c:v>
                </c:pt>
              </c:numCache>
            </c:numRef>
          </c:val>
          <c:smooth val="0"/>
          <c:extLst>
            <c:ext xmlns:c16="http://schemas.microsoft.com/office/drawing/2014/chart" uri="{C3380CC4-5D6E-409C-BE32-E72D297353CC}">
              <c16:uniqueId val="{00000002-3D12-4B15-8069-2F347FD537FD}"/>
            </c:ext>
          </c:extLst>
        </c:ser>
        <c:ser>
          <c:idx val="3"/>
          <c:order val="3"/>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eu!#REF!</c:f>
              <c:numCache>
                <c:formatCode>General</c:formatCode>
                <c:ptCount val="1"/>
                <c:pt idx="0">
                  <c:v>1</c:v>
                </c:pt>
              </c:numCache>
            </c:numRef>
          </c:val>
          <c:smooth val="0"/>
          <c:extLst>
            <c:ext xmlns:c16="http://schemas.microsoft.com/office/drawing/2014/chart" uri="{C3380CC4-5D6E-409C-BE32-E72D297353CC}">
              <c16:uniqueId val="{00000003-3D12-4B15-8069-2F347FD537FD}"/>
            </c:ext>
          </c:extLst>
        </c:ser>
        <c:ser>
          <c:idx val="4"/>
          <c:order val="4"/>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eu!#REF!</c:f>
              <c:numCache>
                <c:formatCode>General</c:formatCode>
                <c:ptCount val="1"/>
                <c:pt idx="0">
                  <c:v>1</c:v>
                </c:pt>
              </c:numCache>
            </c:numRef>
          </c:val>
          <c:smooth val="0"/>
          <c:extLst>
            <c:ext xmlns:c16="http://schemas.microsoft.com/office/drawing/2014/chart" uri="{C3380CC4-5D6E-409C-BE32-E72D297353CC}">
              <c16:uniqueId val="{00000004-3D12-4B15-8069-2F347FD537FD}"/>
            </c:ext>
          </c:extLst>
        </c:ser>
        <c:ser>
          <c:idx val="5"/>
          <c:order val="5"/>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eu!#REF!</c:f>
              <c:numCache>
                <c:formatCode>General</c:formatCode>
                <c:ptCount val="1"/>
                <c:pt idx="0">
                  <c:v>1</c:v>
                </c:pt>
              </c:numCache>
            </c:numRef>
          </c:val>
          <c:smooth val="0"/>
          <c:extLst>
            <c:ext xmlns:c16="http://schemas.microsoft.com/office/drawing/2014/chart" uri="{C3380CC4-5D6E-409C-BE32-E72D297353CC}">
              <c16:uniqueId val="{00000005-3D12-4B15-8069-2F347FD537FD}"/>
            </c:ext>
          </c:extLst>
        </c:ser>
        <c:ser>
          <c:idx val="6"/>
          <c:order val="6"/>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eu!#REF!</c:f>
              <c:numCache>
                <c:formatCode>General</c:formatCode>
                <c:ptCount val="1"/>
                <c:pt idx="0">
                  <c:v>1</c:v>
                </c:pt>
              </c:numCache>
            </c:numRef>
          </c:val>
          <c:smooth val="0"/>
          <c:extLst>
            <c:ext xmlns:c16="http://schemas.microsoft.com/office/drawing/2014/chart" uri="{C3380CC4-5D6E-409C-BE32-E72D297353CC}">
              <c16:uniqueId val="{00000006-3D12-4B15-8069-2F347FD537FD}"/>
            </c:ext>
          </c:extLst>
        </c:ser>
        <c:ser>
          <c:idx val="7"/>
          <c:order val="7"/>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REF!</c:f>
              <c:numCache>
                <c:formatCode>General</c:formatCode>
                <c:ptCount val="1"/>
                <c:pt idx="0">
                  <c:v>1</c:v>
                </c:pt>
              </c:numCache>
            </c:numRef>
          </c:val>
          <c:smooth val="0"/>
          <c:extLst>
            <c:ext xmlns:c16="http://schemas.microsoft.com/office/drawing/2014/chart" uri="{C3380CC4-5D6E-409C-BE32-E72D297353CC}">
              <c16:uniqueId val="{00000007-3D12-4B15-8069-2F347FD537FD}"/>
            </c:ext>
          </c:extLst>
        </c:ser>
        <c:ser>
          <c:idx val="8"/>
          <c:order val="8"/>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REF!</c:f>
              <c:numCache>
                <c:formatCode>General</c:formatCode>
                <c:ptCount val="1"/>
                <c:pt idx="0">
                  <c:v>1</c:v>
                </c:pt>
              </c:numCache>
            </c:numRef>
          </c:val>
          <c:smooth val="0"/>
          <c:extLst>
            <c:ext xmlns:c16="http://schemas.microsoft.com/office/drawing/2014/chart" uri="{C3380CC4-5D6E-409C-BE32-E72D297353CC}">
              <c16:uniqueId val="{00000008-3D12-4B15-8069-2F347FD537FD}"/>
            </c:ext>
          </c:extLst>
        </c:ser>
        <c:ser>
          <c:idx val="9"/>
          <c:order val="9"/>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R$7:$R$257</c:f>
              <c:numCache>
                <c:formatCode>_(* #,##0.00_);_(* \(#,##0.00\);_(* "-"??_);_(@_)</c:formatCode>
                <c:ptCount val="251"/>
                <c:pt idx="0" formatCode="General">
                  <c:v>100</c:v>
                </c:pt>
                <c:pt idx="1">
                  <c:v>98.764879684081933</c:v>
                </c:pt>
                <c:pt idx="2">
                  <c:v>97.031165658115299</c:v>
                </c:pt>
                <c:pt idx="3">
                  <c:v>93.652518537458462</c:v>
                </c:pt>
                <c:pt idx="4">
                  <c:v>93.383334753828223</c:v>
                </c:pt>
                <c:pt idx="5">
                  <c:v>94.210062785874598</c:v>
                </c:pt>
                <c:pt idx="6">
                  <c:v>93.907497372084435</c:v>
                </c:pt>
                <c:pt idx="7">
                  <c:v>93.284610358248827</c:v>
                </c:pt>
                <c:pt idx="8">
                  <c:v>92.308020114207807</c:v>
                </c:pt>
                <c:pt idx="9">
                  <c:v>92.897525497883464</c:v>
                </c:pt>
                <c:pt idx="10">
                  <c:v>94.291741242648925</c:v>
                </c:pt>
                <c:pt idx="11">
                  <c:v>92.947242819398284</c:v>
                </c:pt>
                <c:pt idx="12">
                  <c:v>91.312253189011045</c:v>
                </c:pt>
                <c:pt idx="13">
                  <c:v>90.770334384499563</c:v>
                </c:pt>
                <c:pt idx="14">
                  <c:v>89.182931333276514</c:v>
                </c:pt>
                <c:pt idx="15">
                  <c:v>87.572800363646707</c:v>
                </c:pt>
                <c:pt idx="16">
                  <c:v>84.529390039489755</c:v>
                </c:pt>
                <c:pt idx="17">
                  <c:v>85.703429074689623</c:v>
                </c:pt>
                <c:pt idx="18">
                  <c:v>88.349100826728034</c:v>
                </c:pt>
                <c:pt idx="19">
                  <c:v>89.147418960765947</c:v>
                </c:pt>
                <c:pt idx="20">
                  <c:v>88.70990653143555</c:v>
                </c:pt>
                <c:pt idx="21">
                  <c:v>89.231938407341133</c:v>
                </c:pt>
                <c:pt idx="22">
                  <c:v>89.665899599420442</c:v>
                </c:pt>
                <c:pt idx="23">
                  <c:v>89.050115060086938</c:v>
                </c:pt>
                <c:pt idx="24">
                  <c:v>88.266001875053277</c:v>
                </c:pt>
                <c:pt idx="25">
                  <c:v>87.626068922412571</c:v>
                </c:pt>
                <c:pt idx="26">
                  <c:v>86.790817920963661</c:v>
                </c:pt>
                <c:pt idx="27">
                  <c:v>87.138128924117169</c:v>
                </c:pt>
                <c:pt idx="28">
                  <c:v>88.200659109633804</c:v>
                </c:pt>
                <c:pt idx="29">
                  <c:v>87.672235006676331</c:v>
                </c:pt>
                <c:pt idx="30">
                  <c:v>88.442853490155969</c:v>
                </c:pt>
                <c:pt idx="31">
                  <c:v>87.769538907355326</c:v>
                </c:pt>
                <c:pt idx="32">
                  <c:v>86.903037018097109</c:v>
                </c:pt>
                <c:pt idx="33">
                  <c:v>86.23966589959943</c:v>
                </c:pt>
                <c:pt idx="34">
                  <c:v>85.367482030739524</c:v>
                </c:pt>
                <c:pt idx="35">
                  <c:v>84.671439529532094</c:v>
                </c:pt>
                <c:pt idx="36">
                  <c:v>83.336884570584388</c:v>
                </c:pt>
                <c:pt idx="37">
                  <c:v>83.220403988749695</c:v>
                </c:pt>
                <c:pt idx="38">
                  <c:v>82.221796073752103</c:v>
                </c:pt>
                <c:pt idx="39">
                  <c:v>81.398619278956787</c:v>
                </c:pt>
                <c:pt idx="40">
                  <c:v>80.10383817722095</c:v>
                </c:pt>
                <c:pt idx="41">
                  <c:v>79.574703826813263</c:v>
                </c:pt>
                <c:pt idx="42">
                  <c:v>79.127247933179916</c:v>
                </c:pt>
                <c:pt idx="43">
                  <c:v>79.960368192278196</c:v>
                </c:pt>
                <c:pt idx="44">
                  <c:v>83.150089491178733</c:v>
                </c:pt>
                <c:pt idx="45">
                  <c:v>82.650075286229722</c:v>
                </c:pt>
                <c:pt idx="46">
                  <c:v>82.06270064490468</c:v>
                </c:pt>
                <c:pt idx="47">
                  <c:v>82.575499303957514</c:v>
                </c:pt>
                <c:pt idx="48">
                  <c:v>84.10537231171341</c:v>
                </c:pt>
                <c:pt idx="49">
                  <c:v>82.815562942129034</c:v>
                </c:pt>
                <c:pt idx="50">
                  <c:v>82.090400295462942</c:v>
                </c:pt>
                <c:pt idx="51">
                  <c:v>80.588937185715508</c:v>
                </c:pt>
                <c:pt idx="52">
                  <c:v>81.056990255404997</c:v>
                </c:pt>
                <c:pt idx="53">
                  <c:v>82.175629989488343</c:v>
                </c:pt>
                <c:pt idx="54">
                  <c:v>82.089690048012727</c:v>
                </c:pt>
                <c:pt idx="55">
                  <c:v>82.292820818773265</c:v>
                </c:pt>
                <c:pt idx="56">
                  <c:v>83.795704423421128</c:v>
                </c:pt>
                <c:pt idx="57">
                  <c:v>85.059944884797872</c:v>
                </c:pt>
                <c:pt idx="58">
                  <c:v>86.078439728401378</c:v>
                </c:pt>
                <c:pt idx="59">
                  <c:v>86.162959174976564</c:v>
                </c:pt>
                <c:pt idx="60">
                  <c:v>85.724026250745766</c:v>
                </c:pt>
                <c:pt idx="61">
                  <c:v>85.889513906645078</c:v>
                </c:pt>
                <c:pt idx="62">
                  <c:v>84.636637404471728</c:v>
                </c:pt>
                <c:pt idx="63">
                  <c:v>84.436347623512034</c:v>
                </c:pt>
                <c:pt idx="64">
                  <c:v>84.15793062302906</c:v>
                </c:pt>
                <c:pt idx="65">
                  <c:v>84.00948890593483</c:v>
                </c:pt>
                <c:pt idx="66">
                  <c:v>83.141566521776184</c:v>
                </c:pt>
                <c:pt idx="67">
                  <c:v>83.363163726242234</c:v>
                </c:pt>
                <c:pt idx="68">
                  <c:v>83.927100201710275</c:v>
                </c:pt>
                <c:pt idx="69">
                  <c:v>83.50024148413307</c:v>
                </c:pt>
                <c:pt idx="70">
                  <c:v>82.24736498195972</c:v>
                </c:pt>
                <c:pt idx="71">
                  <c:v>81.665672320236368</c:v>
                </c:pt>
                <c:pt idx="72">
                  <c:v>82.134435637376072</c:v>
                </c:pt>
                <c:pt idx="73">
                  <c:v>82.894400409102545</c:v>
                </c:pt>
                <c:pt idx="74">
                  <c:v>83.905082530753731</c:v>
                </c:pt>
                <c:pt idx="75">
                  <c:v>83.818432341827901</c:v>
                </c:pt>
                <c:pt idx="76">
                  <c:v>83.265859825563226</c:v>
                </c:pt>
                <c:pt idx="77">
                  <c:v>82.994545299582384</c:v>
                </c:pt>
                <c:pt idx="78">
                  <c:v>83.894428819000538</c:v>
                </c:pt>
                <c:pt idx="79">
                  <c:v>83.334753828233758</c:v>
                </c:pt>
                <c:pt idx="80">
                  <c:v>82.974658370976456</c:v>
                </c:pt>
                <c:pt idx="81">
                  <c:v>83.717577203897847</c:v>
                </c:pt>
                <c:pt idx="82">
                  <c:v>83.78149947441689</c:v>
                </c:pt>
                <c:pt idx="83">
                  <c:v>83.915736242506895</c:v>
                </c:pt>
                <c:pt idx="84">
                  <c:v>83.78149947441689</c:v>
                </c:pt>
                <c:pt idx="85">
                  <c:v>83.118128355919211</c:v>
                </c:pt>
                <c:pt idx="86">
                  <c:v>82.584022273360048</c:v>
                </c:pt>
                <c:pt idx="87">
                  <c:v>83.114577118668151</c:v>
                </c:pt>
                <c:pt idx="88">
                  <c:v>84.001676183982511</c:v>
                </c:pt>
                <c:pt idx="89">
                  <c:v>83.370266200744354</c:v>
                </c:pt>
                <c:pt idx="90">
                  <c:v>84.317736299326683</c:v>
                </c:pt>
                <c:pt idx="91">
                  <c:v>85.150146310974748</c:v>
                </c:pt>
                <c:pt idx="92">
                  <c:v>86.24108639449986</c:v>
                </c:pt>
                <c:pt idx="93">
                  <c:v>86.455581124463762</c:v>
                </c:pt>
                <c:pt idx="94">
                  <c:v>86.24321713685049</c:v>
                </c:pt>
                <c:pt idx="95">
                  <c:v>86.66084263757493</c:v>
                </c:pt>
                <c:pt idx="96">
                  <c:v>87.302906332566266</c:v>
                </c:pt>
                <c:pt idx="97">
                  <c:v>86.724764908093988</c:v>
                </c:pt>
                <c:pt idx="98">
                  <c:v>85.943492712861158</c:v>
                </c:pt>
                <c:pt idx="99">
                  <c:v>86.510980425580271</c:v>
                </c:pt>
                <c:pt idx="100">
                  <c:v>86.991107701923355</c:v>
                </c:pt>
                <c:pt idx="101">
                  <c:v>86.322764851274187</c:v>
                </c:pt>
                <c:pt idx="102">
                  <c:v>86.01380721043212</c:v>
                </c:pt>
                <c:pt idx="103">
                  <c:v>85.796471490667358</c:v>
                </c:pt>
                <c:pt idx="104">
                  <c:v>85.791499758515869</c:v>
                </c:pt>
                <c:pt idx="105">
                  <c:v>85.368192278189724</c:v>
                </c:pt>
                <c:pt idx="106">
                  <c:v>85.366771783289295</c:v>
                </c:pt>
                <c:pt idx="107">
                  <c:v>85.300008522969406</c:v>
                </c:pt>
                <c:pt idx="108">
                  <c:v>85.341913122531892</c:v>
                </c:pt>
                <c:pt idx="109">
                  <c:v>85.341913122531892</c:v>
                </c:pt>
                <c:pt idx="110">
                  <c:v>84.768033182760874</c:v>
                </c:pt>
                <c:pt idx="111">
                  <c:v>84.409358220404002</c:v>
                </c:pt>
                <c:pt idx="112">
                  <c:v>84.617460723316</c:v>
                </c:pt>
                <c:pt idx="113">
                  <c:v>83.59825563226228</c:v>
                </c:pt>
                <c:pt idx="114">
                  <c:v>82.639421574476543</c:v>
                </c:pt>
                <c:pt idx="115">
                  <c:v>82.562714849853705</c:v>
                </c:pt>
                <c:pt idx="116">
                  <c:v>82.785022301769956</c:v>
                </c:pt>
                <c:pt idx="117">
                  <c:v>83.004488763885348</c:v>
                </c:pt>
                <c:pt idx="118">
                  <c:v>82.33401517088555</c:v>
                </c:pt>
                <c:pt idx="119">
                  <c:v>82.329043438734061</c:v>
                </c:pt>
                <c:pt idx="120">
                  <c:v>81.77434018011877</c:v>
                </c:pt>
                <c:pt idx="121">
                  <c:v>85.022301769936647</c:v>
                </c:pt>
                <c:pt idx="122">
                  <c:v>85.763800107957607</c:v>
                </c:pt>
                <c:pt idx="123">
                  <c:v>84.874570300292632</c:v>
                </c:pt>
                <c:pt idx="124">
                  <c:v>84.5322310292906</c:v>
                </c:pt>
                <c:pt idx="125">
                  <c:v>84.353248671837278</c:v>
                </c:pt>
                <c:pt idx="126">
                  <c:v>85.412937867553055</c:v>
                </c:pt>
                <c:pt idx="127">
                  <c:v>86.031563396687417</c:v>
                </c:pt>
                <c:pt idx="128">
                  <c:v>86.144492741271065</c:v>
                </c:pt>
                <c:pt idx="129">
                  <c:v>85.987528054774288</c:v>
                </c:pt>
                <c:pt idx="130">
                  <c:v>86.630301997215824</c:v>
                </c:pt>
                <c:pt idx="131">
                  <c:v>87.185005255831143</c:v>
                </c:pt>
                <c:pt idx="132">
                  <c:v>86.971931020767641</c:v>
                </c:pt>
                <c:pt idx="133">
                  <c:v>87.839853404926288</c:v>
                </c:pt>
                <c:pt idx="134">
                  <c:v>88.969857098213026</c:v>
                </c:pt>
                <c:pt idx="135">
                  <c:v>89.847012699224422</c:v>
                </c:pt>
                <c:pt idx="136">
                  <c:v>90.261797210148018</c:v>
                </c:pt>
                <c:pt idx="137">
                  <c:v>90.88042273928238</c:v>
                </c:pt>
                <c:pt idx="138">
                  <c:v>92.201482996676049</c:v>
                </c:pt>
                <c:pt idx="139">
                  <c:v>92.808034319156789</c:v>
                </c:pt>
                <c:pt idx="140">
                  <c:v>93.375522031875903</c:v>
                </c:pt>
                <c:pt idx="141">
                  <c:v>93.458620983550688</c:v>
                </c:pt>
                <c:pt idx="142">
                  <c:v>94.0445751299753</c:v>
                </c:pt>
                <c:pt idx="143">
                  <c:v>95.467911020199438</c:v>
                </c:pt>
                <c:pt idx="144">
                  <c:v>95.705843916020356</c:v>
                </c:pt>
                <c:pt idx="145">
                  <c:v>94.863490440069313</c:v>
                </c:pt>
                <c:pt idx="146">
                  <c:v>94.648285462655195</c:v>
                </c:pt>
                <c:pt idx="147">
                  <c:v>94.732094661780167</c:v>
                </c:pt>
                <c:pt idx="148">
                  <c:v>95.943066564391046</c:v>
                </c:pt>
                <c:pt idx="149">
                  <c:v>95.074433932782171</c:v>
                </c:pt>
                <c:pt idx="150">
                  <c:v>95.298872127049066</c:v>
                </c:pt>
                <c:pt idx="151">
                  <c:v>95.976448194550983</c:v>
                </c:pt>
                <c:pt idx="152">
                  <c:v>95.639790903150669</c:v>
                </c:pt>
                <c:pt idx="153">
                  <c:v>95.57941986988267</c:v>
                </c:pt>
                <c:pt idx="154">
                  <c:v>96.693798119264756</c:v>
                </c:pt>
                <c:pt idx="155">
                  <c:v>97.634165743344994</c:v>
                </c:pt>
                <c:pt idx="156">
                  <c:v>97.502769965055833</c:v>
                </c:pt>
                <c:pt idx="157">
                  <c:v>97.727918406772929</c:v>
                </c:pt>
                <c:pt idx="158">
                  <c:v>97.547515554419164</c:v>
                </c:pt>
                <c:pt idx="159">
                  <c:v>97.25986533708344</c:v>
                </c:pt>
                <c:pt idx="160">
                  <c:v>97.252052615131106</c:v>
                </c:pt>
                <c:pt idx="161">
                  <c:v>97.737151623625678</c:v>
                </c:pt>
                <c:pt idx="162">
                  <c:v>98.27907042813716</c:v>
                </c:pt>
                <c:pt idx="163">
                  <c:v>98.421830165629714</c:v>
                </c:pt>
                <c:pt idx="164">
                  <c:v>97.453052643541014</c:v>
                </c:pt>
                <c:pt idx="165">
                  <c:v>96.708003068268994</c:v>
                </c:pt>
                <c:pt idx="166">
                  <c:v>96.79465325719481</c:v>
                </c:pt>
                <c:pt idx="167">
                  <c:v>96.669649705957568</c:v>
                </c:pt>
                <c:pt idx="168">
                  <c:v>96.859996022614283</c:v>
                </c:pt>
                <c:pt idx="169">
                  <c:v>97.247791130429846</c:v>
                </c:pt>
                <c:pt idx="170">
                  <c:v>97.284013750390656</c:v>
                </c:pt>
                <c:pt idx="171">
                  <c:v>97.399784084775135</c:v>
                </c:pt>
                <c:pt idx="172">
                  <c:v>97.449501406289968</c:v>
                </c:pt>
                <c:pt idx="173">
                  <c:v>96.906162106878043</c:v>
                </c:pt>
                <c:pt idx="174">
                  <c:v>98.299667604193303</c:v>
                </c:pt>
                <c:pt idx="175">
                  <c:v>99.163328503650675</c:v>
                </c:pt>
                <c:pt idx="176">
                  <c:v>99.230802011420778</c:v>
                </c:pt>
                <c:pt idx="177">
                  <c:v>99.0312224779113</c:v>
                </c:pt>
                <c:pt idx="178">
                  <c:v>99.019148271257706</c:v>
                </c:pt>
                <c:pt idx="179">
                  <c:v>98.089434358930646</c:v>
                </c:pt>
                <c:pt idx="180">
                  <c:v>97.745674593028227</c:v>
                </c:pt>
                <c:pt idx="181">
                  <c:v>98.304639336344778</c:v>
                </c:pt>
                <c:pt idx="182">
                  <c:v>98.916162390977021</c:v>
                </c:pt>
                <c:pt idx="183">
                  <c:v>99.286911559987502</c:v>
                </c:pt>
                <c:pt idx="184">
                  <c:v>99.894883377368686</c:v>
                </c:pt>
                <c:pt idx="185">
                  <c:v>100.61081280718203</c:v>
                </c:pt>
                <c:pt idx="186">
                  <c:v>100.15057245944487</c:v>
                </c:pt>
                <c:pt idx="187">
                  <c:v>99.338759623852951</c:v>
                </c:pt>
                <c:pt idx="188">
                  <c:v>98.277649933236759</c:v>
                </c:pt>
                <c:pt idx="189">
                  <c:v>98.667575783402938</c:v>
                </c:pt>
                <c:pt idx="190">
                  <c:v>98.650529844597855</c:v>
                </c:pt>
                <c:pt idx="191">
                  <c:v>98.019830108809927</c:v>
                </c:pt>
                <c:pt idx="192">
                  <c:v>98.047529759368174</c:v>
                </c:pt>
                <c:pt idx="193">
                  <c:v>97.651921929600277</c:v>
                </c:pt>
                <c:pt idx="194">
                  <c:v>97.722236427171225</c:v>
                </c:pt>
                <c:pt idx="195">
                  <c:v>98.879229523566011</c:v>
                </c:pt>
                <c:pt idx="196">
                  <c:v>99.149833802096637</c:v>
                </c:pt>
                <c:pt idx="197">
                  <c:v>99.172561720503424</c:v>
                </c:pt>
                <c:pt idx="198">
                  <c:v>99.056081138668731</c:v>
                </c:pt>
                <c:pt idx="199">
                  <c:v>98.819568737748227</c:v>
                </c:pt>
                <c:pt idx="200">
                  <c:v>98.696695928861629</c:v>
                </c:pt>
                <c:pt idx="201">
                  <c:v>99.340890366203581</c:v>
                </c:pt>
                <c:pt idx="202">
                  <c:v>98.666155288502523</c:v>
                </c:pt>
                <c:pt idx="203">
                  <c:v>98.295406119492029</c:v>
                </c:pt>
                <c:pt idx="204">
                  <c:v>97.563140998323831</c:v>
                </c:pt>
                <c:pt idx="205">
                  <c:v>97.111423619989225</c:v>
                </c:pt>
                <c:pt idx="206">
                  <c:v>97.369953691866243</c:v>
                </c:pt>
                <c:pt idx="207">
                  <c:v>97.388420125571756</c:v>
                </c:pt>
                <c:pt idx="208">
                  <c:v>97.293957214693592</c:v>
                </c:pt>
                <c:pt idx="209">
                  <c:v>97.649791187249633</c:v>
                </c:pt>
                <c:pt idx="210">
                  <c:v>97.715844200119335</c:v>
                </c:pt>
                <c:pt idx="211">
                  <c:v>97.99497144805251</c:v>
                </c:pt>
                <c:pt idx="212">
                  <c:v>98.138441432995265</c:v>
                </c:pt>
                <c:pt idx="213">
                  <c:v>98.011307139407378</c:v>
                </c:pt>
                <c:pt idx="214">
                  <c:v>98.365010369612776</c:v>
                </c:pt>
                <c:pt idx="215">
                  <c:v>98.698116423762045</c:v>
                </c:pt>
                <c:pt idx="216">
                  <c:v>99.366459274411213</c:v>
                </c:pt>
                <c:pt idx="217">
                  <c:v>100.19886928605925</c:v>
                </c:pt>
                <c:pt idx="218">
                  <c:v>100.21023324526266</c:v>
                </c:pt>
                <c:pt idx="219">
                  <c:v>99.784795022585868</c:v>
                </c:pt>
                <c:pt idx="220">
                  <c:v>99.404102389272424</c:v>
                </c:pt>
                <c:pt idx="221">
                  <c:v>99.095144748430357</c:v>
                </c:pt>
                <c:pt idx="222">
                  <c:v>98.543282479615911</c:v>
                </c:pt>
                <c:pt idx="223">
                  <c:v>98.002073922554615</c:v>
                </c:pt>
                <c:pt idx="224">
                  <c:v>98.543282479615911</c:v>
                </c:pt>
                <c:pt idx="225">
                  <c:v>97.928918435182823</c:v>
                </c:pt>
                <c:pt idx="226">
                  <c:v>98.105770050285528</c:v>
                </c:pt>
                <c:pt idx="227">
                  <c:v>98.867865564362617</c:v>
                </c:pt>
                <c:pt idx="228">
                  <c:v>98.534759510213362</c:v>
                </c:pt>
                <c:pt idx="229">
                  <c:v>98.0432682746669</c:v>
                </c:pt>
                <c:pt idx="230">
                  <c:v>96.714395295320884</c:v>
                </c:pt>
                <c:pt idx="231">
                  <c:v>96.815960680701153</c:v>
                </c:pt>
                <c:pt idx="232">
                  <c:v>97.295377709594035</c:v>
                </c:pt>
                <c:pt idx="233">
                  <c:v>95.888377510724737</c:v>
                </c:pt>
                <c:pt idx="234">
                  <c:v>96.029716753316848</c:v>
                </c:pt>
                <c:pt idx="235">
                  <c:v>95.895479985226856</c:v>
                </c:pt>
                <c:pt idx="236">
                  <c:v>95.943066564391046</c:v>
                </c:pt>
                <c:pt idx="237">
                  <c:v>95.083667149634934</c:v>
                </c:pt>
                <c:pt idx="238">
                  <c:v>96.6540242620529</c:v>
                </c:pt>
                <c:pt idx="239">
                  <c:v>96.673911190658828</c:v>
                </c:pt>
                <c:pt idx="240">
                  <c:v>95.401147759879549</c:v>
                </c:pt>
                <c:pt idx="241">
                  <c:v>95.156112389556526</c:v>
                </c:pt>
                <c:pt idx="242">
                  <c:v>95.151140657405037</c:v>
                </c:pt>
                <c:pt idx="243">
                  <c:v>94.564476263530224</c:v>
                </c:pt>
                <c:pt idx="244">
                  <c:v>95.190204267166692</c:v>
                </c:pt>
                <c:pt idx="245">
                  <c:v>95.948038296542521</c:v>
                </c:pt>
                <c:pt idx="246">
                  <c:v>95.945197306741676</c:v>
                </c:pt>
                <c:pt idx="247">
                  <c:v>96.364243302366546</c:v>
                </c:pt>
                <c:pt idx="248">
                  <c:v>97.050342339271012</c:v>
                </c:pt>
                <c:pt idx="249">
                  <c:v>96.968663882496671</c:v>
                </c:pt>
                <c:pt idx="250">
                  <c:v>96.546066649620727</c:v>
                </c:pt>
              </c:numCache>
            </c:numRef>
          </c:val>
          <c:smooth val="0"/>
          <c:extLst>
            <c:ext xmlns:c16="http://schemas.microsoft.com/office/drawing/2014/chart" uri="{C3380CC4-5D6E-409C-BE32-E72D297353CC}">
              <c16:uniqueId val="{00000009-3D12-4B15-8069-2F347FD537FD}"/>
            </c:ext>
          </c:extLst>
        </c:ser>
        <c:ser>
          <c:idx val="10"/>
          <c:order val="10"/>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S$7:$S$257</c:f>
              <c:numCache>
                <c:formatCode>_(* #,##0.00_);_(* \(#,##0.00\);_(* "-"??_);_(@_)</c:formatCode>
                <c:ptCount val="251"/>
                <c:pt idx="0" formatCode="General">
                  <c:v>100</c:v>
                </c:pt>
                <c:pt idx="1">
                  <c:v>97.990664392164746</c:v>
                </c:pt>
                <c:pt idx="2">
                  <c:v>97.544991193802105</c:v>
                </c:pt>
                <c:pt idx="3">
                  <c:v>97.893432894695877</c:v>
                </c:pt>
                <c:pt idx="4">
                  <c:v>96.598627686409401</c:v>
                </c:pt>
                <c:pt idx="5">
                  <c:v>94.151923349746212</c:v>
                </c:pt>
                <c:pt idx="6">
                  <c:v>93.767495614202019</c:v>
                </c:pt>
                <c:pt idx="7">
                  <c:v>92.678572046463515</c:v>
                </c:pt>
                <c:pt idx="8">
                  <c:v>89.791730824460842</c:v>
                </c:pt>
                <c:pt idx="9">
                  <c:v>87.737412673312562</c:v>
                </c:pt>
                <c:pt idx="10">
                  <c:v>90.970619478825341</c:v>
                </c:pt>
                <c:pt idx="11">
                  <c:v>91.758160006366779</c:v>
                </c:pt>
                <c:pt idx="12">
                  <c:v>91.81559925398183</c:v>
                </c:pt>
                <c:pt idx="13">
                  <c:v>92.755042370095609</c:v>
                </c:pt>
                <c:pt idx="14">
                  <c:v>94.878564434033109</c:v>
                </c:pt>
                <c:pt idx="15">
                  <c:v>94.411784042269758</c:v>
                </c:pt>
                <c:pt idx="16">
                  <c:v>95.519392666461371</c:v>
                </c:pt>
                <c:pt idx="17">
                  <c:v>96.339459033013739</c:v>
                </c:pt>
                <c:pt idx="18">
                  <c:v>97.417309974705972</c:v>
                </c:pt>
                <c:pt idx="19">
                  <c:v>97.351912277120149</c:v>
                </c:pt>
                <c:pt idx="20">
                  <c:v>96.880633631025503</c:v>
                </c:pt>
                <c:pt idx="21">
                  <c:v>96.428040041383952</c:v>
                </c:pt>
                <c:pt idx="22">
                  <c:v>98.263673828118243</c:v>
                </c:pt>
                <c:pt idx="23">
                  <c:v>99.860900135293647</c:v>
                </c:pt>
                <c:pt idx="24">
                  <c:v>99.606921775357193</c:v>
                </c:pt>
                <c:pt idx="25">
                  <c:v>98.76851637191568</c:v>
                </c:pt>
                <c:pt idx="26">
                  <c:v>99.52802931477747</c:v>
                </c:pt>
                <c:pt idx="27">
                  <c:v>99.283739502631491</c:v>
                </c:pt>
                <c:pt idx="28">
                  <c:v>98.195507974020856</c:v>
                </c:pt>
                <c:pt idx="29">
                  <c:v>98.016269839896736</c:v>
                </c:pt>
                <c:pt idx="30">
                  <c:v>99.321109615537665</c:v>
                </c:pt>
                <c:pt idx="31">
                  <c:v>100.06366759976611</c:v>
                </c:pt>
                <c:pt idx="32">
                  <c:v>100.21522416877451</c:v>
                </c:pt>
                <c:pt idx="33">
                  <c:v>100.36781879647477</c:v>
                </c:pt>
                <c:pt idx="34">
                  <c:v>101.14186456102227</c:v>
                </c:pt>
                <c:pt idx="35">
                  <c:v>98.912114490953343</c:v>
                </c:pt>
                <c:pt idx="36">
                  <c:v>97.112466738869429</c:v>
                </c:pt>
                <c:pt idx="37">
                  <c:v>97.400355016072609</c:v>
                </c:pt>
                <c:pt idx="38">
                  <c:v>98.769900450171463</c:v>
                </c:pt>
                <c:pt idx="39">
                  <c:v>98.990314912405168</c:v>
                </c:pt>
                <c:pt idx="40">
                  <c:v>100.48096719388515</c:v>
                </c:pt>
                <c:pt idx="41">
                  <c:v>101.38373223622064</c:v>
                </c:pt>
                <c:pt idx="42">
                  <c:v>101.12975387628418</c:v>
                </c:pt>
                <c:pt idx="43">
                  <c:v>102.06850495327006</c:v>
                </c:pt>
                <c:pt idx="44">
                  <c:v>101.78096269563083</c:v>
                </c:pt>
                <c:pt idx="45">
                  <c:v>100.91106951187021</c:v>
                </c:pt>
                <c:pt idx="46">
                  <c:v>102.78822564627805</c:v>
                </c:pt>
                <c:pt idx="47">
                  <c:v>103.07542188435335</c:v>
                </c:pt>
                <c:pt idx="48">
                  <c:v>103.63458949969031</c:v>
                </c:pt>
                <c:pt idx="49">
                  <c:v>103.76538489486195</c:v>
                </c:pt>
                <c:pt idx="50">
                  <c:v>105.02939436195724</c:v>
                </c:pt>
                <c:pt idx="51">
                  <c:v>104.12732135874963</c:v>
                </c:pt>
                <c:pt idx="52">
                  <c:v>103.83009055331989</c:v>
                </c:pt>
                <c:pt idx="53">
                  <c:v>104.1712658433708</c:v>
                </c:pt>
                <c:pt idx="54">
                  <c:v>104.73043345870778</c:v>
                </c:pt>
                <c:pt idx="55">
                  <c:v>105.30794011093387</c:v>
                </c:pt>
                <c:pt idx="56">
                  <c:v>104.49479413566043</c:v>
                </c:pt>
                <c:pt idx="57">
                  <c:v>102.71556153784935</c:v>
                </c:pt>
                <c:pt idx="58">
                  <c:v>103.30725499219729</c:v>
                </c:pt>
                <c:pt idx="59">
                  <c:v>103.57576617381947</c:v>
                </c:pt>
                <c:pt idx="60">
                  <c:v>102.76262019854603</c:v>
                </c:pt>
                <c:pt idx="61">
                  <c:v>103.93562652032347</c:v>
                </c:pt>
                <c:pt idx="62">
                  <c:v>106.44115418285752</c:v>
                </c:pt>
                <c:pt idx="63">
                  <c:v>106.5543025802679</c:v>
                </c:pt>
                <c:pt idx="64">
                  <c:v>105.71382105944271</c:v>
                </c:pt>
                <c:pt idx="65">
                  <c:v>104.03355005692023</c:v>
                </c:pt>
                <c:pt idx="66">
                  <c:v>103.76988314919326</c:v>
                </c:pt>
                <c:pt idx="67">
                  <c:v>103.76573091442592</c:v>
                </c:pt>
                <c:pt idx="68">
                  <c:v>102.0650447576306</c:v>
                </c:pt>
                <c:pt idx="69">
                  <c:v>101.98546025792299</c:v>
                </c:pt>
                <c:pt idx="70">
                  <c:v>103.06573333656286</c:v>
                </c:pt>
                <c:pt idx="71">
                  <c:v>103.59479724983652</c:v>
                </c:pt>
                <c:pt idx="72">
                  <c:v>103.75465828837962</c:v>
                </c:pt>
                <c:pt idx="73">
                  <c:v>103.24981574458221</c:v>
                </c:pt>
                <c:pt idx="74">
                  <c:v>103.81521171207019</c:v>
                </c:pt>
                <c:pt idx="75">
                  <c:v>103.84981366846482</c:v>
                </c:pt>
                <c:pt idx="76">
                  <c:v>103.84012512067433</c:v>
                </c:pt>
                <c:pt idx="77">
                  <c:v>104.04047044819916</c:v>
                </c:pt>
                <c:pt idx="78">
                  <c:v>105.1086328421009</c:v>
                </c:pt>
                <c:pt idx="79">
                  <c:v>105.68786959214675</c:v>
                </c:pt>
                <c:pt idx="80">
                  <c:v>104.99825260120208</c:v>
                </c:pt>
                <c:pt idx="81">
                  <c:v>104.99894464032997</c:v>
                </c:pt>
                <c:pt idx="82">
                  <c:v>105.24012027640043</c:v>
                </c:pt>
                <c:pt idx="83">
                  <c:v>106.46053127843851</c:v>
                </c:pt>
                <c:pt idx="84">
                  <c:v>107.18544226490567</c:v>
                </c:pt>
                <c:pt idx="85">
                  <c:v>106.61693212134216</c:v>
                </c:pt>
                <c:pt idx="86">
                  <c:v>105.87541219580557</c:v>
                </c:pt>
                <c:pt idx="87">
                  <c:v>105.52800855360363</c:v>
                </c:pt>
                <c:pt idx="88">
                  <c:v>105.09617613779882</c:v>
                </c:pt>
                <c:pt idx="89">
                  <c:v>104.59237165269326</c:v>
                </c:pt>
                <c:pt idx="90">
                  <c:v>103.55777315649428</c:v>
                </c:pt>
                <c:pt idx="91">
                  <c:v>103.99271974837458</c:v>
                </c:pt>
                <c:pt idx="92">
                  <c:v>102.70414289223912</c:v>
                </c:pt>
                <c:pt idx="93">
                  <c:v>103.64566212573658</c:v>
                </c:pt>
                <c:pt idx="94">
                  <c:v>103.10414150816088</c:v>
                </c:pt>
                <c:pt idx="95">
                  <c:v>102.96642572171031</c:v>
                </c:pt>
                <c:pt idx="96">
                  <c:v>102.42767326064617</c:v>
                </c:pt>
                <c:pt idx="97">
                  <c:v>103.01486846066277</c:v>
                </c:pt>
                <c:pt idx="98">
                  <c:v>103.67472776910806</c:v>
                </c:pt>
                <c:pt idx="99">
                  <c:v>103.71728817547346</c:v>
                </c:pt>
                <c:pt idx="100">
                  <c:v>104.02074733305422</c:v>
                </c:pt>
                <c:pt idx="101">
                  <c:v>101.77369628478796</c:v>
                </c:pt>
                <c:pt idx="102">
                  <c:v>101.76677589350905</c:v>
                </c:pt>
                <c:pt idx="103">
                  <c:v>103.15604444275282</c:v>
                </c:pt>
                <c:pt idx="104">
                  <c:v>102.65985238805402</c:v>
                </c:pt>
                <c:pt idx="105">
                  <c:v>100.82664073826734</c:v>
                </c:pt>
                <c:pt idx="106">
                  <c:v>100.00588233258709</c:v>
                </c:pt>
                <c:pt idx="107">
                  <c:v>99.41107470216366</c:v>
                </c:pt>
                <c:pt idx="108">
                  <c:v>99.612804107944271</c:v>
                </c:pt>
                <c:pt idx="109">
                  <c:v>100.56989422181933</c:v>
                </c:pt>
                <c:pt idx="110">
                  <c:v>101.66089390694151</c:v>
                </c:pt>
                <c:pt idx="111">
                  <c:v>101.4868460662766</c:v>
                </c:pt>
                <c:pt idx="112">
                  <c:v>102.31348680454396</c:v>
                </c:pt>
                <c:pt idx="113">
                  <c:v>102.66227452500165</c:v>
                </c:pt>
                <c:pt idx="114">
                  <c:v>101.70933664589397</c:v>
                </c:pt>
                <c:pt idx="115">
                  <c:v>101.55604997906582</c:v>
                </c:pt>
                <c:pt idx="116">
                  <c:v>99.740831346604352</c:v>
                </c:pt>
                <c:pt idx="117">
                  <c:v>100.15916899941524</c:v>
                </c:pt>
                <c:pt idx="118">
                  <c:v>99.856401880962366</c:v>
                </c:pt>
                <c:pt idx="119">
                  <c:v>100.03217981944698</c:v>
                </c:pt>
                <c:pt idx="120">
                  <c:v>101.36781533627912</c:v>
                </c:pt>
                <c:pt idx="121">
                  <c:v>101.54912958778691</c:v>
                </c:pt>
                <c:pt idx="122">
                  <c:v>102.30968058934053</c:v>
                </c:pt>
                <c:pt idx="123">
                  <c:v>102.13701682693141</c:v>
                </c:pt>
                <c:pt idx="124">
                  <c:v>103.9134812682309</c:v>
                </c:pt>
                <c:pt idx="125">
                  <c:v>106.24911332486739</c:v>
                </c:pt>
                <c:pt idx="126">
                  <c:v>105.75603544624414</c:v>
                </c:pt>
                <c:pt idx="127">
                  <c:v>106.7006688558171</c:v>
                </c:pt>
                <c:pt idx="128">
                  <c:v>106.82592793796562</c:v>
                </c:pt>
                <c:pt idx="129">
                  <c:v>107.3934000228373</c:v>
                </c:pt>
                <c:pt idx="130">
                  <c:v>107.58647893951925</c:v>
                </c:pt>
                <c:pt idx="131">
                  <c:v>106.99962975906658</c:v>
                </c:pt>
                <c:pt idx="132">
                  <c:v>106.23042826841431</c:v>
                </c:pt>
                <c:pt idx="133">
                  <c:v>106.27748692911096</c:v>
                </c:pt>
                <c:pt idx="134">
                  <c:v>107.25672229507859</c:v>
                </c:pt>
                <c:pt idx="135">
                  <c:v>107.35672194905901</c:v>
                </c:pt>
                <c:pt idx="136">
                  <c:v>107.91450548614021</c:v>
                </c:pt>
                <c:pt idx="137">
                  <c:v>106.51451033041408</c:v>
                </c:pt>
                <c:pt idx="138">
                  <c:v>106.46018525887455</c:v>
                </c:pt>
                <c:pt idx="139">
                  <c:v>106.19236611638023</c:v>
                </c:pt>
                <c:pt idx="140">
                  <c:v>105.04946349666611</c:v>
                </c:pt>
                <c:pt idx="141">
                  <c:v>105.30932418918968</c:v>
                </c:pt>
                <c:pt idx="142">
                  <c:v>105.76676205272646</c:v>
                </c:pt>
                <c:pt idx="143">
                  <c:v>106.31105082681376</c:v>
                </c:pt>
                <c:pt idx="144">
                  <c:v>106.11658783187603</c:v>
                </c:pt>
                <c:pt idx="145">
                  <c:v>106.02766080394186</c:v>
                </c:pt>
                <c:pt idx="146">
                  <c:v>105.46434095383755</c:v>
                </c:pt>
                <c:pt idx="147">
                  <c:v>104.97126307521427</c:v>
                </c:pt>
                <c:pt idx="148">
                  <c:v>104.74219812388195</c:v>
                </c:pt>
                <c:pt idx="149">
                  <c:v>104.56918834190887</c:v>
                </c:pt>
                <c:pt idx="150">
                  <c:v>104.15742506081295</c:v>
                </c:pt>
                <c:pt idx="151">
                  <c:v>103.64981436050394</c:v>
                </c:pt>
                <c:pt idx="152">
                  <c:v>104.561921931066</c:v>
                </c:pt>
                <c:pt idx="153">
                  <c:v>102.62767256860705</c:v>
                </c:pt>
                <c:pt idx="154">
                  <c:v>103.06158110179551</c:v>
                </c:pt>
                <c:pt idx="155">
                  <c:v>102.98303466077974</c:v>
                </c:pt>
                <c:pt idx="156">
                  <c:v>104.93631509925572</c:v>
                </c:pt>
                <c:pt idx="157">
                  <c:v>105.08890972695598</c:v>
                </c:pt>
                <c:pt idx="158">
                  <c:v>104.82801097574057</c:v>
                </c:pt>
                <c:pt idx="159">
                  <c:v>104.86814924515832</c:v>
                </c:pt>
                <c:pt idx="160">
                  <c:v>103.82490025986071</c:v>
                </c:pt>
                <c:pt idx="161">
                  <c:v>103.34600918335923</c:v>
                </c:pt>
                <c:pt idx="162">
                  <c:v>102.84497285476522</c:v>
                </c:pt>
                <c:pt idx="163">
                  <c:v>102.39999169553047</c:v>
                </c:pt>
                <c:pt idx="164">
                  <c:v>101.37162155148252</c:v>
                </c:pt>
                <c:pt idx="165">
                  <c:v>100.63494589984118</c:v>
                </c:pt>
                <c:pt idx="166">
                  <c:v>101.33528949726821</c:v>
                </c:pt>
                <c:pt idx="167">
                  <c:v>101.78373085214238</c:v>
                </c:pt>
                <c:pt idx="168">
                  <c:v>101.62144767665164</c:v>
                </c:pt>
                <c:pt idx="169">
                  <c:v>100.91383766838177</c:v>
                </c:pt>
                <c:pt idx="170">
                  <c:v>99.710727644541038</c:v>
                </c:pt>
                <c:pt idx="171">
                  <c:v>99.092736703333216</c:v>
                </c:pt>
                <c:pt idx="172">
                  <c:v>101.93321130376714</c:v>
                </c:pt>
                <c:pt idx="173">
                  <c:v>101.03978878965816</c:v>
                </c:pt>
                <c:pt idx="174">
                  <c:v>99.76055446174928</c:v>
                </c:pt>
                <c:pt idx="175">
                  <c:v>100.89030833803345</c:v>
                </c:pt>
                <c:pt idx="176">
                  <c:v>102.4370157888727</c:v>
                </c:pt>
                <c:pt idx="177">
                  <c:v>102.53286320808581</c:v>
                </c:pt>
                <c:pt idx="178">
                  <c:v>102.95293095871642</c:v>
                </c:pt>
                <c:pt idx="179">
                  <c:v>103.31106120740068</c:v>
                </c:pt>
                <c:pt idx="180">
                  <c:v>102.40933422375701</c:v>
                </c:pt>
                <c:pt idx="181">
                  <c:v>101.60345465932646</c:v>
                </c:pt>
                <c:pt idx="182">
                  <c:v>101.67542672862726</c:v>
                </c:pt>
                <c:pt idx="183">
                  <c:v>102.30206815893372</c:v>
                </c:pt>
                <c:pt idx="184">
                  <c:v>101.7006861567953</c:v>
                </c:pt>
                <c:pt idx="185">
                  <c:v>101.63148224400609</c:v>
                </c:pt>
                <c:pt idx="186">
                  <c:v>100.91314562925389</c:v>
                </c:pt>
                <c:pt idx="187">
                  <c:v>100.39619240071835</c:v>
                </c:pt>
                <c:pt idx="188">
                  <c:v>99.778547479074476</c:v>
                </c:pt>
                <c:pt idx="189">
                  <c:v>99.926989872007383</c:v>
                </c:pt>
                <c:pt idx="190">
                  <c:v>98.470939546921983</c:v>
                </c:pt>
                <c:pt idx="191">
                  <c:v>97.85537074266179</c:v>
                </c:pt>
                <c:pt idx="192">
                  <c:v>98.126304061231636</c:v>
                </c:pt>
                <c:pt idx="193">
                  <c:v>96.895858491839121</c:v>
                </c:pt>
                <c:pt idx="194">
                  <c:v>96.293438431008894</c:v>
                </c:pt>
                <c:pt idx="195">
                  <c:v>96.470254428185385</c:v>
                </c:pt>
                <c:pt idx="196">
                  <c:v>95.787557828519638</c:v>
                </c:pt>
                <c:pt idx="197">
                  <c:v>95.480292455735466</c:v>
                </c:pt>
                <c:pt idx="198">
                  <c:v>94.445693959536484</c:v>
                </c:pt>
                <c:pt idx="199">
                  <c:v>93.444313341476331</c:v>
                </c:pt>
                <c:pt idx="200">
                  <c:v>95.526313057740296</c:v>
                </c:pt>
                <c:pt idx="201">
                  <c:v>95.532195390327374</c:v>
                </c:pt>
                <c:pt idx="202">
                  <c:v>93.89067857896687</c:v>
                </c:pt>
                <c:pt idx="203">
                  <c:v>92.634281542278401</c:v>
                </c:pt>
                <c:pt idx="204">
                  <c:v>91.469579690035687</c:v>
                </c:pt>
                <c:pt idx="205">
                  <c:v>91.078923602340481</c:v>
                </c:pt>
                <c:pt idx="206">
                  <c:v>90.815256694613524</c:v>
                </c:pt>
                <c:pt idx="207">
                  <c:v>89.660935429289168</c:v>
                </c:pt>
                <c:pt idx="208">
                  <c:v>90.966467244057995</c:v>
                </c:pt>
                <c:pt idx="209">
                  <c:v>92.131169096300709</c:v>
                </c:pt>
                <c:pt idx="210">
                  <c:v>91.016294061266237</c:v>
                </c:pt>
                <c:pt idx="211">
                  <c:v>89.143636181189677</c:v>
                </c:pt>
                <c:pt idx="212">
                  <c:v>88.83152653451026</c:v>
                </c:pt>
                <c:pt idx="213">
                  <c:v>89.323220334877746</c:v>
                </c:pt>
                <c:pt idx="214">
                  <c:v>92.221134182926704</c:v>
                </c:pt>
                <c:pt idx="215">
                  <c:v>91.474423963930946</c:v>
                </c:pt>
                <c:pt idx="216">
                  <c:v>90.074428808204814</c:v>
                </c:pt>
                <c:pt idx="217">
                  <c:v>87.475821882969271</c:v>
                </c:pt>
                <c:pt idx="218">
                  <c:v>86.626689873045422</c:v>
                </c:pt>
                <c:pt idx="219">
                  <c:v>86.488628067030916</c:v>
                </c:pt>
                <c:pt idx="220">
                  <c:v>84.906972640233093</c:v>
                </c:pt>
                <c:pt idx="221">
                  <c:v>83.929467372085213</c:v>
                </c:pt>
                <c:pt idx="222">
                  <c:v>85.047802602759162</c:v>
                </c:pt>
                <c:pt idx="223">
                  <c:v>84.333618222774319</c:v>
                </c:pt>
                <c:pt idx="224">
                  <c:v>81.243663516735239</c:v>
                </c:pt>
                <c:pt idx="225">
                  <c:v>78.512877118072254</c:v>
                </c:pt>
                <c:pt idx="226">
                  <c:v>76.934335867349944</c:v>
                </c:pt>
                <c:pt idx="227">
                  <c:v>78.620143182895561</c:v>
                </c:pt>
                <c:pt idx="228">
                  <c:v>79.063048224746638</c:v>
                </c:pt>
                <c:pt idx="229">
                  <c:v>79.73121200272665</c:v>
                </c:pt>
                <c:pt idx="230">
                  <c:v>83.476181743315777</c:v>
                </c:pt>
                <c:pt idx="231">
                  <c:v>83.854381126708915</c:v>
                </c:pt>
                <c:pt idx="232">
                  <c:v>84.353341337919247</c:v>
                </c:pt>
                <c:pt idx="233">
                  <c:v>81.960270033667712</c:v>
                </c:pt>
                <c:pt idx="234">
                  <c:v>80.796952259680765</c:v>
                </c:pt>
                <c:pt idx="235">
                  <c:v>78.487271670340249</c:v>
                </c:pt>
                <c:pt idx="236">
                  <c:v>80.492109023844222</c:v>
                </c:pt>
                <c:pt idx="237">
                  <c:v>81.494527700596194</c:v>
                </c:pt>
                <c:pt idx="238">
                  <c:v>83.876872398365407</c:v>
                </c:pt>
                <c:pt idx="239">
                  <c:v>84.613548050006742</c:v>
                </c:pt>
                <c:pt idx="240">
                  <c:v>83.675835031712708</c:v>
                </c:pt>
                <c:pt idx="241">
                  <c:v>82.887948484607321</c:v>
                </c:pt>
                <c:pt idx="242">
                  <c:v>84.060608786820808</c:v>
                </c:pt>
                <c:pt idx="243">
                  <c:v>85.434998494814892</c:v>
                </c:pt>
                <c:pt idx="244">
                  <c:v>85.515275033650411</c:v>
                </c:pt>
                <c:pt idx="245">
                  <c:v>87.181013214487152</c:v>
                </c:pt>
                <c:pt idx="246">
                  <c:v>86.213888533257673</c:v>
                </c:pt>
                <c:pt idx="247">
                  <c:v>87.085857834401963</c:v>
                </c:pt>
                <c:pt idx="248">
                  <c:v>88.39415780568234</c:v>
                </c:pt>
                <c:pt idx="249">
                  <c:v>86.940875637108533</c:v>
                </c:pt>
              </c:numCache>
            </c:numRef>
          </c:val>
          <c:smooth val="0"/>
          <c:extLst>
            <c:ext xmlns:c16="http://schemas.microsoft.com/office/drawing/2014/chart" uri="{C3380CC4-5D6E-409C-BE32-E72D297353CC}">
              <c16:uniqueId val="{0000000A-3D12-4B15-8069-2F347FD537FD}"/>
            </c:ext>
          </c:extLst>
        </c:ser>
        <c:ser>
          <c:idx val="11"/>
          <c:order val="11"/>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T$7:$T$257</c:f>
              <c:numCache>
                <c:formatCode>_(* #,##0.00_);_(* \(#,##0.00\);_(* "-"??_);_(@_)</c:formatCode>
                <c:ptCount val="251"/>
                <c:pt idx="0" formatCode="General">
                  <c:v>100</c:v>
                </c:pt>
                <c:pt idx="1">
                  <c:v>100.27416007527022</c:v>
                </c:pt>
                <c:pt idx="2">
                  <c:v>102.42377314491769</c:v>
                </c:pt>
                <c:pt idx="3">
                  <c:v>99.376049483867774</c:v>
                </c:pt>
                <c:pt idx="4">
                  <c:v>100.13910585099917</c:v>
                </c:pt>
                <c:pt idx="5">
                  <c:v>99.955882286738117</c:v>
                </c:pt>
                <c:pt idx="6">
                  <c:v>99.411163582178233</c:v>
                </c:pt>
                <c:pt idx="7">
                  <c:v>98.959182111617807</c:v>
                </c:pt>
                <c:pt idx="8">
                  <c:v>96.663260299010048</c:v>
                </c:pt>
                <c:pt idx="9">
                  <c:v>97.722085417295048</c:v>
                </c:pt>
                <c:pt idx="10">
                  <c:v>100.10219102969842</c:v>
                </c:pt>
                <c:pt idx="11">
                  <c:v>100.02295921812608</c:v>
                </c:pt>
                <c:pt idx="12">
                  <c:v>100.63655557706419</c:v>
                </c:pt>
                <c:pt idx="13">
                  <c:v>101.9632382401534</c:v>
                </c:pt>
                <c:pt idx="14">
                  <c:v>101.31362742140968</c:v>
                </c:pt>
                <c:pt idx="15">
                  <c:v>100.3452886333863</c:v>
                </c:pt>
                <c:pt idx="16">
                  <c:v>100.04501807475701</c:v>
                </c:pt>
                <c:pt idx="17">
                  <c:v>99.924369634408222</c:v>
                </c:pt>
                <c:pt idx="18">
                  <c:v>101.19207861956576</c:v>
                </c:pt>
                <c:pt idx="19">
                  <c:v>102.25765644906429</c:v>
                </c:pt>
                <c:pt idx="20">
                  <c:v>101.34559025448718</c:v>
                </c:pt>
                <c:pt idx="21">
                  <c:v>102.38190633539365</c:v>
                </c:pt>
                <c:pt idx="22">
                  <c:v>102.43457748285935</c:v>
                </c:pt>
                <c:pt idx="23">
                  <c:v>102.46428941219898</c:v>
                </c:pt>
                <c:pt idx="24">
                  <c:v>103.7085889984829</c:v>
                </c:pt>
                <c:pt idx="25">
                  <c:v>104.62560718128327</c:v>
                </c:pt>
                <c:pt idx="26">
                  <c:v>103.622604475697</c:v>
                </c:pt>
                <c:pt idx="27">
                  <c:v>102.27791458270497</c:v>
                </c:pt>
                <c:pt idx="28">
                  <c:v>103.82383526986085</c:v>
                </c:pt>
                <c:pt idx="29">
                  <c:v>104.01831335281115</c:v>
                </c:pt>
                <c:pt idx="30">
                  <c:v>104.30147704303276</c:v>
                </c:pt>
                <c:pt idx="31">
                  <c:v>104.12725709372313</c:v>
                </c:pt>
                <c:pt idx="32">
                  <c:v>105.2572107701242</c:v>
                </c:pt>
                <c:pt idx="33">
                  <c:v>105.32518806300727</c:v>
                </c:pt>
                <c:pt idx="34">
                  <c:v>106.40427131493296</c:v>
                </c:pt>
                <c:pt idx="35">
                  <c:v>105.929780806994</c:v>
                </c:pt>
                <c:pt idx="36">
                  <c:v>104.54547500821579</c:v>
                </c:pt>
                <c:pt idx="37">
                  <c:v>105.72494856684958</c:v>
                </c:pt>
                <c:pt idx="38">
                  <c:v>106.64376747264026</c:v>
                </c:pt>
                <c:pt idx="39">
                  <c:v>106.53572409322342</c:v>
                </c:pt>
                <c:pt idx="40">
                  <c:v>106.36600595138947</c:v>
                </c:pt>
                <c:pt idx="41">
                  <c:v>107.00616297443423</c:v>
                </c:pt>
                <c:pt idx="42">
                  <c:v>106.97600086434701</c:v>
                </c:pt>
                <c:pt idx="43">
                  <c:v>104.44778578599308</c:v>
                </c:pt>
                <c:pt idx="44">
                  <c:v>104.49235368000251</c:v>
                </c:pt>
                <c:pt idx="45">
                  <c:v>104.38791174656623</c:v>
                </c:pt>
                <c:pt idx="46">
                  <c:v>105.53182102614198</c:v>
                </c:pt>
                <c:pt idx="47">
                  <c:v>105.72945037432528</c:v>
                </c:pt>
                <c:pt idx="48">
                  <c:v>105.74925832721837</c:v>
                </c:pt>
                <c:pt idx="49">
                  <c:v>106.91792754791048</c:v>
                </c:pt>
                <c:pt idx="50">
                  <c:v>107.78542584847817</c:v>
                </c:pt>
                <c:pt idx="51">
                  <c:v>107.74626012343955</c:v>
                </c:pt>
                <c:pt idx="52">
                  <c:v>108.63131547316247</c:v>
                </c:pt>
                <c:pt idx="53">
                  <c:v>109.63341781725362</c:v>
                </c:pt>
                <c:pt idx="54">
                  <c:v>109.74011065442775</c:v>
                </c:pt>
                <c:pt idx="55">
                  <c:v>110.9835098792165</c:v>
                </c:pt>
                <c:pt idx="56">
                  <c:v>111.16313199749699</c:v>
                </c:pt>
                <c:pt idx="57">
                  <c:v>111.71685431700826</c:v>
                </c:pt>
                <c:pt idx="58">
                  <c:v>110.75571842094601</c:v>
                </c:pt>
                <c:pt idx="59">
                  <c:v>111.3319497778358</c:v>
                </c:pt>
                <c:pt idx="60">
                  <c:v>112.56454466468287</c:v>
                </c:pt>
                <c:pt idx="61">
                  <c:v>112.89587769489448</c:v>
                </c:pt>
                <c:pt idx="62">
                  <c:v>111.92933962986137</c:v>
                </c:pt>
                <c:pt idx="63">
                  <c:v>113.64587882034635</c:v>
                </c:pt>
                <c:pt idx="64">
                  <c:v>114.25137192582821</c:v>
                </c:pt>
                <c:pt idx="65">
                  <c:v>114.32295066469187</c:v>
                </c:pt>
                <c:pt idx="66">
                  <c:v>112.97646004870955</c:v>
                </c:pt>
                <c:pt idx="67">
                  <c:v>113.21190457968872</c:v>
                </c:pt>
                <c:pt idx="68">
                  <c:v>111.66463335029013</c:v>
                </c:pt>
                <c:pt idx="69">
                  <c:v>111.29458477578748</c:v>
                </c:pt>
                <c:pt idx="70">
                  <c:v>110.92138493605181</c:v>
                </c:pt>
                <c:pt idx="71">
                  <c:v>111.54398490994136</c:v>
                </c:pt>
                <c:pt idx="72">
                  <c:v>111.26847429242841</c:v>
                </c:pt>
                <c:pt idx="73">
                  <c:v>110.83314950952807</c:v>
                </c:pt>
                <c:pt idx="74">
                  <c:v>110.91013041736258</c:v>
                </c:pt>
                <c:pt idx="75">
                  <c:v>112.47765978040182</c:v>
                </c:pt>
                <c:pt idx="76">
                  <c:v>112.27687916698554</c:v>
                </c:pt>
                <c:pt idx="77">
                  <c:v>112.13867367748152</c:v>
                </c:pt>
                <c:pt idx="78">
                  <c:v>114.35221241328392</c:v>
                </c:pt>
                <c:pt idx="79">
                  <c:v>114.7461205674078</c:v>
                </c:pt>
                <c:pt idx="80">
                  <c:v>114.24056758788652</c:v>
                </c:pt>
                <c:pt idx="81">
                  <c:v>113.00257053206862</c:v>
                </c:pt>
                <c:pt idx="82">
                  <c:v>113.59410803437579</c:v>
                </c:pt>
                <c:pt idx="83">
                  <c:v>114.68804725097127</c:v>
                </c:pt>
                <c:pt idx="84">
                  <c:v>114.35671422075964</c:v>
                </c:pt>
                <c:pt idx="85">
                  <c:v>113.73051280088956</c:v>
                </c:pt>
                <c:pt idx="86">
                  <c:v>112.39572688434407</c:v>
                </c:pt>
                <c:pt idx="87">
                  <c:v>113.28573422229024</c:v>
                </c:pt>
                <c:pt idx="88">
                  <c:v>112.05809132366645</c:v>
                </c:pt>
                <c:pt idx="89">
                  <c:v>112.78198196575926</c:v>
                </c:pt>
                <c:pt idx="90">
                  <c:v>112.96070372254459</c:v>
                </c:pt>
                <c:pt idx="91">
                  <c:v>113.08360306663126</c:v>
                </c:pt>
                <c:pt idx="92">
                  <c:v>113.95065118645135</c:v>
                </c:pt>
                <c:pt idx="93">
                  <c:v>114.36121602823532</c:v>
                </c:pt>
                <c:pt idx="94">
                  <c:v>113.74356804256908</c:v>
                </c:pt>
                <c:pt idx="95">
                  <c:v>113.53918598317223</c:v>
                </c:pt>
                <c:pt idx="96">
                  <c:v>114.02493100980043</c:v>
                </c:pt>
                <c:pt idx="97">
                  <c:v>113.07910125915555</c:v>
                </c:pt>
                <c:pt idx="98">
                  <c:v>112.96880697600086</c:v>
                </c:pt>
                <c:pt idx="99">
                  <c:v>111.96985589714271</c:v>
                </c:pt>
                <c:pt idx="100">
                  <c:v>111.47645779780582</c:v>
                </c:pt>
                <c:pt idx="101">
                  <c:v>111.96670463190972</c:v>
                </c:pt>
                <c:pt idx="102">
                  <c:v>112.52627930113941</c:v>
                </c:pt>
                <c:pt idx="103">
                  <c:v>113.0736990901847</c:v>
                </c:pt>
                <c:pt idx="104">
                  <c:v>113.94119739075239</c:v>
                </c:pt>
                <c:pt idx="105">
                  <c:v>113.84350816852967</c:v>
                </c:pt>
                <c:pt idx="106">
                  <c:v>114.85686503131005</c:v>
                </c:pt>
                <c:pt idx="107">
                  <c:v>114.99101889408595</c:v>
                </c:pt>
                <c:pt idx="108">
                  <c:v>116.00167467238096</c:v>
                </c:pt>
                <c:pt idx="109">
                  <c:v>116.40143517622323</c:v>
                </c:pt>
                <c:pt idx="110">
                  <c:v>116.22496432317575</c:v>
                </c:pt>
                <c:pt idx="111">
                  <c:v>116.81019929501694</c:v>
                </c:pt>
                <c:pt idx="112">
                  <c:v>116.23846974560286</c:v>
                </c:pt>
                <c:pt idx="113">
                  <c:v>115.93099629501245</c:v>
                </c:pt>
                <c:pt idx="114">
                  <c:v>115.80584604718793</c:v>
                </c:pt>
                <c:pt idx="115">
                  <c:v>116.10116461759397</c:v>
                </c:pt>
                <c:pt idx="116">
                  <c:v>116.53063705077588</c:v>
                </c:pt>
                <c:pt idx="117">
                  <c:v>116.80704802978394</c:v>
                </c:pt>
                <c:pt idx="118">
                  <c:v>117.57730728887648</c:v>
                </c:pt>
                <c:pt idx="119">
                  <c:v>118.50017782139528</c:v>
                </c:pt>
                <c:pt idx="120">
                  <c:v>119.36587539897268</c:v>
                </c:pt>
                <c:pt idx="121">
                  <c:v>119.41314437746753</c:v>
                </c:pt>
                <c:pt idx="122">
                  <c:v>118.93820368878106</c:v>
                </c:pt>
                <c:pt idx="123">
                  <c:v>119.88718470465894</c:v>
                </c:pt>
                <c:pt idx="124">
                  <c:v>119.17634930424566</c:v>
                </c:pt>
                <c:pt idx="125">
                  <c:v>117.95951074356353</c:v>
                </c:pt>
                <c:pt idx="126">
                  <c:v>118.13643177735862</c:v>
                </c:pt>
                <c:pt idx="127">
                  <c:v>118.31560371489151</c:v>
                </c:pt>
                <c:pt idx="128">
                  <c:v>118.14813647679543</c:v>
                </c:pt>
                <c:pt idx="129">
                  <c:v>119.6445372817186</c:v>
                </c:pt>
                <c:pt idx="130">
                  <c:v>119.61257444864113</c:v>
                </c:pt>
                <c:pt idx="131">
                  <c:v>120.65384251777087</c:v>
                </c:pt>
                <c:pt idx="132">
                  <c:v>119.98757501136706</c:v>
                </c:pt>
                <c:pt idx="133">
                  <c:v>118.12022527044607</c:v>
                </c:pt>
                <c:pt idx="134">
                  <c:v>118.39483552646388</c:v>
                </c:pt>
                <c:pt idx="135">
                  <c:v>117.27658654949961</c:v>
                </c:pt>
                <c:pt idx="136">
                  <c:v>116.20785745476809</c:v>
                </c:pt>
                <c:pt idx="137">
                  <c:v>115.5379885023837</c:v>
                </c:pt>
                <c:pt idx="138">
                  <c:v>115.92064213781832</c:v>
                </c:pt>
                <c:pt idx="139">
                  <c:v>114.87037045373715</c:v>
                </c:pt>
                <c:pt idx="140">
                  <c:v>116.89573363705527</c:v>
                </c:pt>
                <c:pt idx="141">
                  <c:v>117.56875385467265</c:v>
                </c:pt>
                <c:pt idx="142">
                  <c:v>119.06155321361527</c:v>
                </c:pt>
                <c:pt idx="143">
                  <c:v>119.36587539897268</c:v>
                </c:pt>
                <c:pt idx="144">
                  <c:v>119.60267047219459</c:v>
                </c:pt>
                <c:pt idx="145">
                  <c:v>119.11377418033339</c:v>
                </c:pt>
                <c:pt idx="146">
                  <c:v>120.02764109790078</c:v>
                </c:pt>
                <c:pt idx="147">
                  <c:v>120.16089459918156</c:v>
                </c:pt>
                <c:pt idx="148">
                  <c:v>121.11257669954487</c:v>
                </c:pt>
                <c:pt idx="149">
                  <c:v>121.44435991050403</c:v>
                </c:pt>
                <c:pt idx="150">
                  <c:v>121.46191695965931</c:v>
                </c:pt>
                <c:pt idx="151">
                  <c:v>121.6852066104541</c:v>
                </c:pt>
                <c:pt idx="152">
                  <c:v>120.97167012555541</c:v>
                </c:pt>
                <c:pt idx="153">
                  <c:v>121.45966605592147</c:v>
                </c:pt>
                <c:pt idx="154">
                  <c:v>121.53889786749379</c:v>
                </c:pt>
                <c:pt idx="155">
                  <c:v>119.73457343123263</c:v>
                </c:pt>
                <c:pt idx="156">
                  <c:v>118.90759139794626</c:v>
                </c:pt>
                <c:pt idx="157">
                  <c:v>118.65233891407398</c:v>
                </c:pt>
                <c:pt idx="158">
                  <c:v>119.12457851827509</c:v>
                </c:pt>
                <c:pt idx="159">
                  <c:v>120.64663962580975</c:v>
                </c:pt>
                <c:pt idx="160">
                  <c:v>120.95096181116718</c:v>
                </c:pt>
                <c:pt idx="161">
                  <c:v>121.07701242048682</c:v>
                </c:pt>
                <c:pt idx="162">
                  <c:v>121.17650236569983</c:v>
                </c:pt>
                <c:pt idx="163">
                  <c:v>122.33841887517838</c:v>
                </c:pt>
                <c:pt idx="164">
                  <c:v>122.23802856847024</c:v>
                </c:pt>
                <c:pt idx="165">
                  <c:v>121.86302800574428</c:v>
                </c:pt>
                <c:pt idx="166">
                  <c:v>122.07461295710227</c:v>
                </c:pt>
                <c:pt idx="167">
                  <c:v>122.31140803032419</c:v>
                </c:pt>
                <c:pt idx="168">
                  <c:v>121.44976207947489</c:v>
                </c:pt>
                <c:pt idx="169">
                  <c:v>120.92170006257513</c:v>
                </c:pt>
                <c:pt idx="170">
                  <c:v>121.84772186032691</c:v>
                </c:pt>
                <c:pt idx="171">
                  <c:v>122.17320254082014</c:v>
                </c:pt>
                <c:pt idx="172">
                  <c:v>121.72617305848297</c:v>
                </c:pt>
                <c:pt idx="173">
                  <c:v>120.19330761300662</c:v>
                </c:pt>
                <c:pt idx="174">
                  <c:v>119.67109794582524</c:v>
                </c:pt>
                <c:pt idx="175">
                  <c:v>119.69270662170861</c:v>
                </c:pt>
                <c:pt idx="176">
                  <c:v>119.2222677404978</c:v>
                </c:pt>
                <c:pt idx="177">
                  <c:v>119.4307014266228</c:v>
                </c:pt>
                <c:pt idx="178">
                  <c:v>121.01758856180756</c:v>
                </c:pt>
                <c:pt idx="179">
                  <c:v>121.37503207537826</c:v>
                </c:pt>
                <c:pt idx="180">
                  <c:v>121.75993661455074</c:v>
                </c:pt>
                <c:pt idx="181">
                  <c:v>121.9206511414333</c:v>
                </c:pt>
                <c:pt idx="182">
                  <c:v>121.8238622807057</c:v>
                </c:pt>
                <c:pt idx="183">
                  <c:v>123.40984905439534</c:v>
                </c:pt>
                <c:pt idx="184">
                  <c:v>123.17440452341614</c:v>
                </c:pt>
                <c:pt idx="185">
                  <c:v>123.19961464528006</c:v>
                </c:pt>
                <c:pt idx="186">
                  <c:v>123.56201014707405</c:v>
                </c:pt>
                <c:pt idx="187">
                  <c:v>122.76744112761273</c:v>
                </c:pt>
                <c:pt idx="188">
                  <c:v>122.80525631040862</c:v>
                </c:pt>
                <c:pt idx="189">
                  <c:v>122.48382725664354</c:v>
                </c:pt>
                <c:pt idx="190">
                  <c:v>121.90759589975374</c:v>
                </c:pt>
                <c:pt idx="191">
                  <c:v>122.97407409074744</c:v>
                </c:pt>
                <c:pt idx="192">
                  <c:v>123.33646959254141</c:v>
                </c:pt>
                <c:pt idx="193">
                  <c:v>123.39589345122066</c:v>
                </c:pt>
                <c:pt idx="194">
                  <c:v>123.38373857103629</c:v>
                </c:pt>
                <c:pt idx="195">
                  <c:v>123.28830025255138</c:v>
                </c:pt>
                <c:pt idx="196">
                  <c:v>124.51279188594219</c:v>
                </c:pt>
                <c:pt idx="197">
                  <c:v>124.81846461354232</c:v>
                </c:pt>
                <c:pt idx="198">
                  <c:v>125.15159836674424</c:v>
                </c:pt>
                <c:pt idx="199">
                  <c:v>125.50048844611112</c:v>
                </c:pt>
                <c:pt idx="200">
                  <c:v>125.39379560893697</c:v>
                </c:pt>
                <c:pt idx="201">
                  <c:v>125.39964795865539</c:v>
                </c:pt>
                <c:pt idx="202">
                  <c:v>125.57566863095533</c:v>
                </c:pt>
                <c:pt idx="203">
                  <c:v>126.74298730940473</c:v>
                </c:pt>
                <c:pt idx="204">
                  <c:v>127.08917630428618</c:v>
                </c:pt>
                <c:pt idx="205">
                  <c:v>127.32597137750807</c:v>
                </c:pt>
                <c:pt idx="206">
                  <c:v>127.33092336573134</c:v>
                </c:pt>
                <c:pt idx="207">
                  <c:v>127.63974735856445</c:v>
                </c:pt>
                <c:pt idx="208">
                  <c:v>128.92276248913939</c:v>
                </c:pt>
                <c:pt idx="209">
                  <c:v>128.97633399810024</c:v>
                </c:pt>
                <c:pt idx="210">
                  <c:v>128.81922091719824</c:v>
                </c:pt>
                <c:pt idx="211">
                  <c:v>129.56111878919384</c:v>
                </c:pt>
                <c:pt idx="212">
                  <c:v>128.95922712969258</c:v>
                </c:pt>
                <c:pt idx="213">
                  <c:v>129.17396334628353</c:v>
                </c:pt>
                <c:pt idx="214">
                  <c:v>128.75889669702386</c:v>
                </c:pt>
                <c:pt idx="215">
                  <c:v>129.655206565436</c:v>
                </c:pt>
                <c:pt idx="216">
                  <c:v>129.59218126077621</c:v>
                </c:pt>
                <c:pt idx="217">
                  <c:v>130.60013595458574</c:v>
                </c:pt>
                <c:pt idx="218">
                  <c:v>131.05526869037919</c:v>
                </c:pt>
                <c:pt idx="219">
                  <c:v>130.89995633246747</c:v>
                </c:pt>
                <c:pt idx="220">
                  <c:v>131.48294040057081</c:v>
                </c:pt>
                <c:pt idx="221">
                  <c:v>131.31322225873689</c:v>
                </c:pt>
                <c:pt idx="222">
                  <c:v>131.22273592847526</c:v>
                </c:pt>
                <c:pt idx="223">
                  <c:v>131.8556900595589</c:v>
                </c:pt>
                <c:pt idx="224">
                  <c:v>131.20562906006762</c:v>
                </c:pt>
                <c:pt idx="225">
                  <c:v>130.18822057055905</c:v>
                </c:pt>
                <c:pt idx="226">
                  <c:v>129.89380236164817</c:v>
                </c:pt>
                <c:pt idx="227">
                  <c:v>129.50439601500003</c:v>
                </c:pt>
                <c:pt idx="228">
                  <c:v>129.8546366366096</c:v>
                </c:pt>
                <c:pt idx="229">
                  <c:v>129.69752355570762</c:v>
                </c:pt>
                <c:pt idx="230">
                  <c:v>128.7494429013249</c:v>
                </c:pt>
                <c:pt idx="231">
                  <c:v>128.82327254392638</c:v>
                </c:pt>
                <c:pt idx="232">
                  <c:v>130.08422881787035</c:v>
                </c:pt>
                <c:pt idx="233">
                  <c:v>130.38630009948992</c:v>
                </c:pt>
                <c:pt idx="234">
                  <c:v>130.73789126334222</c:v>
                </c:pt>
                <c:pt idx="235">
                  <c:v>131.55902094691015</c:v>
                </c:pt>
                <c:pt idx="236">
                  <c:v>131.24749586959163</c:v>
                </c:pt>
                <c:pt idx="237">
                  <c:v>130.91706320087516</c:v>
                </c:pt>
                <c:pt idx="238">
                  <c:v>131.03546073748609</c:v>
                </c:pt>
                <c:pt idx="239">
                  <c:v>132.14560646099406</c:v>
                </c:pt>
                <c:pt idx="240">
                  <c:v>131.75439939135563</c:v>
                </c:pt>
                <c:pt idx="241">
                  <c:v>131.95563018551948</c:v>
                </c:pt>
                <c:pt idx="242">
                  <c:v>131.53921299401711</c:v>
                </c:pt>
                <c:pt idx="243">
                  <c:v>131.45728009795931</c:v>
                </c:pt>
                <c:pt idx="244">
                  <c:v>130.6748659586824</c:v>
                </c:pt>
                <c:pt idx="245">
                  <c:v>131.01790368833088</c:v>
                </c:pt>
                <c:pt idx="246">
                  <c:v>131.43702196431866</c:v>
                </c:pt>
                <c:pt idx="247">
                  <c:v>131.77600806723899</c:v>
                </c:pt>
                <c:pt idx="248">
                  <c:v>133.12745067144459</c:v>
                </c:pt>
                <c:pt idx="249">
                  <c:v>133.08063187369729</c:v>
                </c:pt>
                <c:pt idx="250">
                  <c:v>132.96403506007664</c:v>
                </c:pt>
              </c:numCache>
            </c:numRef>
          </c:val>
          <c:smooth val="0"/>
          <c:extLst>
            <c:ext xmlns:c16="http://schemas.microsoft.com/office/drawing/2014/chart" uri="{C3380CC4-5D6E-409C-BE32-E72D297353CC}">
              <c16:uniqueId val="{0000000B-3D12-4B15-8069-2F347FD537FD}"/>
            </c:ext>
          </c:extLst>
        </c:ser>
        <c:ser>
          <c:idx val="12"/>
          <c:order val="12"/>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U$7:$U$257</c:f>
              <c:numCache>
                <c:formatCode>_(* #,##0.00_);_(* \(#,##0.00\);_(* "-"??_);_(@_)</c:formatCode>
                <c:ptCount val="251"/>
                <c:pt idx="0" formatCode="General">
                  <c:v>100</c:v>
                </c:pt>
                <c:pt idx="1">
                  <c:v>100.09889430670971</c:v>
                </c:pt>
                <c:pt idx="2">
                  <c:v>100.38092621843739</c:v>
                </c:pt>
                <c:pt idx="3">
                  <c:v>100.80145594395991</c:v>
                </c:pt>
                <c:pt idx="4">
                  <c:v>100.76711764301902</c:v>
                </c:pt>
                <c:pt idx="5">
                  <c:v>100.6734885424536</c:v>
                </c:pt>
                <c:pt idx="6">
                  <c:v>100.90355515875741</c:v>
                </c:pt>
                <c:pt idx="7">
                  <c:v>101.05853535700386</c:v>
                </c:pt>
                <c:pt idx="8">
                  <c:v>99.860357576173811</c:v>
                </c:pt>
                <c:pt idx="9">
                  <c:v>101.25540828239818</c:v>
                </c:pt>
                <c:pt idx="10">
                  <c:v>101.29592747750841</c:v>
                </c:pt>
                <c:pt idx="11">
                  <c:v>101.62282810246548</c:v>
                </c:pt>
                <c:pt idx="12">
                  <c:v>101.36574868942152</c:v>
                </c:pt>
                <c:pt idx="13">
                  <c:v>101.05006524277178</c:v>
                </c:pt>
                <c:pt idx="14">
                  <c:v>100.83075796076277</c:v>
                </c:pt>
                <c:pt idx="15">
                  <c:v>100.33903349128951</c:v>
                </c:pt>
                <c:pt idx="16">
                  <c:v>99.391525307327797</c:v>
                </c:pt>
                <c:pt idx="17">
                  <c:v>98.763592244122421</c:v>
                </c:pt>
                <c:pt idx="18">
                  <c:v>99.468672023441613</c:v>
                </c:pt>
                <c:pt idx="19">
                  <c:v>100.21816267197767</c:v>
                </c:pt>
                <c:pt idx="20">
                  <c:v>99.83013987134585</c:v>
                </c:pt>
                <c:pt idx="21">
                  <c:v>99.887141450907677</c:v>
                </c:pt>
                <c:pt idx="22">
                  <c:v>99.852574227960531</c:v>
                </c:pt>
                <c:pt idx="23">
                  <c:v>99.522926538928189</c:v>
                </c:pt>
                <c:pt idx="24">
                  <c:v>100.06135109768101</c:v>
                </c:pt>
                <c:pt idx="25">
                  <c:v>100.00068676601883</c:v>
                </c:pt>
                <c:pt idx="26">
                  <c:v>99.952384222695329</c:v>
                </c:pt>
                <c:pt idx="27">
                  <c:v>100.5512441911041</c:v>
                </c:pt>
                <c:pt idx="28">
                  <c:v>101.19543071675481</c:v>
                </c:pt>
                <c:pt idx="29">
                  <c:v>101.82885790811072</c:v>
                </c:pt>
                <c:pt idx="30">
                  <c:v>102.14110752466634</c:v>
                </c:pt>
                <c:pt idx="31">
                  <c:v>102.10081725156239</c:v>
                </c:pt>
                <c:pt idx="32">
                  <c:v>101.55987455074056</c:v>
                </c:pt>
                <c:pt idx="33">
                  <c:v>100.55719616326716</c:v>
                </c:pt>
                <c:pt idx="34">
                  <c:v>100.58672710207632</c:v>
                </c:pt>
                <c:pt idx="35">
                  <c:v>101.16750223198956</c:v>
                </c:pt>
                <c:pt idx="36">
                  <c:v>100.05997756564338</c:v>
                </c:pt>
                <c:pt idx="37">
                  <c:v>99.095300231211226</c:v>
                </c:pt>
                <c:pt idx="38">
                  <c:v>99.492708834100213</c:v>
                </c:pt>
                <c:pt idx="39">
                  <c:v>99.525902525009741</c:v>
                </c:pt>
                <c:pt idx="40">
                  <c:v>100.58764279010141</c:v>
                </c:pt>
                <c:pt idx="41">
                  <c:v>100.88066295813016</c:v>
                </c:pt>
                <c:pt idx="42">
                  <c:v>100.95139985806836</c:v>
                </c:pt>
                <c:pt idx="43">
                  <c:v>101.11645262459081</c:v>
                </c:pt>
                <c:pt idx="44">
                  <c:v>101.63541881281049</c:v>
                </c:pt>
                <c:pt idx="45">
                  <c:v>101.43831696540988</c:v>
                </c:pt>
                <c:pt idx="46">
                  <c:v>101.53240390998788</c:v>
                </c:pt>
                <c:pt idx="47">
                  <c:v>100.81702264038643</c:v>
                </c:pt>
                <c:pt idx="48">
                  <c:v>100.93148364352264</c:v>
                </c:pt>
                <c:pt idx="49">
                  <c:v>101.49234255889019</c:v>
                </c:pt>
                <c:pt idx="50">
                  <c:v>101.63084037268504</c:v>
                </c:pt>
                <c:pt idx="51">
                  <c:v>101.76590435638578</c:v>
                </c:pt>
                <c:pt idx="52">
                  <c:v>101.76063915024152</c:v>
                </c:pt>
                <c:pt idx="53">
                  <c:v>101.76132591626032</c:v>
                </c:pt>
                <c:pt idx="54">
                  <c:v>101.22290135750751</c:v>
                </c:pt>
                <c:pt idx="55">
                  <c:v>101.27669802898151</c:v>
                </c:pt>
                <c:pt idx="56">
                  <c:v>101.48410136666438</c:v>
                </c:pt>
                <c:pt idx="57">
                  <c:v>101.52187349769935</c:v>
                </c:pt>
                <c:pt idx="58">
                  <c:v>102.24549595952659</c:v>
                </c:pt>
                <c:pt idx="59">
                  <c:v>102.54286564567452</c:v>
                </c:pt>
                <c:pt idx="60">
                  <c:v>102.47441796579906</c:v>
                </c:pt>
                <c:pt idx="61">
                  <c:v>101.73980724767074</c:v>
                </c:pt>
                <c:pt idx="62">
                  <c:v>101.81970102785982</c:v>
                </c:pt>
                <c:pt idx="63">
                  <c:v>101.91996886660715</c:v>
                </c:pt>
                <c:pt idx="64">
                  <c:v>101.53309067600669</c:v>
                </c:pt>
                <c:pt idx="65">
                  <c:v>102.06899709269052</c:v>
                </c:pt>
                <c:pt idx="66">
                  <c:v>102.47670718586177</c:v>
                </c:pt>
                <c:pt idx="67">
                  <c:v>102.84458484994161</c:v>
                </c:pt>
                <c:pt idx="68">
                  <c:v>103.08724217659045</c:v>
                </c:pt>
                <c:pt idx="69">
                  <c:v>103.35508092392922</c:v>
                </c:pt>
                <c:pt idx="70">
                  <c:v>103.38415401872582</c:v>
                </c:pt>
                <c:pt idx="71">
                  <c:v>103.66824622850994</c:v>
                </c:pt>
                <c:pt idx="72">
                  <c:v>103.64398049584507</c:v>
                </c:pt>
                <c:pt idx="73">
                  <c:v>103.93288006776092</c:v>
                </c:pt>
                <c:pt idx="74">
                  <c:v>103.95851933246342</c:v>
                </c:pt>
                <c:pt idx="75">
                  <c:v>104.03314790650826</c:v>
                </c:pt>
                <c:pt idx="76">
                  <c:v>104.44085799967951</c:v>
                </c:pt>
                <c:pt idx="77">
                  <c:v>104.92891971705241</c:v>
                </c:pt>
                <c:pt idx="78">
                  <c:v>105.09832200169402</c:v>
                </c:pt>
                <c:pt idx="79">
                  <c:v>105.23109676533204</c:v>
                </c:pt>
                <c:pt idx="80">
                  <c:v>104.93853444131585</c:v>
                </c:pt>
                <c:pt idx="81">
                  <c:v>104.52922189410067</c:v>
                </c:pt>
                <c:pt idx="82">
                  <c:v>104.58256072156217</c:v>
                </c:pt>
                <c:pt idx="83">
                  <c:v>104.4626055902754</c:v>
                </c:pt>
                <c:pt idx="84">
                  <c:v>104.65352654350664</c:v>
                </c:pt>
                <c:pt idx="85">
                  <c:v>105.13197353661607</c:v>
                </c:pt>
                <c:pt idx="86">
                  <c:v>105.52526154339216</c:v>
                </c:pt>
                <c:pt idx="87">
                  <c:v>105.54357530389396</c:v>
                </c:pt>
                <c:pt idx="88">
                  <c:v>105.36593182702654</c:v>
                </c:pt>
                <c:pt idx="89">
                  <c:v>105.01156056131676</c:v>
                </c:pt>
                <c:pt idx="90">
                  <c:v>104.87970148570382</c:v>
                </c:pt>
                <c:pt idx="91">
                  <c:v>104.89915985623699</c:v>
                </c:pt>
                <c:pt idx="92">
                  <c:v>104.96005310990546</c:v>
                </c:pt>
                <c:pt idx="93">
                  <c:v>105.01270517134813</c:v>
                </c:pt>
                <c:pt idx="94">
                  <c:v>105.63880685850332</c:v>
                </c:pt>
                <c:pt idx="95">
                  <c:v>105.90824805988601</c:v>
                </c:pt>
                <c:pt idx="96">
                  <c:v>106.46063686102146</c:v>
                </c:pt>
                <c:pt idx="97">
                  <c:v>106.43179268823113</c:v>
                </c:pt>
                <c:pt idx="98">
                  <c:v>105.98905752810019</c:v>
                </c:pt>
                <c:pt idx="99">
                  <c:v>105.21598791291808</c:v>
                </c:pt>
                <c:pt idx="100">
                  <c:v>105.35585925875056</c:v>
                </c:pt>
                <c:pt idx="101">
                  <c:v>104.800036627521</c:v>
                </c:pt>
                <c:pt idx="102">
                  <c:v>104.88862944394846</c:v>
                </c:pt>
                <c:pt idx="103">
                  <c:v>105.52549046539843</c:v>
                </c:pt>
                <c:pt idx="104">
                  <c:v>105.36387152897009</c:v>
                </c:pt>
                <c:pt idx="105">
                  <c:v>105.95380353913421</c:v>
                </c:pt>
                <c:pt idx="106">
                  <c:v>105.06695968683471</c:v>
                </c:pt>
                <c:pt idx="107">
                  <c:v>105.57997390289128</c:v>
                </c:pt>
                <c:pt idx="108">
                  <c:v>105.32678616395394</c:v>
                </c:pt>
                <c:pt idx="109">
                  <c:v>106.07101160634573</c:v>
                </c:pt>
                <c:pt idx="110">
                  <c:v>106.26559531167732</c:v>
                </c:pt>
                <c:pt idx="111">
                  <c:v>106.48810750177415</c:v>
                </c:pt>
                <c:pt idx="112">
                  <c:v>106.09230135292907</c:v>
                </c:pt>
                <c:pt idx="113">
                  <c:v>106.1028317652176</c:v>
                </c:pt>
                <c:pt idx="114">
                  <c:v>106.01767277888425</c:v>
                </c:pt>
                <c:pt idx="115">
                  <c:v>105.98241878991827</c:v>
                </c:pt>
                <c:pt idx="116">
                  <c:v>104.49557035917864</c:v>
                </c:pt>
                <c:pt idx="117">
                  <c:v>103.9015177529016</c:v>
                </c:pt>
                <c:pt idx="118">
                  <c:v>104.26664835290617</c:v>
                </c:pt>
                <c:pt idx="119">
                  <c:v>103.64787216995171</c:v>
                </c:pt>
                <c:pt idx="120">
                  <c:v>103.31707987088798</c:v>
                </c:pt>
                <c:pt idx="121">
                  <c:v>102.80383673282512</c:v>
                </c:pt>
                <c:pt idx="122">
                  <c:v>103.00597486436371</c:v>
                </c:pt>
                <c:pt idx="123">
                  <c:v>103.77973124556463</c:v>
                </c:pt>
                <c:pt idx="124">
                  <c:v>103.71082572167663</c:v>
                </c:pt>
                <c:pt idx="125">
                  <c:v>104.30213126387839</c:v>
                </c:pt>
                <c:pt idx="126">
                  <c:v>104.65512899755053</c:v>
                </c:pt>
                <c:pt idx="127">
                  <c:v>104.60522400018316</c:v>
                </c:pt>
                <c:pt idx="128">
                  <c:v>105.33456951216719</c:v>
                </c:pt>
                <c:pt idx="129">
                  <c:v>105.95998443330359</c:v>
                </c:pt>
                <c:pt idx="130">
                  <c:v>106.12183229173822</c:v>
                </c:pt>
                <c:pt idx="131">
                  <c:v>106.47391433738527</c:v>
                </c:pt>
                <c:pt idx="132">
                  <c:v>106.28345122816658</c:v>
                </c:pt>
                <c:pt idx="133">
                  <c:v>106.84110523544628</c:v>
                </c:pt>
                <c:pt idx="134">
                  <c:v>107.06087036146785</c:v>
                </c:pt>
                <c:pt idx="135">
                  <c:v>107.14396904974475</c:v>
                </c:pt>
                <c:pt idx="136">
                  <c:v>106.73786141061741</c:v>
                </c:pt>
                <c:pt idx="137">
                  <c:v>106.97067509099649</c:v>
                </c:pt>
                <c:pt idx="138">
                  <c:v>107.06476203557446</c:v>
                </c:pt>
                <c:pt idx="139">
                  <c:v>107.18929560698672</c:v>
                </c:pt>
                <c:pt idx="140">
                  <c:v>107.54023304260238</c:v>
                </c:pt>
                <c:pt idx="141">
                  <c:v>107.58029439370007</c:v>
                </c:pt>
                <c:pt idx="142">
                  <c:v>107.72268388160154</c:v>
                </c:pt>
                <c:pt idx="143">
                  <c:v>107.51619623194377</c:v>
                </c:pt>
                <c:pt idx="144">
                  <c:v>107.08948561225191</c:v>
                </c:pt>
                <c:pt idx="145">
                  <c:v>107.14786072385138</c:v>
                </c:pt>
                <c:pt idx="146">
                  <c:v>107.14282443971339</c:v>
                </c:pt>
                <c:pt idx="147">
                  <c:v>106.77174186754573</c:v>
                </c:pt>
                <c:pt idx="148">
                  <c:v>106.58379690039604</c:v>
                </c:pt>
                <c:pt idx="149">
                  <c:v>106.86102144999199</c:v>
                </c:pt>
                <c:pt idx="150">
                  <c:v>107.01577272623217</c:v>
                </c:pt>
                <c:pt idx="151">
                  <c:v>107.49696678341689</c:v>
                </c:pt>
                <c:pt idx="152">
                  <c:v>107.52924478630132</c:v>
                </c:pt>
                <c:pt idx="153">
                  <c:v>106.6989446695511</c:v>
                </c:pt>
                <c:pt idx="154">
                  <c:v>105.99890117436989</c:v>
                </c:pt>
                <c:pt idx="155">
                  <c:v>106.52931346290319</c:v>
                </c:pt>
                <c:pt idx="156">
                  <c:v>105.41354760433121</c:v>
                </c:pt>
                <c:pt idx="157">
                  <c:v>105.87253622690749</c:v>
                </c:pt>
                <c:pt idx="158">
                  <c:v>105.49550168257676</c:v>
                </c:pt>
                <c:pt idx="159">
                  <c:v>105.33777442025503</c:v>
                </c:pt>
                <c:pt idx="160">
                  <c:v>104.25199734450472</c:v>
                </c:pt>
                <c:pt idx="161">
                  <c:v>103.43749284618731</c:v>
                </c:pt>
                <c:pt idx="162">
                  <c:v>104.36439804958451</c:v>
                </c:pt>
                <c:pt idx="163">
                  <c:v>104.53242680218851</c:v>
                </c:pt>
                <c:pt idx="164">
                  <c:v>103.29281413822311</c:v>
                </c:pt>
                <c:pt idx="165">
                  <c:v>103.81979259666232</c:v>
                </c:pt>
                <c:pt idx="166">
                  <c:v>102.57903532266556</c:v>
                </c:pt>
                <c:pt idx="167">
                  <c:v>101.18123755236593</c:v>
                </c:pt>
                <c:pt idx="168">
                  <c:v>100.32598493693199</c:v>
                </c:pt>
                <c:pt idx="169">
                  <c:v>100.26486276125726</c:v>
                </c:pt>
                <c:pt idx="170">
                  <c:v>99.151386122747994</c:v>
                </c:pt>
                <c:pt idx="171">
                  <c:v>98.821509511709365</c:v>
                </c:pt>
                <c:pt idx="172">
                  <c:v>100.03800105304124</c:v>
                </c:pt>
                <c:pt idx="173">
                  <c:v>100.76139459286222</c:v>
                </c:pt>
                <c:pt idx="174">
                  <c:v>102.15324039099877</c:v>
                </c:pt>
                <c:pt idx="175">
                  <c:v>102.15598745507405</c:v>
                </c:pt>
                <c:pt idx="176">
                  <c:v>102.94553945470778</c:v>
                </c:pt>
                <c:pt idx="177">
                  <c:v>103.32898381521416</c:v>
                </c:pt>
                <c:pt idx="178">
                  <c:v>103.13874962800173</c:v>
                </c:pt>
                <c:pt idx="179">
                  <c:v>104.17027218826547</c:v>
                </c:pt>
                <c:pt idx="180">
                  <c:v>104.33555387679418</c:v>
                </c:pt>
                <c:pt idx="181">
                  <c:v>104.8632191012522</c:v>
                </c:pt>
                <c:pt idx="182">
                  <c:v>106.48398690566125</c:v>
                </c:pt>
                <c:pt idx="183">
                  <c:v>106.22118444246044</c:v>
                </c:pt>
                <c:pt idx="184">
                  <c:v>105.98974429411901</c:v>
                </c:pt>
                <c:pt idx="185">
                  <c:v>106.62111118741844</c:v>
                </c:pt>
                <c:pt idx="186">
                  <c:v>106.76281390930112</c:v>
                </c:pt>
                <c:pt idx="187">
                  <c:v>106.77242863356456</c:v>
                </c:pt>
                <c:pt idx="188">
                  <c:v>107.16617448435319</c:v>
                </c:pt>
                <c:pt idx="189">
                  <c:v>107.39349403658174</c:v>
                </c:pt>
                <c:pt idx="190">
                  <c:v>107.1677769383971</c:v>
                </c:pt>
                <c:pt idx="191">
                  <c:v>107.33351647093836</c:v>
                </c:pt>
                <c:pt idx="192">
                  <c:v>107.47041183068929</c:v>
                </c:pt>
                <c:pt idx="193">
                  <c:v>107.30879289426095</c:v>
                </c:pt>
                <c:pt idx="194">
                  <c:v>107.98045006066432</c:v>
                </c:pt>
                <c:pt idx="195">
                  <c:v>107.92734015520912</c:v>
                </c:pt>
                <c:pt idx="196">
                  <c:v>107.96602797426917</c:v>
                </c:pt>
                <c:pt idx="197">
                  <c:v>108.84737769841814</c:v>
                </c:pt>
                <c:pt idx="198">
                  <c:v>109.15367534281071</c:v>
                </c:pt>
                <c:pt idx="199">
                  <c:v>109.17885676350068</c:v>
                </c:pt>
                <c:pt idx="200">
                  <c:v>109.37115124876955</c:v>
                </c:pt>
                <c:pt idx="201">
                  <c:v>109.34345168601058</c:v>
                </c:pt>
                <c:pt idx="202">
                  <c:v>109.1928210058833</c:v>
                </c:pt>
                <c:pt idx="203">
                  <c:v>108.40372685026212</c:v>
                </c:pt>
                <c:pt idx="204">
                  <c:v>108.97832108600601</c:v>
                </c:pt>
                <c:pt idx="205">
                  <c:v>109.32216193942725</c:v>
                </c:pt>
                <c:pt idx="206">
                  <c:v>109.05043151798183</c:v>
                </c:pt>
                <c:pt idx="207">
                  <c:v>109.57260261428931</c:v>
                </c:pt>
                <c:pt idx="208">
                  <c:v>108.80548497127029</c:v>
                </c:pt>
                <c:pt idx="209">
                  <c:v>108.0232584758373</c:v>
                </c:pt>
                <c:pt idx="210">
                  <c:v>106.67742600096149</c:v>
                </c:pt>
                <c:pt idx="211">
                  <c:v>106.72641531030378</c:v>
                </c:pt>
                <c:pt idx="212">
                  <c:v>105.16608291555067</c:v>
                </c:pt>
                <c:pt idx="213">
                  <c:v>104.03154545246434</c:v>
                </c:pt>
                <c:pt idx="214">
                  <c:v>103.73051301421606</c:v>
                </c:pt>
                <c:pt idx="215">
                  <c:v>104.94151042739739</c:v>
                </c:pt>
                <c:pt idx="216">
                  <c:v>107.26255064899391</c:v>
                </c:pt>
                <c:pt idx="217">
                  <c:v>108.02508985188749</c:v>
                </c:pt>
                <c:pt idx="218">
                  <c:v>108.57656296499782</c:v>
                </c:pt>
                <c:pt idx="219">
                  <c:v>108.81990705766546</c:v>
                </c:pt>
                <c:pt idx="220">
                  <c:v>108.89751161779182</c:v>
                </c:pt>
                <c:pt idx="221">
                  <c:v>108.86592038092621</c:v>
                </c:pt>
                <c:pt idx="222">
                  <c:v>109.09713160726142</c:v>
                </c:pt>
                <c:pt idx="223">
                  <c:v>109.31094476111988</c:v>
                </c:pt>
                <c:pt idx="224">
                  <c:v>108.52368198154889</c:v>
                </c:pt>
                <c:pt idx="225">
                  <c:v>108.02440308586864</c:v>
                </c:pt>
                <c:pt idx="226">
                  <c:v>108.02440308586864</c:v>
                </c:pt>
                <c:pt idx="227">
                  <c:v>108.03653595220109</c:v>
                </c:pt>
                <c:pt idx="228">
                  <c:v>106.22049767644164</c:v>
                </c:pt>
                <c:pt idx="229">
                  <c:v>105.16791429160084</c:v>
                </c:pt>
                <c:pt idx="230">
                  <c:v>106.00782913261453</c:v>
                </c:pt>
                <c:pt idx="231">
                  <c:v>107.97060641439462</c:v>
                </c:pt>
                <c:pt idx="232">
                  <c:v>107.20783828949476</c:v>
                </c:pt>
                <c:pt idx="233">
                  <c:v>106.79600760021061</c:v>
                </c:pt>
                <c:pt idx="234">
                  <c:v>106.95052995444452</c:v>
                </c:pt>
                <c:pt idx="235">
                  <c:v>106.02522720509123</c:v>
                </c:pt>
                <c:pt idx="236">
                  <c:v>105.72327907881784</c:v>
                </c:pt>
                <c:pt idx="237">
                  <c:v>106.39699654327769</c:v>
                </c:pt>
                <c:pt idx="238">
                  <c:v>106.63919602591396</c:v>
                </c:pt>
                <c:pt idx="239">
                  <c:v>107.08399148410138</c:v>
                </c:pt>
                <c:pt idx="240">
                  <c:v>107.76160062266786</c:v>
                </c:pt>
                <c:pt idx="241">
                  <c:v>109.00304466268342</c:v>
                </c:pt>
                <c:pt idx="242">
                  <c:v>109.26332898381521</c:v>
                </c:pt>
                <c:pt idx="243">
                  <c:v>109.65386992651605</c:v>
                </c:pt>
                <c:pt idx="244">
                  <c:v>108.93482590481425</c:v>
                </c:pt>
                <c:pt idx="245">
                  <c:v>108.09101938969393</c:v>
                </c:pt>
                <c:pt idx="246">
                  <c:v>108.50353684499692</c:v>
                </c:pt>
                <c:pt idx="247">
                  <c:v>107.58212576975026</c:v>
                </c:pt>
                <c:pt idx="248">
                  <c:v>108.46439118192433</c:v>
                </c:pt>
                <c:pt idx="249">
                  <c:v>109.63258017993272</c:v>
                </c:pt>
                <c:pt idx="250">
                  <c:v>109.64723118833413</c:v>
                </c:pt>
              </c:numCache>
            </c:numRef>
          </c:val>
          <c:smooth val="0"/>
          <c:extLst>
            <c:ext xmlns:c16="http://schemas.microsoft.com/office/drawing/2014/chart" uri="{C3380CC4-5D6E-409C-BE32-E72D297353CC}">
              <c16:uniqueId val="{0000000C-3D12-4B15-8069-2F347FD537FD}"/>
            </c:ext>
          </c:extLst>
        </c:ser>
        <c:ser>
          <c:idx val="13"/>
          <c:order val="13"/>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V$7:$V$257</c:f>
              <c:numCache>
                <c:formatCode>_(* #,##0.00_);_(* \(#,##0.00\);_(* "-"??_);_(@_)</c:formatCode>
                <c:ptCount val="251"/>
                <c:pt idx="0" formatCode="General">
                  <c:v>100</c:v>
                </c:pt>
                <c:pt idx="1">
                  <c:v>100.0325538185058</c:v>
                </c:pt>
                <c:pt idx="2">
                  <c:v>100.11460467099702</c:v>
                </c:pt>
                <c:pt idx="3">
                  <c:v>99.968778793947649</c:v>
                </c:pt>
                <c:pt idx="4">
                  <c:v>99.704731154956178</c:v>
                </c:pt>
                <c:pt idx="5">
                  <c:v>99.162738632815774</c:v>
                </c:pt>
                <c:pt idx="6">
                  <c:v>99.094204278066712</c:v>
                </c:pt>
                <c:pt idx="7">
                  <c:v>99.628962618316947</c:v>
                </c:pt>
                <c:pt idx="8">
                  <c:v>99.104103684863816</c:v>
                </c:pt>
                <c:pt idx="9">
                  <c:v>98.966844602158062</c:v>
                </c:pt>
                <c:pt idx="10">
                  <c:v>99.524066980909382</c:v>
                </c:pt>
                <c:pt idx="11">
                  <c:v>99.466003152580328</c:v>
                </c:pt>
                <c:pt idx="12">
                  <c:v>100.78357612263081</c:v>
                </c:pt>
                <c:pt idx="13">
                  <c:v>101.41199808103806</c:v>
                </c:pt>
                <c:pt idx="14">
                  <c:v>101.55630097242634</c:v>
                </c:pt>
                <c:pt idx="15">
                  <c:v>101.47786721088022</c:v>
                </c:pt>
                <c:pt idx="16">
                  <c:v>101.31585961118176</c:v>
                </c:pt>
                <c:pt idx="17">
                  <c:v>101.48205542144819</c:v>
                </c:pt>
                <c:pt idx="18">
                  <c:v>101.80359576914584</c:v>
                </c:pt>
                <c:pt idx="19">
                  <c:v>101.65567578681247</c:v>
                </c:pt>
                <c:pt idx="20">
                  <c:v>101.79426748197164</c:v>
                </c:pt>
                <c:pt idx="21">
                  <c:v>102.17463315082888</c:v>
                </c:pt>
                <c:pt idx="22">
                  <c:v>102.40803070339093</c:v>
                </c:pt>
                <c:pt idx="23">
                  <c:v>102.46533303888945</c:v>
                </c:pt>
                <c:pt idx="24">
                  <c:v>102.63476519368571</c:v>
                </c:pt>
                <c:pt idx="25">
                  <c:v>102.46400042643597</c:v>
                </c:pt>
                <c:pt idx="26">
                  <c:v>102.43753855057453</c:v>
                </c:pt>
                <c:pt idx="27">
                  <c:v>102.80686257338887</c:v>
                </c:pt>
                <c:pt idx="28">
                  <c:v>102.85102915756048</c:v>
                </c:pt>
                <c:pt idx="29">
                  <c:v>101.42361084670387</c:v>
                </c:pt>
                <c:pt idx="30">
                  <c:v>101.20848912207492</c:v>
                </c:pt>
                <c:pt idx="31">
                  <c:v>101.83805331972799</c:v>
                </c:pt>
                <c:pt idx="32">
                  <c:v>102.2566840033201</c:v>
                </c:pt>
                <c:pt idx="33">
                  <c:v>102.38290143998294</c:v>
                </c:pt>
                <c:pt idx="34">
                  <c:v>102.58755263819191</c:v>
                </c:pt>
                <c:pt idx="35">
                  <c:v>102.92889179948371</c:v>
                </c:pt>
                <c:pt idx="36">
                  <c:v>102.92375172287753</c:v>
                </c:pt>
                <c:pt idx="37">
                  <c:v>102.88643857418083</c:v>
                </c:pt>
                <c:pt idx="38">
                  <c:v>102.75374844845837</c:v>
                </c:pt>
                <c:pt idx="39">
                  <c:v>102.61134928914643</c:v>
                </c:pt>
                <c:pt idx="40">
                  <c:v>103.26870797511441</c:v>
                </c:pt>
                <c:pt idx="41">
                  <c:v>103.77643331988028</c:v>
                </c:pt>
                <c:pt idx="42">
                  <c:v>103.61061825602913</c:v>
                </c:pt>
                <c:pt idx="43">
                  <c:v>103.23520229057044</c:v>
                </c:pt>
                <c:pt idx="44">
                  <c:v>103.25671446303333</c:v>
                </c:pt>
                <c:pt idx="45">
                  <c:v>103.29345649210713</c:v>
                </c:pt>
                <c:pt idx="46">
                  <c:v>103.38654899064126</c:v>
                </c:pt>
                <c:pt idx="47">
                  <c:v>103.04368684368839</c:v>
                </c:pt>
                <c:pt idx="48">
                  <c:v>103.45375073293685</c:v>
                </c:pt>
                <c:pt idx="49">
                  <c:v>103.32810441589693</c:v>
                </c:pt>
                <c:pt idx="50">
                  <c:v>102.9235613496699</c:v>
                </c:pt>
                <c:pt idx="51">
                  <c:v>103.15238994524867</c:v>
                </c:pt>
                <c:pt idx="52">
                  <c:v>104.00526191545907</c:v>
                </c:pt>
                <c:pt idx="53">
                  <c:v>103.50743597749026</c:v>
                </c:pt>
                <c:pt idx="54">
                  <c:v>103.33971718156275</c:v>
                </c:pt>
                <c:pt idx="55">
                  <c:v>103.38331264611145</c:v>
                </c:pt>
                <c:pt idx="56">
                  <c:v>103.45908118275067</c:v>
                </c:pt>
                <c:pt idx="57">
                  <c:v>103.64355282095019</c:v>
                </c:pt>
                <c:pt idx="58">
                  <c:v>103.06158192520618</c:v>
                </c:pt>
                <c:pt idx="59">
                  <c:v>103.48459119257392</c:v>
                </c:pt>
                <c:pt idx="60">
                  <c:v>102.79658242017653</c:v>
                </c:pt>
                <c:pt idx="61">
                  <c:v>102.64009564349952</c:v>
                </c:pt>
                <c:pt idx="62">
                  <c:v>103.0581552074687</c:v>
                </c:pt>
                <c:pt idx="63">
                  <c:v>102.914613808911</c:v>
                </c:pt>
                <c:pt idx="64">
                  <c:v>103.1110789591916</c:v>
                </c:pt>
                <c:pt idx="65">
                  <c:v>102.41202854075129</c:v>
                </c:pt>
                <c:pt idx="66">
                  <c:v>102.64561646652098</c:v>
                </c:pt>
                <c:pt idx="67">
                  <c:v>102.9199442587248</c:v>
                </c:pt>
                <c:pt idx="68">
                  <c:v>102.97229689082479</c:v>
                </c:pt>
                <c:pt idx="69">
                  <c:v>103.6924787353127</c:v>
                </c:pt>
                <c:pt idx="70">
                  <c:v>103.96414130260962</c:v>
                </c:pt>
                <c:pt idx="71">
                  <c:v>104.30148262654109</c:v>
                </c:pt>
                <c:pt idx="72">
                  <c:v>104.32927711485596</c:v>
                </c:pt>
                <c:pt idx="73">
                  <c:v>104.1429017445801</c:v>
                </c:pt>
                <c:pt idx="74">
                  <c:v>104.67746971162268</c:v>
                </c:pt>
                <c:pt idx="75">
                  <c:v>104.78445945431424</c:v>
                </c:pt>
                <c:pt idx="76">
                  <c:v>104.48043344171913</c:v>
                </c:pt>
                <c:pt idx="77">
                  <c:v>104.31119166013052</c:v>
                </c:pt>
                <c:pt idx="78">
                  <c:v>104.59256326101692</c:v>
                </c:pt>
                <c:pt idx="79">
                  <c:v>104.77132370298735</c:v>
                </c:pt>
                <c:pt idx="80">
                  <c:v>104.79607221998005</c:v>
                </c:pt>
                <c:pt idx="81">
                  <c:v>104.41799102961447</c:v>
                </c:pt>
                <c:pt idx="82">
                  <c:v>104.39971520168136</c:v>
                </c:pt>
                <c:pt idx="83">
                  <c:v>104.80121229658623</c:v>
                </c:pt>
                <c:pt idx="84">
                  <c:v>104.82367633508728</c:v>
                </c:pt>
                <c:pt idx="85">
                  <c:v>104.68832098445793</c:v>
                </c:pt>
                <c:pt idx="86">
                  <c:v>104.98206684384066</c:v>
                </c:pt>
                <c:pt idx="87">
                  <c:v>105.23145574584416</c:v>
                </c:pt>
                <c:pt idx="88">
                  <c:v>105.13093869221221</c:v>
                </c:pt>
                <c:pt idx="89">
                  <c:v>104.73667577919754</c:v>
                </c:pt>
                <c:pt idx="90">
                  <c:v>103.51238568088883</c:v>
                </c:pt>
                <c:pt idx="91">
                  <c:v>103.19922175432718</c:v>
                </c:pt>
                <c:pt idx="92">
                  <c:v>104.04790551396958</c:v>
                </c:pt>
                <c:pt idx="93">
                  <c:v>104.14423435703353</c:v>
                </c:pt>
                <c:pt idx="94">
                  <c:v>104.44064544132317</c:v>
                </c:pt>
                <c:pt idx="95">
                  <c:v>103.45508334539031</c:v>
                </c:pt>
                <c:pt idx="96">
                  <c:v>103.05453811652363</c:v>
                </c:pt>
                <c:pt idx="97">
                  <c:v>103.04368684368839</c:v>
                </c:pt>
                <c:pt idx="98">
                  <c:v>103.90950419201805</c:v>
                </c:pt>
                <c:pt idx="99">
                  <c:v>103.74159502288285</c:v>
                </c:pt>
                <c:pt idx="100">
                  <c:v>103.69799955833415</c:v>
                </c:pt>
                <c:pt idx="101">
                  <c:v>103.78442899460103</c:v>
                </c:pt>
                <c:pt idx="102">
                  <c:v>103.70961232399998</c:v>
                </c:pt>
                <c:pt idx="103">
                  <c:v>103.47792813030665</c:v>
                </c:pt>
                <c:pt idx="104">
                  <c:v>103.99460101583145</c:v>
                </c:pt>
                <c:pt idx="105">
                  <c:v>104.57143183496929</c:v>
                </c:pt>
                <c:pt idx="106">
                  <c:v>104.79949893771749</c:v>
                </c:pt>
                <c:pt idx="107">
                  <c:v>104.53944913608639</c:v>
                </c:pt>
                <c:pt idx="108">
                  <c:v>103.99155504450925</c:v>
                </c:pt>
                <c:pt idx="109">
                  <c:v>104.12177031853244</c:v>
                </c:pt>
                <c:pt idx="110">
                  <c:v>104.25712566916181</c:v>
                </c:pt>
                <c:pt idx="111">
                  <c:v>104.14918406043205</c:v>
                </c:pt>
                <c:pt idx="112">
                  <c:v>105.20309013790636</c:v>
                </c:pt>
                <c:pt idx="113">
                  <c:v>105.63980627622391</c:v>
                </c:pt>
                <c:pt idx="114">
                  <c:v>105.70586577927368</c:v>
                </c:pt>
                <c:pt idx="115">
                  <c:v>105.57831573015741</c:v>
                </c:pt>
                <c:pt idx="116">
                  <c:v>105.57945796940322</c:v>
                </c:pt>
                <c:pt idx="117">
                  <c:v>105.93754997296701</c:v>
                </c:pt>
                <c:pt idx="118">
                  <c:v>106.16276147760068</c:v>
                </c:pt>
                <c:pt idx="119">
                  <c:v>106.20978365988685</c:v>
                </c:pt>
                <c:pt idx="120">
                  <c:v>106.08128174473237</c:v>
                </c:pt>
                <c:pt idx="121">
                  <c:v>106.08413734284692</c:v>
                </c:pt>
                <c:pt idx="122">
                  <c:v>105.83684254612741</c:v>
                </c:pt>
                <c:pt idx="123">
                  <c:v>105.73575437287259</c:v>
                </c:pt>
                <c:pt idx="124">
                  <c:v>106.07385718963455</c:v>
                </c:pt>
                <c:pt idx="125">
                  <c:v>106.16771118099923</c:v>
                </c:pt>
                <c:pt idx="126">
                  <c:v>106.59814500346478</c:v>
                </c:pt>
                <c:pt idx="127">
                  <c:v>107.0221061368707</c:v>
                </c:pt>
                <c:pt idx="128">
                  <c:v>107.4142749446014</c:v>
                </c:pt>
                <c:pt idx="129">
                  <c:v>107.45253995933631</c:v>
                </c:pt>
                <c:pt idx="130">
                  <c:v>107.86755355198329</c:v>
                </c:pt>
                <c:pt idx="131">
                  <c:v>107.85879638443205</c:v>
                </c:pt>
                <c:pt idx="132">
                  <c:v>107.75980231646119</c:v>
                </c:pt>
                <c:pt idx="133">
                  <c:v>108.02270771620685</c:v>
                </c:pt>
                <c:pt idx="134">
                  <c:v>108.21860174686458</c:v>
                </c:pt>
                <c:pt idx="135">
                  <c:v>108.21079644535148</c:v>
                </c:pt>
                <c:pt idx="136">
                  <c:v>108.32540111634847</c:v>
                </c:pt>
                <c:pt idx="137">
                  <c:v>108.54452067833782</c:v>
                </c:pt>
                <c:pt idx="138">
                  <c:v>108.58240494665743</c:v>
                </c:pt>
                <c:pt idx="139">
                  <c:v>108.73774948408861</c:v>
                </c:pt>
                <c:pt idx="140">
                  <c:v>108.57707449684362</c:v>
                </c:pt>
                <c:pt idx="141">
                  <c:v>108.9818079362783</c:v>
                </c:pt>
                <c:pt idx="142">
                  <c:v>108.78420054675186</c:v>
                </c:pt>
                <c:pt idx="143">
                  <c:v>108.90565865322377</c:v>
                </c:pt>
                <c:pt idx="144">
                  <c:v>108.4588527349015</c:v>
                </c:pt>
                <c:pt idx="145">
                  <c:v>108.73984358937261</c:v>
                </c:pt>
                <c:pt idx="146">
                  <c:v>109.40500757685368</c:v>
                </c:pt>
                <c:pt idx="147">
                  <c:v>109.26108543188067</c:v>
                </c:pt>
                <c:pt idx="148">
                  <c:v>109.39358518439548</c:v>
                </c:pt>
                <c:pt idx="149">
                  <c:v>109.78841921703308</c:v>
                </c:pt>
                <c:pt idx="150">
                  <c:v>109.82230564799234</c:v>
                </c:pt>
                <c:pt idx="151">
                  <c:v>110.06826783225836</c:v>
                </c:pt>
                <c:pt idx="152">
                  <c:v>110.17468645532702</c:v>
                </c:pt>
                <c:pt idx="153">
                  <c:v>110.22608722138881</c:v>
                </c:pt>
                <c:pt idx="154">
                  <c:v>110.34735495465308</c:v>
                </c:pt>
                <c:pt idx="155">
                  <c:v>109.88398656726646</c:v>
                </c:pt>
                <c:pt idx="156">
                  <c:v>109.59043108109137</c:v>
                </c:pt>
                <c:pt idx="157">
                  <c:v>109.44860304140238</c:v>
                </c:pt>
                <c:pt idx="158">
                  <c:v>109.12287448313675</c:v>
                </c:pt>
                <c:pt idx="159">
                  <c:v>108.42496630394226</c:v>
                </c:pt>
                <c:pt idx="160">
                  <c:v>109.22224929752286</c:v>
                </c:pt>
                <c:pt idx="161">
                  <c:v>109.17446562240616</c:v>
                </c:pt>
                <c:pt idx="162">
                  <c:v>109.31400918360352</c:v>
                </c:pt>
                <c:pt idx="163">
                  <c:v>110.02524348733257</c:v>
                </c:pt>
                <c:pt idx="164">
                  <c:v>109.99021481712749</c:v>
                </c:pt>
                <c:pt idx="165">
                  <c:v>109.94509636691771</c:v>
                </c:pt>
                <c:pt idx="166">
                  <c:v>110.12766427304086</c:v>
                </c:pt>
                <c:pt idx="167">
                  <c:v>109.83201468158177</c:v>
                </c:pt>
                <c:pt idx="168">
                  <c:v>110.52725763586938</c:v>
                </c:pt>
                <c:pt idx="169">
                  <c:v>110.43987633356434</c:v>
                </c:pt>
                <c:pt idx="170">
                  <c:v>110.62929767516241</c:v>
                </c:pt>
                <c:pt idx="171">
                  <c:v>110.32717539464365</c:v>
                </c:pt>
                <c:pt idx="172">
                  <c:v>110.43625924261924</c:v>
                </c:pt>
                <c:pt idx="173">
                  <c:v>110.10025053114126</c:v>
                </c:pt>
                <c:pt idx="174">
                  <c:v>109.76138622154872</c:v>
                </c:pt>
                <c:pt idx="175">
                  <c:v>110.10596172737036</c:v>
                </c:pt>
                <c:pt idx="176">
                  <c:v>110.82918954318046</c:v>
                </c:pt>
                <c:pt idx="177">
                  <c:v>111.2139337958133</c:v>
                </c:pt>
                <c:pt idx="178">
                  <c:v>111.37498952947358</c:v>
                </c:pt>
                <c:pt idx="179">
                  <c:v>111.32663473473397</c:v>
                </c:pt>
                <c:pt idx="180">
                  <c:v>110.92608950586731</c:v>
                </c:pt>
                <c:pt idx="181">
                  <c:v>111.33234593096306</c:v>
                </c:pt>
                <c:pt idx="182">
                  <c:v>112.1433357954935</c:v>
                </c:pt>
                <c:pt idx="183">
                  <c:v>111.92002802293617</c:v>
                </c:pt>
                <c:pt idx="184">
                  <c:v>111.74945362889407</c:v>
                </c:pt>
                <c:pt idx="185">
                  <c:v>112.07118434979935</c:v>
                </c:pt>
                <c:pt idx="186">
                  <c:v>112.08698532603316</c:v>
                </c:pt>
                <c:pt idx="187">
                  <c:v>112.10373816830517</c:v>
                </c:pt>
                <c:pt idx="188">
                  <c:v>111.97180953541321</c:v>
                </c:pt>
                <c:pt idx="189">
                  <c:v>112.1149701875557</c:v>
                </c:pt>
                <c:pt idx="190">
                  <c:v>112.21567761439526</c:v>
                </c:pt>
                <c:pt idx="191">
                  <c:v>111.91583981236816</c:v>
                </c:pt>
                <c:pt idx="192">
                  <c:v>111.90651152519399</c:v>
                </c:pt>
                <c:pt idx="193">
                  <c:v>112.55168632587325</c:v>
                </c:pt>
                <c:pt idx="194">
                  <c:v>113.15726349936416</c:v>
                </c:pt>
                <c:pt idx="195">
                  <c:v>113.95530798577533</c:v>
                </c:pt>
                <c:pt idx="196">
                  <c:v>114.74059746727485</c:v>
                </c:pt>
                <c:pt idx="197">
                  <c:v>114.94943687605182</c:v>
                </c:pt>
                <c:pt idx="198">
                  <c:v>115.20225249579275</c:v>
                </c:pt>
                <c:pt idx="199">
                  <c:v>114.97247203417579</c:v>
                </c:pt>
                <c:pt idx="200">
                  <c:v>115.32599508075631</c:v>
                </c:pt>
                <c:pt idx="201">
                  <c:v>115.83238781306872</c:v>
                </c:pt>
                <c:pt idx="202">
                  <c:v>115.87579290440982</c:v>
                </c:pt>
                <c:pt idx="203">
                  <c:v>115.80135698022403</c:v>
                </c:pt>
                <c:pt idx="204">
                  <c:v>116.35857935897533</c:v>
                </c:pt>
                <c:pt idx="205">
                  <c:v>116.23750199891869</c:v>
                </c:pt>
                <c:pt idx="206">
                  <c:v>116.79091691351726</c:v>
                </c:pt>
                <c:pt idx="207">
                  <c:v>117.39725557983871</c:v>
                </c:pt>
                <c:pt idx="208">
                  <c:v>117.86043359401771</c:v>
                </c:pt>
                <c:pt idx="209">
                  <c:v>117.59010363917423</c:v>
                </c:pt>
                <c:pt idx="210">
                  <c:v>117.37460116812998</c:v>
                </c:pt>
                <c:pt idx="211">
                  <c:v>118.33027467046399</c:v>
                </c:pt>
                <c:pt idx="212">
                  <c:v>117.81379215814682</c:v>
                </c:pt>
                <c:pt idx="213">
                  <c:v>116.57370108360429</c:v>
                </c:pt>
                <c:pt idx="214">
                  <c:v>116.46442686242109</c:v>
                </c:pt>
                <c:pt idx="215">
                  <c:v>116.39360802918041</c:v>
                </c:pt>
                <c:pt idx="216">
                  <c:v>114.61476077702729</c:v>
                </c:pt>
                <c:pt idx="217">
                  <c:v>111.33501115586996</c:v>
                </c:pt>
                <c:pt idx="218">
                  <c:v>110.88192292169569</c:v>
                </c:pt>
                <c:pt idx="219">
                  <c:v>111.02451245421523</c:v>
                </c:pt>
                <c:pt idx="220">
                  <c:v>108.36252389183755</c:v>
                </c:pt>
                <c:pt idx="221">
                  <c:v>108.47617669679639</c:v>
                </c:pt>
                <c:pt idx="222">
                  <c:v>109.67781238339643</c:v>
                </c:pt>
                <c:pt idx="223">
                  <c:v>109.78613473854143</c:v>
                </c:pt>
                <c:pt idx="224">
                  <c:v>110.95369362097456</c:v>
                </c:pt>
                <c:pt idx="225">
                  <c:v>112.0683287516848</c:v>
                </c:pt>
                <c:pt idx="226">
                  <c:v>112.37292588390282</c:v>
                </c:pt>
                <c:pt idx="227">
                  <c:v>112.43974687978313</c:v>
                </c:pt>
                <c:pt idx="228">
                  <c:v>112.10659376641969</c:v>
                </c:pt>
                <c:pt idx="229">
                  <c:v>112.01997395694521</c:v>
                </c:pt>
                <c:pt idx="230">
                  <c:v>111.858347103662</c:v>
                </c:pt>
                <c:pt idx="231">
                  <c:v>113.09805743178929</c:v>
                </c:pt>
                <c:pt idx="232">
                  <c:v>114.06915116394181</c:v>
                </c:pt>
                <c:pt idx="233">
                  <c:v>113.26806070620844</c:v>
                </c:pt>
                <c:pt idx="234">
                  <c:v>112.12220436944587</c:v>
                </c:pt>
                <c:pt idx="235">
                  <c:v>110.9207590560535</c:v>
                </c:pt>
                <c:pt idx="236">
                  <c:v>110.49356157811773</c:v>
                </c:pt>
                <c:pt idx="237">
                  <c:v>111.18823341278241</c:v>
                </c:pt>
                <c:pt idx="238">
                  <c:v>111.75630706436898</c:v>
                </c:pt>
                <c:pt idx="239">
                  <c:v>111.63713343638871</c:v>
                </c:pt>
                <c:pt idx="240">
                  <c:v>112.30534339519194</c:v>
                </c:pt>
                <c:pt idx="241">
                  <c:v>113.55362051766285</c:v>
                </c:pt>
                <c:pt idx="242">
                  <c:v>113.888486989895</c:v>
                </c:pt>
                <c:pt idx="243">
                  <c:v>113.33107423793605</c:v>
                </c:pt>
                <c:pt idx="244">
                  <c:v>112.83876912298871</c:v>
                </c:pt>
                <c:pt idx="245">
                  <c:v>112.86618286488834</c:v>
                </c:pt>
                <c:pt idx="246">
                  <c:v>112.98078753588537</c:v>
                </c:pt>
                <c:pt idx="247">
                  <c:v>111.67787330282286</c:v>
                </c:pt>
                <c:pt idx="248">
                  <c:v>111.89546987915109</c:v>
                </c:pt>
                <c:pt idx="249">
                  <c:v>111.74850176285589</c:v>
                </c:pt>
                <c:pt idx="250">
                  <c:v>109.76709741777782</c:v>
                </c:pt>
              </c:numCache>
            </c:numRef>
          </c:val>
          <c:smooth val="0"/>
          <c:extLst>
            <c:ext xmlns:c16="http://schemas.microsoft.com/office/drawing/2014/chart" uri="{C3380CC4-5D6E-409C-BE32-E72D297353CC}">
              <c16:uniqueId val="{0000000D-3D12-4B15-8069-2F347FD537FD}"/>
            </c:ext>
          </c:extLst>
        </c:ser>
        <c:ser>
          <c:idx val="14"/>
          <c:order val="14"/>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W$7:$W$257</c:f>
              <c:numCache>
                <c:formatCode>_(* #,##0.00_);_(* \(#,##0.00\);_(* "-"??_);_(@_)</c:formatCode>
                <c:ptCount val="251"/>
                <c:pt idx="0" formatCode="General">
                  <c:v>100</c:v>
                </c:pt>
                <c:pt idx="1">
                  <c:v>99.736302089224267</c:v>
                </c:pt>
                <c:pt idx="2">
                  <c:v>99.862980497342022</c:v>
                </c:pt>
                <c:pt idx="3">
                  <c:v>99.849084651553582</c:v>
                </c:pt>
                <c:pt idx="4">
                  <c:v>99.952980335762419</c:v>
                </c:pt>
                <c:pt idx="5">
                  <c:v>99.764416940005489</c:v>
                </c:pt>
                <c:pt idx="6">
                  <c:v>99.553393979544026</c:v>
                </c:pt>
                <c:pt idx="7">
                  <c:v>99.012587051010684</c:v>
                </c:pt>
                <c:pt idx="8">
                  <c:v>99.178367722858667</c:v>
                </c:pt>
                <c:pt idx="9">
                  <c:v>99.208259949264004</c:v>
                </c:pt>
                <c:pt idx="10">
                  <c:v>98.824831553264715</c:v>
                </c:pt>
                <c:pt idx="11">
                  <c:v>99.072048344616974</c:v>
                </c:pt>
                <c:pt idx="12">
                  <c:v>98.232157572428051</c:v>
                </c:pt>
                <c:pt idx="13">
                  <c:v>96.563686600203596</c:v>
                </c:pt>
                <c:pt idx="14">
                  <c:v>96.836109809497657</c:v>
                </c:pt>
                <c:pt idx="15">
                  <c:v>97.796700544523262</c:v>
                </c:pt>
                <c:pt idx="16">
                  <c:v>97.681655867763268</c:v>
                </c:pt>
                <c:pt idx="17">
                  <c:v>96.666935966003649</c:v>
                </c:pt>
                <c:pt idx="18">
                  <c:v>97.210328168172055</c:v>
                </c:pt>
                <c:pt idx="19">
                  <c:v>97.700722260821792</c:v>
                </c:pt>
                <c:pt idx="20">
                  <c:v>98.856016416487577</c:v>
                </c:pt>
                <c:pt idx="21">
                  <c:v>98.799463555720735</c:v>
                </c:pt>
                <c:pt idx="22">
                  <c:v>99.634830099048301</c:v>
                </c:pt>
                <c:pt idx="23">
                  <c:v>99.63402220103734</c:v>
                </c:pt>
                <c:pt idx="24">
                  <c:v>99.760862188757287</c:v>
                </c:pt>
                <c:pt idx="25">
                  <c:v>99.361922150947663</c:v>
                </c:pt>
                <c:pt idx="26">
                  <c:v>99.909677002375233</c:v>
                </c:pt>
                <c:pt idx="27">
                  <c:v>99.794632325615211</c:v>
                </c:pt>
                <c:pt idx="28">
                  <c:v>99.960251417861016</c:v>
                </c:pt>
                <c:pt idx="29">
                  <c:v>100.33721662977267</c:v>
                </c:pt>
                <c:pt idx="30">
                  <c:v>100.62434358286609</c:v>
                </c:pt>
                <c:pt idx="31">
                  <c:v>101.06109324758843</c:v>
                </c:pt>
                <c:pt idx="32">
                  <c:v>101.04590476498248</c:v>
                </c:pt>
                <c:pt idx="33">
                  <c:v>101.26258301152062</c:v>
                </c:pt>
                <c:pt idx="34">
                  <c:v>100.96737707831763</c:v>
                </c:pt>
                <c:pt idx="35">
                  <c:v>101.74215127082358</c:v>
                </c:pt>
                <c:pt idx="36">
                  <c:v>102.3246457367222</c:v>
                </c:pt>
                <c:pt idx="37">
                  <c:v>102.47895425681462</c:v>
                </c:pt>
                <c:pt idx="38">
                  <c:v>102.54924138376774</c:v>
                </c:pt>
                <c:pt idx="39">
                  <c:v>102.90196965535073</c:v>
                </c:pt>
                <c:pt idx="40">
                  <c:v>102.95270565043867</c:v>
                </c:pt>
                <c:pt idx="41">
                  <c:v>102.69724829937468</c:v>
                </c:pt>
                <c:pt idx="42">
                  <c:v>102.92394448124868</c:v>
                </c:pt>
                <c:pt idx="43">
                  <c:v>102.72261629691867</c:v>
                </c:pt>
                <c:pt idx="44">
                  <c:v>102.58882838630453</c:v>
                </c:pt>
                <c:pt idx="45">
                  <c:v>103.25760635977315</c:v>
                </c:pt>
                <c:pt idx="46">
                  <c:v>103.34485934495629</c:v>
                </c:pt>
                <c:pt idx="47">
                  <c:v>103.39591849924868</c:v>
                </c:pt>
                <c:pt idx="48">
                  <c:v>103.001179531096</c:v>
                </c:pt>
                <c:pt idx="49">
                  <c:v>102.71582995362665</c:v>
                </c:pt>
                <c:pt idx="50">
                  <c:v>103.0008563718916</c:v>
                </c:pt>
                <c:pt idx="51">
                  <c:v>103.76448157184637</c:v>
                </c:pt>
                <c:pt idx="52">
                  <c:v>103.90392476853722</c:v>
                </c:pt>
                <c:pt idx="53">
                  <c:v>104.29817899788331</c:v>
                </c:pt>
                <c:pt idx="54">
                  <c:v>104.23823296547043</c:v>
                </c:pt>
                <c:pt idx="55">
                  <c:v>103.6992034125612</c:v>
                </c:pt>
                <c:pt idx="56">
                  <c:v>102.96805571264684</c:v>
                </c:pt>
                <c:pt idx="57">
                  <c:v>102.3047714456527</c:v>
                </c:pt>
                <c:pt idx="58">
                  <c:v>102.7400668939553</c:v>
                </c:pt>
                <c:pt idx="59">
                  <c:v>102.90164649614633</c:v>
                </c:pt>
                <c:pt idx="60">
                  <c:v>103.74121410913087</c:v>
                </c:pt>
                <c:pt idx="61">
                  <c:v>103.54764174570603</c:v>
                </c:pt>
                <c:pt idx="62">
                  <c:v>103.40367432015383</c:v>
                </c:pt>
                <c:pt idx="63">
                  <c:v>103.67852122348073</c:v>
                </c:pt>
                <c:pt idx="64">
                  <c:v>104.36103346313561</c:v>
                </c:pt>
                <c:pt idx="65">
                  <c:v>104.82686745625233</c:v>
                </c:pt>
                <c:pt idx="66">
                  <c:v>105.53345505663366</c:v>
                </c:pt>
                <c:pt idx="67">
                  <c:v>105.71054630063502</c:v>
                </c:pt>
                <c:pt idx="68">
                  <c:v>105.70489101455833</c:v>
                </c:pt>
                <c:pt idx="69">
                  <c:v>105.96568049249464</c:v>
                </c:pt>
                <c:pt idx="70">
                  <c:v>106.38384850296498</c:v>
                </c:pt>
                <c:pt idx="71">
                  <c:v>106.49905475932717</c:v>
                </c:pt>
                <c:pt idx="72">
                  <c:v>106.47821099064454</c:v>
                </c:pt>
                <c:pt idx="73">
                  <c:v>106.45445878912247</c:v>
                </c:pt>
                <c:pt idx="74">
                  <c:v>106.82528397615086</c:v>
                </c:pt>
                <c:pt idx="75">
                  <c:v>106.9286949215531</c:v>
                </c:pt>
                <c:pt idx="76">
                  <c:v>106.31743928646449</c:v>
                </c:pt>
                <c:pt idx="77">
                  <c:v>106.34975520690269</c:v>
                </c:pt>
                <c:pt idx="78">
                  <c:v>106.34975520690269</c:v>
                </c:pt>
                <c:pt idx="79">
                  <c:v>107.23698880253356</c:v>
                </c:pt>
                <c:pt idx="80">
                  <c:v>106.79539174974553</c:v>
                </c:pt>
                <c:pt idx="81">
                  <c:v>106.68826447349286</c:v>
                </c:pt>
                <c:pt idx="82">
                  <c:v>106.77826431191326</c:v>
                </c:pt>
                <c:pt idx="83">
                  <c:v>106.9341886280276</c:v>
                </c:pt>
                <c:pt idx="84">
                  <c:v>107.74644928824186</c:v>
                </c:pt>
                <c:pt idx="85">
                  <c:v>107.65903472345653</c:v>
                </c:pt>
                <c:pt idx="86">
                  <c:v>108.24508394060335</c:v>
                </c:pt>
                <c:pt idx="87">
                  <c:v>108.25704083116547</c:v>
                </c:pt>
                <c:pt idx="88">
                  <c:v>108.28386304512918</c:v>
                </c:pt>
                <c:pt idx="89">
                  <c:v>108.88914023493675</c:v>
                </c:pt>
                <c:pt idx="90">
                  <c:v>109.41928290972547</c:v>
                </c:pt>
                <c:pt idx="91">
                  <c:v>109.42235292216711</c:v>
                </c:pt>
                <c:pt idx="92">
                  <c:v>108.94310782206855</c:v>
                </c:pt>
                <c:pt idx="93">
                  <c:v>109.06429252371181</c:v>
                </c:pt>
                <c:pt idx="94">
                  <c:v>108.78718350595422</c:v>
                </c:pt>
                <c:pt idx="95">
                  <c:v>108.38388081888543</c:v>
                </c:pt>
                <c:pt idx="96">
                  <c:v>106.69101132673011</c:v>
                </c:pt>
                <c:pt idx="97">
                  <c:v>107.40147683756402</c:v>
                </c:pt>
                <c:pt idx="98">
                  <c:v>107.40131525796184</c:v>
                </c:pt>
                <c:pt idx="99">
                  <c:v>107.00302153856099</c:v>
                </c:pt>
                <c:pt idx="100">
                  <c:v>105.61537591494449</c:v>
                </c:pt>
                <c:pt idx="101">
                  <c:v>106.07022249511222</c:v>
                </c:pt>
                <c:pt idx="102">
                  <c:v>107.65434891499297</c:v>
                </c:pt>
                <c:pt idx="103">
                  <c:v>108.65549613016852</c:v>
                </c:pt>
                <c:pt idx="104">
                  <c:v>109.33283782255327</c:v>
                </c:pt>
                <c:pt idx="105">
                  <c:v>108.80754253583027</c:v>
                </c:pt>
                <c:pt idx="106">
                  <c:v>109.1361954466868</c:v>
                </c:pt>
                <c:pt idx="107">
                  <c:v>109.56939036016094</c:v>
                </c:pt>
                <c:pt idx="108">
                  <c:v>110.23477516198355</c:v>
                </c:pt>
                <c:pt idx="109">
                  <c:v>110.01179531095995</c:v>
                </c:pt>
                <c:pt idx="110">
                  <c:v>110.10373410460666</c:v>
                </c:pt>
                <c:pt idx="111">
                  <c:v>110.13281843300102</c:v>
                </c:pt>
                <c:pt idx="112">
                  <c:v>109.65050332046083</c:v>
                </c:pt>
                <c:pt idx="113">
                  <c:v>110.29423645558984</c:v>
                </c:pt>
                <c:pt idx="114">
                  <c:v>109.91000016157959</c:v>
                </c:pt>
                <c:pt idx="115">
                  <c:v>108.97445426489361</c:v>
                </c:pt>
                <c:pt idx="116">
                  <c:v>105.75304173601126</c:v>
                </c:pt>
                <c:pt idx="117">
                  <c:v>103.22706781495903</c:v>
                </c:pt>
                <c:pt idx="118">
                  <c:v>102.73004895861946</c:v>
                </c:pt>
                <c:pt idx="119">
                  <c:v>99.201473605971984</c:v>
                </c:pt>
                <c:pt idx="120">
                  <c:v>97.452859151060764</c:v>
                </c:pt>
                <c:pt idx="121">
                  <c:v>100.20633715199794</c:v>
                </c:pt>
                <c:pt idx="122">
                  <c:v>98.824346814458153</c:v>
                </c:pt>
                <c:pt idx="123">
                  <c:v>101.51448561133643</c:v>
                </c:pt>
                <c:pt idx="124">
                  <c:v>99.417343954499188</c:v>
                </c:pt>
                <c:pt idx="125">
                  <c:v>97.141656837240873</c:v>
                </c:pt>
                <c:pt idx="126">
                  <c:v>90.094039328475176</c:v>
                </c:pt>
                <c:pt idx="127">
                  <c:v>92.805506632842679</c:v>
                </c:pt>
                <c:pt idx="128">
                  <c:v>89.565350870106158</c:v>
                </c:pt>
                <c:pt idx="129">
                  <c:v>81.564736867617839</c:v>
                </c:pt>
                <c:pt idx="130">
                  <c:v>86.028858116951312</c:v>
                </c:pt>
                <c:pt idx="131">
                  <c:v>78.120990806120645</c:v>
                </c:pt>
                <c:pt idx="132">
                  <c:v>81.296676307582942</c:v>
                </c:pt>
                <c:pt idx="133">
                  <c:v>77.578083342758802</c:v>
                </c:pt>
                <c:pt idx="134">
                  <c:v>78.095299649372265</c:v>
                </c:pt>
                <c:pt idx="135">
                  <c:v>76.76469162532922</c:v>
                </c:pt>
                <c:pt idx="136">
                  <c:v>74.364749793986007</c:v>
                </c:pt>
                <c:pt idx="137">
                  <c:v>80.39296159252855</c:v>
                </c:pt>
                <c:pt idx="138">
                  <c:v>82.482185848858435</c:v>
                </c:pt>
                <c:pt idx="139">
                  <c:v>85.742215902664441</c:v>
                </c:pt>
                <c:pt idx="140">
                  <c:v>83.488988350110688</c:v>
                </c:pt>
                <c:pt idx="141">
                  <c:v>85.172970964145478</c:v>
                </c:pt>
                <c:pt idx="142">
                  <c:v>84.706005913813428</c:v>
                </c:pt>
                <c:pt idx="143">
                  <c:v>81.600122800497672</c:v>
                </c:pt>
                <c:pt idx="144">
                  <c:v>82.740066893955316</c:v>
                </c:pt>
                <c:pt idx="145">
                  <c:v>81.758632390247058</c:v>
                </c:pt>
                <c:pt idx="146">
                  <c:v>86.269611724215935</c:v>
                </c:pt>
                <c:pt idx="147">
                  <c:v>86.887815282198773</c:v>
                </c:pt>
                <c:pt idx="148">
                  <c:v>88.63222866745302</c:v>
                </c:pt>
                <c:pt idx="149">
                  <c:v>89.815799253502234</c:v>
                </c:pt>
                <c:pt idx="150">
                  <c:v>89.874291069495385</c:v>
                </c:pt>
                <c:pt idx="151">
                  <c:v>89.194525683077757</c:v>
                </c:pt>
                <c:pt idx="152">
                  <c:v>91.194881158202577</c:v>
                </c:pt>
                <c:pt idx="153">
                  <c:v>89.423645558984632</c:v>
                </c:pt>
                <c:pt idx="154">
                  <c:v>89.661329153807628</c:v>
                </c:pt>
                <c:pt idx="155">
                  <c:v>91.88676501478453</c:v>
                </c:pt>
                <c:pt idx="156">
                  <c:v>90.942816978784606</c:v>
                </c:pt>
                <c:pt idx="157">
                  <c:v>88.385011876100762</c:v>
                </c:pt>
                <c:pt idx="158">
                  <c:v>89.978833072112977</c:v>
                </c:pt>
                <c:pt idx="159">
                  <c:v>90.17272859474221</c:v>
                </c:pt>
                <c:pt idx="160">
                  <c:v>90.632099403771278</c:v>
                </c:pt>
                <c:pt idx="161">
                  <c:v>92.118470164326453</c:v>
                </c:pt>
                <c:pt idx="162">
                  <c:v>92.180839890772205</c:v>
                </c:pt>
                <c:pt idx="163">
                  <c:v>94.159705278805603</c:v>
                </c:pt>
                <c:pt idx="164">
                  <c:v>93.328216645930624</c:v>
                </c:pt>
                <c:pt idx="165">
                  <c:v>91.368740810160119</c:v>
                </c:pt>
                <c:pt idx="166">
                  <c:v>90.909531580733244</c:v>
                </c:pt>
                <c:pt idx="167">
                  <c:v>91.827788459984816</c:v>
                </c:pt>
                <c:pt idx="168">
                  <c:v>91.519332999402152</c:v>
                </c:pt>
                <c:pt idx="169">
                  <c:v>92.3084877765031</c:v>
                </c:pt>
                <c:pt idx="170">
                  <c:v>93.66914960655366</c:v>
                </c:pt>
                <c:pt idx="171">
                  <c:v>93.866761460033288</c:v>
                </c:pt>
                <c:pt idx="172">
                  <c:v>92.628900127647881</c:v>
                </c:pt>
                <c:pt idx="173">
                  <c:v>91.311380051382301</c:v>
                </c:pt>
                <c:pt idx="174">
                  <c:v>91.330608024043045</c:v>
                </c:pt>
                <c:pt idx="175">
                  <c:v>91.708542713567851</c:v>
                </c:pt>
                <c:pt idx="176">
                  <c:v>94.173277965389644</c:v>
                </c:pt>
                <c:pt idx="177">
                  <c:v>93.890998400361937</c:v>
                </c:pt>
                <c:pt idx="178">
                  <c:v>95.07279161078705</c:v>
                </c:pt>
                <c:pt idx="179">
                  <c:v>94.443115901048657</c:v>
                </c:pt>
                <c:pt idx="180">
                  <c:v>94.14290100017773</c:v>
                </c:pt>
                <c:pt idx="181">
                  <c:v>94.603887605228721</c:v>
                </c:pt>
                <c:pt idx="182">
                  <c:v>95.827206773416947</c:v>
                </c:pt>
                <c:pt idx="183">
                  <c:v>96.856307259771526</c:v>
                </c:pt>
                <c:pt idx="184">
                  <c:v>97.117258317310018</c:v>
                </c:pt>
                <c:pt idx="185">
                  <c:v>97.097545605842726</c:v>
                </c:pt>
                <c:pt idx="186">
                  <c:v>97.797670022136401</c:v>
                </c:pt>
                <c:pt idx="187">
                  <c:v>98.816106254746401</c:v>
                </c:pt>
                <c:pt idx="188">
                  <c:v>100.38779104525844</c:v>
                </c:pt>
                <c:pt idx="189">
                  <c:v>100.11003570909209</c:v>
                </c:pt>
                <c:pt idx="190">
                  <c:v>102.18261726639631</c:v>
                </c:pt>
                <c:pt idx="191">
                  <c:v>102.99714004104121</c:v>
                </c:pt>
                <c:pt idx="192">
                  <c:v>102.37134224175541</c:v>
                </c:pt>
                <c:pt idx="193">
                  <c:v>102.03703404482218</c:v>
                </c:pt>
                <c:pt idx="194">
                  <c:v>97.376108840020024</c:v>
                </c:pt>
                <c:pt idx="195">
                  <c:v>97.993181340787544</c:v>
                </c:pt>
                <c:pt idx="196">
                  <c:v>98.033576241335297</c:v>
                </c:pt>
                <c:pt idx="197">
                  <c:v>100.226696181874</c:v>
                </c:pt>
                <c:pt idx="198">
                  <c:v>100.22944303511123</c:v>
                </c:pt>
                <c:pt idx="199">
                  <c:v>100.18856339575693</c:v>
                </c:pt>
                <c:pt idx="200">
                  <c:v>100.06624763689831</c:v>
                </c:pt>
                <c:pt idx="201">
                  <c:v>100.27904797298388</c:v>
                </c:pt>
                <c:pt idx="202">
                  <c:v>100.94265539918241</c:v>
                </c:pt>
                <c:pt idx="203">
                  <c:v>98.854239040863476</c:v>
                </c:pt>
                <c:pt idx="204">
                  <c:v>99.444812486871655</c:v>
                </c:pt>
                <c:pt idx="205">
                  <c:v>98.024366204010406</c:v>
                </c:pt>
                <c:pt idx="206">
                  <c:v>98.716250060592358</c:v>
                </c:pt>
                <c:pt idx="207">
                  <c:v>99.719497810596394</c:v>
                </c:pt>
                <c:pt idx="208">
                  <c:v>100.02730695277029</c:v>
                </c:pt>
                <c:pt idx="209">
                  <c:v>100.97917238927758</c:v>
                </c:pt>
                <c:pt idx="210">
                  <c:v>101.00922619528509</c:v>
                </c:pt>
                <c:pt idx="211">
                  <c:v>102.69611724215935</c:v>
                </c:pt>
                <c:pt idx="212">
                  <c:v>101.81146892016353</c:v>
                </c:pt>
                <c:pt idx="213">
                  <c:v>102.33660262728432</c:v>
                </c:pt>
                <c:pt idx="214">
                  <c:v>101.98613647013201</c:v>
                </c:pt>
                <c:pt idx="215">
                  <c:v>102.55053402058523</c:v>
                </c:pt>
                <c:pt idx="216">
                  <c:v>102.32496889592657</c:v>
                </c:pt>
                <c:pt idx="217">
                  <c:v>102.89986912052223</c:v>
                </c:pt>
                <c:pt idx="218">
                  <c:v>103.95482234322739</c:v>
                </c:pt>
                <c:pt idx="219">
                  <c:v>103.34922199421545</c:v>
                </c:pt>
                <c:pt idx="220">
                  <c:v>103.70195026579844</c:v>
                </c:pt>
                <c:pt idx="221">
                  <c:v>104.49336715733007</c:v>
                </c:pt>
                <c:pt idx="222">
                  <c:v>104.88245083940603</c:v>
                </c:pt>
                <c:pt idx="223">
                  <c:v>104.89489246877474</c:v>
                </c:pt>
                <c:pt idx="224">
                  <c:v>104.10848454491106</c:v>
                </c:pt>
                <c:pt idx="225">
                  <c:v>103.1524180387468</c:v>
                </c:pt>
                <c:pt idx="226">
                  <c:v>103.79695907188677</c:v>
                </c:pt>
                <c:pt idx="227">
                  <c:v>103.47040669585871</c:v>
                </c:pt>
                <c:pt idx="228">
                  <c:v>104.23548611223319</c:v>
                </c:pt>
                <c:pt idx="229">
                  <c:v>103.56509234274264</c:v>
                </c:pt>
                <c:pt idx="230">
                  <c:v>103.52922167105625</c:v>
                </c:pt>
                <c:pt idx="231">
                  <c:v>104.49708348818045</c:v>
                </c:pt>
                <c:pt idx="232">
                  <c:v>105.07295319038923</c:v>
                </c:pt>
                <c:pt idx="233">
                  <c:v>105.69729677325535</c:v>
                </c:pt>
                <c:pt idx="234">
                  <c:v>105.97117419896914</c:v>
                </c:pt>
                <c:pt idx="235">
                  <c:v>105.77113865145664</c:v>
                </c:pt>
                <c:pt idx="236">
                  <c:v>105.93304141285205</c:v>
                </c:pt>
                <c:pt idx="237">
                  <c:v>105.96600365169901</c:v>
                </c:pt>
                <c:pt idx="238">
                  <c:v>107.23634248412479</c:v>
                </c:pt>
                <c:pt idx="239">
                  <c:v>107.12921520787215</c:v>
                </c:pt>
                <c:pt idx="240">
                  <c:v>106.84855143886635</c:v>
                </c:pt>
                <c:pt idx="241">
                  <c:v>107.24409830502996</c:v>
                </c:pt>
                <c:pt idx="242">
                  <c:v>107.35284137730451</c:v>
                </c:pt>
                <c:pt idx="243">
                  <c:v>107.14036420042335</c:v>
                </c:pt>
                <c:pt idx="244">
                  <c:v>106.87343469760377</c:v>
                </c:pt>
                <c:pt idx="245">
                  <c:v>107.20741973533261</c:v>
                </c:pt>
                <c:pt idx="246">
                  <c:v>108.3213495128375</c:v>
                </c:pt>
                <c:pt idx="247">
                  <c:v>108.64240818239107</c:v>
                </c:pt>
                <c:pt idx="248">
                  <c:v>109.52107805910583</c:v>
                </c:pt>
                <c:pt idx="249">
                  <c:v>109.41217340722906</c:v>
                </c:pt>
                <c:pt idx="250">
                  <c:v>109.68249608169465</c:v>
                </c:pt>
              </c:numCache>
            </c:numRef>
          </c:val>
          <c:smooth val="0"/>
          <c:extLst>
            <c:ext xmlns:c16="http://schemas.microsoft.com/office/drawing/2014/chart" uri="{C3380CC4-5D6E-409C-BE32-E72D297353CC}">
              <c16:uniqueId val="{0000000E-3D12-4B15-8069-2F347FD537FD}"/>
            </c:ext>
          </c:extLst>
        </c:ser>
        <c:ser>
          <c:idx val="15"/>
          <c:order val="15"/>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X$7:$X$257</c:f>
              <c:numCache>
                <c:formatCode>_(* #,##0.00_);_(* \(#,##0.00\);_(* "-"??_);_(@_)</c:formatCode>
                <c:ptCount val="251"/>
                <c:pt idx="0" formatCode="General">
                  <c:v>100</c:v>
                </c:pt>
                <c:pt idx="1">
                  <c:v>99.588204538639928</c:v>
                </c:pt>
                <c:pt idx="2">
                  <c:v>99.488306847135448</c:v>
                </c:pt>
                <c:pt idx="3">
                  <c:v>99.572232962019299</c:v>
                </c:pt>
                <c:pt idx="4">
                  <c:v>99.717634579367427</c:v>
                </c:pt>
                <c:pt idx="5">
                  <c:v>100.47507906683803</c:v>
                </c:pt>
                <c:pt idx="6">
                  <c:v>100.39356375597239</c:v>
                </c:pt>
                <c:pt idx="7">
                  <c:v>100.94006289184982</c:v>
                </c:pt>
                <c:pt idx="8">
                  <c:v>100.95121286043403</c:v>
                </c:pt>
                <c:pt idx="9">
                  <c:v>100.97622495212295</c:v>
                </c:pt>
                <c:pt idx="10">
                  <c:v>101.5406544428858</c:v>
                </c:pt>
                <c:pt idx="11">
                  <c:v>102.03501994186948</c:v>
                </c:pt>
                <c:pt idx="12">
                  <c:v>102.03788277164109</c:v>
                </c:pt>
                <c:pt idx="13">
                  <c:v>101.59097997676589</c:v>
                </c:pt>
                <c:pt idx="14">
                  <c:v>101.70398641511937</c:v>
                </c:pt>
                <c:pt idx="15">
                  <c:v>101.44557835941774</c:v>
                </c:pt>
                <c:pt idx="16">
                  <c:v>101.06949293257736</c:v>
                </c:pt>
                <c:pt idx="17">
                  <c:v>99.49086832640478</c:v>
                </c:pt>
                <c:pt idx="18">
                  <c:v>100.15338740565846</c:v>
                </c:pt>
                <c:pt idx="19">
                  <c:v>100.15323673040733</c:v>
                </c:pt>
                <c:pt idx="20">
                  <c:v>99.781822236352212</c:v>
                </c:pt>
                <c:pt idx="21">
                  <c:v>98.487823179579294</c:v>
                </c:pt>
                <c:pt idx="22">
                  <c:v>98.911974011532692</c:v>
                </c:pt>
                <c:pt idx="23">
                  <c:v>100.38919417368939</c:v>
                </c:pt>
                <c:pt idx="24">
                  <c:v>101.32277802974028</c:v>
                </c:pt>
                <c:pt idx="25">
                  <c:v>101.95440868251066</c:v>
                </c:pt>
                <c:pt idx="26">
                  <c:v>101.46456344106112</c:v>
                </c:pt>
                <c:pt idx="27">
                  <c:v>101.77103690187576</c:v>
                </c:pt>
                <c:pt idx="28">
                  <c:v>102.17499725017667</c:v>
                </c:pt>
                <c:pt idx="29">
                  <c:v>102.79547793436285</c:v>
                </c:pt>
                <c:pt idx="30">
                  <c:v>102.58754608779243</c:v>
                </c:pt>
                <c:pt idx="31">
                  <c:v>102.67328030568996</c:v>
                </c:pt>
                <c:pt idx="32">
                  <c:v>102.70040185089479</c:v>
                </c:pt>
                <c:pt idx="33">
                  <c:v>102.25063622624792</c:v>
                </c:pt>
                <c:pt idx="34">
                  <c:v>102.85092642678163</c:v>
                </c:pt>
                <c:pt idx="35">
                  <c:v>102.49262067957552</c:v>
                </c:pt>
                <c:pt idx="36">
                  <c:v>101.62021097548666</c:v>
                </c:pt>
                <c:pt idx="37">
                  <c:v>98.61619849354885</c:v>
                </c:pt>
                <c:pt idx="38">
                  <c:v>96.260692292508878</c:v>
                </c:pt>
                <c:pt idx="39">
                  <c:v>95.797215220008454</c:v>
                </c:pt>
                <c:pt idx="40">
                  <c:v>92.506769085657368</c:v>
                </c:pt>
                <c:pt idx="41">
                  <c:v>90.876161517842206</c:v>
                </c:pt>
                <c:pt idx="42">
                  <c:v>93.443818472484452</c:v>
                </c:pt>
                <c:pt idx="43">
                  <c:v>92.155093049501346</c:v>
                </c:pt>
                <c:pt idx="44">
                  <c:v>94.663685305697484</c:v>
                </c:pt>
                <c:pt idx="45">
                  <c:v>92.708071221177718</c:v>
                </c:pt>
                <c:pt idx="46">
                  <c:v>90.585960984150489</c:v>
                </c:pt>
                <c:pt idx="47">
                  <c:v>84.013958555265418</c:v>
                </c:pt>
                <c:pt idx="48">
                  <c:v>86.542439944611786</c:v>
                </c:pt>
                <c:pt idx="49">
                  <c:v>83.520949133541976</c:v>
                </c:pt>
                <c:pt idx="50">
                  <c:v>76.060264073445154</c:v>
                </c:pt>
                <c:pt idx="51">
                  <c:v>80.223119911885107</c:v>
                </c:pt>
                <c:pt idx="52">
                  <c:v>72.848922445941483</c:v>
                </c:pt>
                <c:pt idx="53">
                  <c:v>75.810293831807257</c:v>
                </c:pt>
                <c:pt idx="54">
                  <c:v>72.342653602117892</c:v>
                </c:pt>
                <c:pt idx="55">
                  <c:v>72.824965081010546</c:v>
                </c:pt>
                <c:pt idx="56">
                  <c:v>71.584154387889328</c:v>
                </c:pt>
                <c:pt idx="57">
                  <c:v>69.346174882736989</c:v>
                </c:pt>
                <c:pt idx="58">
                  <c:v>74.967567152192544</c:v>
                </c:pt>
                <c:pt idx="59">
                  <c:v>76.915798149406569</c:v>
                </c:pt>
                <c:pt idx="60">
                  <c:v>79.955822016366341</c:v>
                </c:pt>
                <c:pt idx="61">
                  <c:v>77.854655639247298</c:v>
                </c:pt>
                <c:pt idx="62">
                  <c:v>79.424993106607261</c:v>
                </c:pt>
                <c:pt idx="63">
                  <c:v>78.989541630818522</c:v>
                </c:pt>
                <c:pt idx="64">
                  <c:v>76.093261953444355</c:v>
                </c:pt>
                <c:pt idx="65">
                  <c:v>77.156275850222784</c:v>
                </c:pt>
                <c:pt idx="66">
                  <c:v>76.241074374810708</c:v>
                </c:pt>
                <c:pt idx="67">
                  <c:v>80.447626036080706</c:v>
                </c:pt>
                <c:pt idx="68">
                  <c:v>81.024109546934596</c:v>
                </c:pt>
                <c:pt idx="69">
                  <c:v>82.650799558220157</c:v>
                </c:pt>
                <c:pt idx="70">
                  <c:v>83.754495772805825</c:v>
                </c:pt>
                <c:pt idx="71">
                  <c:v>83.809040213717779</c:v>
                </c:pt>
                <c:pt idx="72">
                  <c:v>83.175149432180319</c:v>
                </c:pt>
                <c:pt idx="73">
                  <c:v>85.040509041268436</c:v>
                </c:pt>
                <c:pt idx="74">
                  <c:v>83.388806938293953</c:v>
                </c:pt>
                <c:pt idx="75">
                  <c:v>83.610450232717923</c:v>
                </c:pt>
                <c:pt idx="76">
                  <c:v>85.685700466641251</c:v>
                </c:pt>
                <c:pt idx="77">
                  <c:v>84.805455649493211</c:v>
                </c:pt>
                <c:pt idx="78">
                  <c:v>82.420266423979058</c:v>
                </c:pt>
                <c:pt idx="79">
                  <c:v>83.906527101204048</c:v>
                </c:pt>
                <c:pt idx="80">
                  <c:v>84.087337402569631</c:v>
                </c:pt>
                <c:pt idx="81">
                  <c:v>84.515707141554884</c:v>
                </c:pt>
                <c:pt idx="82">
                  <c:v>85.901768776773096</c:v>
                </c:pt>
                <c:pt idx="83">
                  <c:v>85.959929423712381</c:v>
                </c:pt>
                <c:pt idx="84">
                  <c:v>87.805249224399148</c:v>
                </c:pt>
                <c:pt idx="85">
                  <c:v>87.029874382043133</c:v>
                </c:pt>
                <c:pt idx="86">
                  <c:v>85.202635611492909</c:v>
                </c:pt>
                <c:pt idx="87">
                  <c:v>84.774416547758776</c:v>
                </c:pt>
                <c:pt idx="88">
                  <c:v>85.630703999975893</c:v>
                </c:pt>
                <c:pt idx="89">
                  <c:v>85.343064945553508</c:v>
                </c:pt>
                <c:pt idx="90">
                  <c:v>86.078962872111376</c:v>
                </c:pt>
                <c:pt idx="91">
                  <c:v>87.347799161944252</c:v>
                </c:pt>
                <c:pt idx="92">
                  <c:v>87.532074994086003</c:v>
                </c:pt>
                <c:pt idx="93">
                  <c:v>86.377751895117967</c:v>
                </c:pt>
                <c:pt idx="94">
                  <c:v>85.149145897338911</c:v>
                </c:pt>
                <c:pt idx="95">
                  <c:v>85.167076252224348</c:v>
                </c:pt>
                <c:pt idx="96">
                  <c:v>85.519505664636071</c:v>
                </c:pt>
                <c:pt idx="97">
                  <c:v>87.817905945494729</c:v>
                </c:pt>
                <c:pt idx="98">
                  <c:v>87.554676281756699</c:v>
                </c:pt>
                <c:pt idx="99">
                  <c:v>88.656715068579842</c:v>
                </c:pt>
                <c:pt idx="100">
                  <c:v>88.069533614895164</c:v>
                </c:pt>
                <c:pt idx="101">
                  <c:v>87.789578998280788</c:v>
                </c:pt>
                <c:pt idx="102">
                  <c:v>88.219455489777445</c:v>
                </c:pt>
                <c:pt idx="103">
                  <c:v>89.360217816143063</c:v>
                </c:pt>
                <c:pt idx="104">
                  <c:v>90.319868490640815</c:v>
                </c:pt>
                <c:pt idx="105">
                  <c:v>90.563209021228644</c:v>
                </c:pt>
                <c:pt idx="106">
                  <c:v>90.544826640589818</c:v>
                </c:pt>
                <c:pt idx="107">
                  <c:v>91.197702503770657</c:v>
                </c:pt>
                <c:pt idx="108">
                  <c:v>92.147408611693308</c:v>
                </c:pt>
                <c:pt idx="109">
                  <c:v>93.613026779512381</c:v>
                </c:pt>
                <c:pt idx="110">
                  <c:v>93.354016022806221</c:v>
                </c:pt>
                <c:pt idx="111">
                  <c:v>95.286727469153021</c:v>
                </c:pt>
                <c:pt idx="112">
                  <c:v>96.046281410139528</c:v>
                </c:pt>
                <c:pt idx="113">
                  <c:v>95.462716162482181</c:v>
                </c:pt>
                <c:pt idx="114">
                  <c:v>95.150969067877682</c:v>
                </c:pt>
                <c:pt idx="115">
                  <c:v>90.804590773551666</c:v>
                </c:pt>
                <c:pt idx="116">
                  <c:v>91.380019557647614</c:v>
                </c:pt>
                <c:pt idx="117">
                  <c:v>91.417688370432103</c:v>
                </c:pt>
                <c:pt idx="118">
                  <c:v>93.462803554127831</c:v>
                </c:pt>
                <c:pt idx="119">
                  <c:v>93.465365033397163</c:v>
                </c:pt>
                <c:pt idx="120">
                  <c:v>93.42724419485927</c:v>
                </c:pt>
                <c:pt idx="121">
                  <c:v>93.313183029747819</c:v>
                </c:pt>
                <c:pt idx="122">
                  <c:v>93.511622335496526</c:v>
                </c:pt>
                <c:pt idx="123">
                  <c:v>94.130445591920193</c:v>
                </c:pt>
                <c:pt idx="124">
                  <c:v>92.182967970961869</c:v>
                </c:pt>
                <c:pt idx="125">
                  <c:v>92.733686013871164</c:v>
                </c:pt>
                <c:pt idx="126">
                  <c:v>91.409099881117228</c:v>
                </c:pt>
                <c:pt idx="127">
                  <c:v>92.054291306490043</c:v>
                </c:pt>
                <c:pt idx="128">
                  <c:v>92.989833940805724</c:v>
                </c:pt>
                <c:pt idx="129">
                  <c:v>93.276870294223556</c:v>
                </c:pt>
                <c:pt idx="130">
                  <c:v>94.164498198677379</c:v>
                </c:pt>
                <c:pt idx="131">
                  <c:v>94.192523795389036</c:v>
                </c:pt>
                <c:pt idx="132">
                  <c:v>95.765573417269508</c:v>
                </c:pt>
                <c:pt idx="133">
                  <c:v>94.940626417289081</c:v>
                </c:pt>
                <c:pt idx="134">
                  <c:v>95.430320983487505</c:v>
                </c:pt>
                <c:pt idx="135">
                  <c:v>95.103506363769242</c:v>
                </c:pt>
                <c:pt idx="136">
                  <c:v>95.629815015994183</c:v>
                </c:pt>
                <c:pt idx="137">
                  <c:v>95.419472365405568</c:v>
                </c:pt>
                <c:pt idx="138">
                  <c:v>95.955574908954475</c:v>
                </c:pt>
                <c:pt idx="139">
                  <c:v>96.939333623634312</c:v>
                </c:pt>
                <c:pt idx="140">
                  <c:v>96.374602782369195</c:v>
                </c:pt>
                <c:pt idx="141">
                  <c:v>96.7035268556034</c:v>
                </c:pt>
                <c:pt idx="142">
                  <c:v>97.441534235677182</c:v>
                </c:pt>
                <c:pt idx="143">
                  <c:v>97.804360240417438</c:v>
                </c:pt>
                <c:pt idx="144">
                  <c:v>97.815962234755048</c:v>
                </c:pt>
                <c:pt idx="145">
                  <c:v>97.08262578746654</c:v>
                </c:pt>
                <c:pt idx="146">
                  <c:v>96.191080326483132</c:v>
                </c:pt>
                <c:pt idx="147">
                  <c:v>96.792123903272525</c:v>
                </c:pt>
                <c:pt idx="148">
                  <c:v>96.487609220722675</c:v>
                </c:pt>
                <c:pt idx="149">
                  <c:v>97.201056534860982</c:v>
                </c:pt>
                <c:pt idx="150">
                  <c:v>96.575904917889517</c:v>
                </c:pt>
                <c:pt idx="151">
                  <c:v>96.542455012136898</c:v>
                </c:pt>
                <c:pt idx="152">
                  <c:v>97.444999766453364</c:v>
                </c:pt>
                <c:pt idx="153">
                  <c:v>97.982006361509093</c:v>
                </c:pt>
                <c:pt idx="154">
                  <c:v>98.564215531906243</c:v>
                </c:pt>
                <c:pt idx="155">
                  <c:v>98.819610082585115</c:v>
                </c:pt>
                <c:pt idx="156">
                  <c:v>98.633074121676287</c:v>
                </c:pt>
                <c:pt idx="157">
                  <c:v>98.784050723316554</c:v>
                </c:pt>
                <c:pt idx="158">
                  <c:v>98.814788474548692</c:v>
                </c:pt>
                <c:pt idx="159">
                  <c:v>99.999397298995447</c:v>
                </c:pt>
                <c:pt idx="160">
                  <c:v>99.899499607490966</c:v>
                </c:pt>
                <c:pt idx="161">
                  <c:v>99.637776696264311</c:v>
                </c:pt>
                <c:pt idx="162">
                  <c:v>100.00662971105008</c:v>
                </c:pt>
                <c:pt idx="163">
                  <c:v>100.10803415506592</c:v>
                </c:pt>
                <c:pt idx="164">
                  <c:v>99.909896199819485</c:v>
                </c:pt>
                <c:pt idx="165">
                  <c:v>99.66098068493956</c:v>
                </c:pt>
                <c:pt idx="166">
                  <c:v>99.972426429041747</c:v>
                </c:pt>
                <c:pt idx="167">
                  <c:v>101.01118161038696</c:v>
                </c:pt>
                <c:pt idx="168">
                  <c:v>101.3105733343981</c:v>
                </c:pt>
                <c:pt idx="169">
                  <c:v>102.12994535008642</c:v>
                </c:pt>
                <c:pt idx="170">
                  <c:v>102.02839023081943</c:v>
                </c:pt>
                <c:pt idx="171">
                  <c:v>102.28046992597324</c:v>
                </c:pt>
                <c:pt idx="172">
                  <c:v>101.95802488853798</c:v>
                </c:pt>
                <c:pt idx="173">
                  <c:v>102.55952049108079</c:v>
                </c:pt>
                <c:pt idx="174">
                  <c:v>103.73719825397518</c:v>
                </c:pt>
                <c:pt idx="175">
                  <c:v>101.16667846956136</c:v>
                </c:pt>
                <c:pt idx="176">
                  <c:v>100.18819338867134</c:v>
                </c:pt>
                <c:pt idx="177">
                  <c:v>100.40561777606342</c:v>
                </c:pt>
                <c:pt idx="178">
                  <c:v>98.482700221040602</c:v>
                </c:pt>
                <c:pt idx="179">
                  <c:v>99.863337547217867</c:v>
                </c:pt>
                <c:pt idx="180">
                  <c:v>98.860141725141233</c:v>
                </c:pt>
                <c:pt idx="181">
                  <c:v>99.020912218105451</c:v>
                </c:pt>
                <c:pt idx="182">
                  <c:v>100.06795453826322</c:v>
                </c:pt>
                <c:pt idx="183">
                  <c:v>100.58597605167559</c:v>
                </c:pt>
                <c:pt idx="184">
                  <c:v>100.374578674329</c:v>
                </c:pt>
                <c:pt idx="185">
                  <c:v>99.588204538639928</c:v>
                </c:pt>
                <c:pt idx="186">
                  <c:v>98.924630732628287</c:v>
                </c:pt>
                <c:pt idx="187">
                  <c:v>97.595976368093616</c:v>
                </c:pt>
                <c:pt idx="188">
                  <c:v>98.129366757122057</c:v>
                </c:pt>
                <c:pt idx="189">
                  <c:v>96.806890077884034</c:v>
                </c:pt>
                <c:pt idx="190">
                  <c:v>96.534921249579995</c:v>
                </c:pt>
                <c:pt idx="191">
                  <c:v>97.554088648277258</c:v>
                </c:pt>
                <c:pt idx="192">
                  <c:v>99.056772927876281</c:v>
                </c:pt>
                <c:pt idx="193">
                  <c:v>98.676016568250617</c:v>
                </c:pt>
                <c:pt idx="194">
                  <c:v>99.015337233813341</c:v>
                </c:pt>
                <c:pt idx="195">
                  <c:v>99.498552764212818</c:v>
                </c:pt>
                <c:pt idx="196">
                  <c:v>98.804391882220173</c:v>
                </c:pt>
                <c:pt idx="197">
                  <c:v>100.3007478012714</c:v>
                </c:pt>
                <c:pt idx="198">
                  <c:v>99.650282742108757</c:v>
                </c:pt>
                <c:pt idx="199">
                  <c:v>100.79405857349713</c:v>
                </c:pt>
                <c:pt idx="200">
                  <c:v>101.53070987631068</c:v>
                </c:pt>
                <c:pt idx="201">
                  <c:v>102.13913654040583</c:v>
                </c:pt>
                <c:pt idx="202">
                  <c:v>103.35598986859611</c:v>
                </c:pt>
                <c:pt idx="203">
                  <c:v>102.99135576084223</c:v>
                </c:pt>
                <c:pt idx="204">
                  <c:v>102.52501585857019</c:v>
                </c:pt>
                <c:pt idx="205">
                  <c:v>101.88720752050313</c:v>
                </c:pt>
                <c:pt idx="206">
                  <c:v>102.04978611648102</c:v>
                </c:pt>
                <c:pt idx="207">
                  <c:v>101.15507647522372</c:v>
                </c:pt>
                <c:pt idx="208">
                  <c:v>101.36873398133737</c:v>
                </c:pt>
                <c:pt idx="209">
                  <c:v>101.01298971340063</c:v>
                </c:pt>
                <c:pt idx="210">
                  <c:v>101.21293577166071</c:v>
                </c:pt>
                <c:pt idx="211">
                  <c:v>101.58209013694875</c:v>
                </c:pt>
                <c:pt idx="212">
                  <c:v>100.06644778575185</c:v>
                </c:pt>
                <c:pt idx="213">
                  <c:v>99.718237280371994</c:v>
                </c:pt>
                <c:pt idx="214">
                  <c:v>97.019342181988591</c:v>
                </c:pt>
                <c:pt idx="215">
                  <c:v>97.639220165170201</c:v>
                </c:pt>
                <c:pt idx="216">
                  <c:v>96.481732885928281</c:v>
                </c:pt>
                <c:pt idx="217">
                  <c:v>97.709886857953933</c:v>
                </c:pt>
                <c:pt idx="218">
                  <c:v>99.25008927508631</c:v>
                </c:pt>
                <c:pt idx="219">
                  <c:v>101.17767776289442</c:v>
                </c:pt>
                <c:pt idx="220">
                  <c:v>103.02480566659484</c:v>
                </c:pt>
                <c:pt idx="221">
                  <c:v>103.13509995042784</c:v>
                </c:pt>
                <c:pt idx="222">
                  <c:v>104.62844236445632</c:v>
                </c:pt>
                <c:pt idx="223">
                  <c:v>104.66671387824536</c:v>
                </c:pt>
                <c:pt idx="224">
                  <c:v>105.56217689575836</c:v>
                </c:pt>
                <c:pt idx="225">
                  <c:v>104.84556540134614</c:v>
                </c:pt>
                <c:pt idx="226">
                  <c:v>105.63887059858756</c:v>
                </c:pt>
                <c:pt idx="227">
                  <c:v>106.8582854060472</c:v>
                </c:pt>
                <c:pt idx="228">
                  <c:v>106.63302590559593</c:v>
                </c:pt>
                <c:pt idx="229">
                  <c:v>106.05819982250455</c:v>
                </c:pt>
                <c:pt idx="230">
                  <c:v>106.22213449574269</c:v>
                </c:pt>
                <c:pt idx="231">
                  <c:v>106.02851679803038</c:v>
                </c:pt>
                <c:pt idx="232">
                  <c:v>106.51384178194579</c:v>
                </c:pt>
                <c:pt idx="233">
                  <c:v>107.93259994666099</c:v>
                </c:pt>
                <c:pt idx="234">
                  <c:v>107.84942720803281</c:v>
                </c:pt>
                <c:pt idx="235">
                  <c:v>107.97087146045001</c:v>
                </c:pt>
                <c:pt idx="236">
                  <c:v>108.30326106446037</c:v>
                </c:pt>
                <c:pt idx="237">
                  <c:v>107.39242917133132</c:v>
                </c:pt>
                <c:pt idx="238">
                  <c:v>108.44248499651188</c:v>
                </c:pt>
                <c:pt idx="239">
                  <c:v>108.61937774134786</c:v>
                </c:pt>
                <c:pt idx="240">
                  <c:v>108.72274096362851</c:v>
                </c:pt>
                <c:pt idx="241">
                  <c:v>109.52463465018481</c:v>
                </c:pt>
                <c:pt idx="242">
                  <c:v>109.42955856671675</c:v>
                </c:pt>
                <c:pt idx="243">
                  <c:v>109.67546057657394</c:v>
                </c:pt>
                <c:pt idx="244">
                  <c:v>109.19616260270402</c:v>
                </c:pt>
                <c:pt idx="245">
                  <c:v>109.18335520635729</c:v>
                </c:pt>
                <c:pt idx="246">
                  <c:v>109.00781853878155</c:v>
                </c:pt>
                <c:pt idx="247">
                  <c:v>108.79009280088718</c:v>
                </c:pt>
                <c:pt idx="248">
                  <c:v>109.56516629274091</c:v>
                </c:pt>
                <c:pt idx="249">
                  <c:v>110.03150619501294</c:v>
                </c:pt>
                <c:pt idx="250">
                  <c:v>110.67534154312553</c:v>
                </c:pt>
              </c:numCache>
            </c:numRef>
          </c:val>
          <c:smooth val="0"/>
          <c:extLst>
            <c:ext xmlns:c16="http://schemas.microsoft.com/office/drawing/2014/chart" uri="{C3380CC4-5D6E-409C-BE32-E72D297353CC}">
              <c16:uniqueId val="{0000000F-3D12-4B15-8069-2F347FD537FD}"/>
            </c:ext>
          </c:extLst>
        </c:ser>
        <c:ser>
          <c:idx val="16"/>
          <c:order val="16"/>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Y$7:$Y$257</c:f>
              <c:numCache>
                <c:formatCode>_(* #,##0.00_);_(* \(#,##0.00\);_(* "-"??_);_(@_)</c:formatCode>
                <c:ptCount val="251"/>
                <c:pt idx="0" formatCode="General">
                  <c:v>100</c:v>
                </c:pt>
                <c:pt idx="1">
                  <c:v>99.881175711416745</c:v>
                </c:pt>
                <c:pt idx="2">
                  <c:v>102.03336815683808</c:v>
                </c:pt>
                <c:pt idx="3">
                  <c:v>101.96197373134478</c:v>
                </c:pt>
                <c:pt idx="4">
                  <c:v>100.67986964276577</c:v>
                </c:pt>
                <c:pt idx="5">
                  <c:v>101.78323803675315</c:v>
                </c:pt>
                <c:pt idx="6">
                  <c:v>101.09263426707756</c:v>
                </c:pt>
                <c:pt idx="7">
                  <c:v>99.603960643198874</c:v>
                </c:pt>
                <c:pt idx="8">
                  <c:v>97.07357744734972</c:v>
                </c:pt>
                <c:pt idx="9">
                  <c:v>96.364251363296532</c:v>
                </c:pt>
                <c:pt idx="10">
                  <c:v>98.648373717365459</c:v>
                </c:pt>
                <c:pt idx="11">
                  <c:v>98.461400204447671</c:v>
                </c:pt>
                <c:pt idx="12">
                  <c:v>97.453515613786109</c:v>
                </c:pt>
                <c:pt idx="13">
                  <c:v>96.852404506835526</c:v>
                </c:pt>
                <c:pt idx="14">
                  <c:v>97.825465592754711</c:v>
                </c:pt>
                <c:pt idx="15">
                  <c:v>100.43485695527738</c:v>
                </c:pt>
                <c:pt idx="16">
                  <c:v>101.93963176952082</c:v>
                </c:pt>
                <c:pt idx="17">
                  <c:v>102.91344174801512</c:v>
                </c:pt>
                <c:pt idx="18">
                  <c:v>102.79574079829452</c:v>
                </c:pt>
                <c:pt idx="19">
                  <c:v>103.96987954062931</c:v>
                </c:pt>
                <c:pt idx="20">
                  <c:v>103.22810144498824</c:v>
                </c:pt>
                <c:pt idx="21">
                  <c:v>104.09469496981339</c:v>
                </c:pt>
                <c:pt idx="22">
                  <c:v>104.20465736292456</c:v>
                </c:pt>
                <c:pt idx="23">
                  <c:v>104.78392576976796</c:v>
                </c:pt>
                <c:pt idx="24">
                  <c:v>106.14628617931234</c:v>
                </c:pt>
                <c:pt idx="25">
                  <c:v>105.65651043519395</c:v>
                </c:pt>
                <c:pt idx="26">
                  <c:v>104.29252742507018</c:v>
                </c:pt>
                <c:pt idx="27">
                  <c:v>104.64775213652811</c:v>
                </c:pt>
                <c:pt idx="28">
                  <c:v>105.5228331105378</c:v>
                </c:pt>
                <c:pt idx="29">
                  <c:v>104.55077054805206</c:v>
                </c:pt>
                <c:pt idx="30">
                  <c:v>103.41232901846395</c:v>
                </c:pt>
                <c:pt idx="31">
                  <c:v>103.39497967380736</c:v>
                </c:pt>
                <c:pt idx="32">
                  <c:v>103.44353287575998</c:v>
                </c:pt>
                <c:pt idx="33">
                  <c:v>102.10076848859748</c:v>
                </c:pt>
                <c:pt idx="34">
                  <c:v>101.68276161625995</c:v>
                </c:pt>
                <c:pt idx="35">
                  <c:v>102.62911220033375</c:v>
                </c:pt>
                <c:pt idx="36">
                  <c:v>101.9484936649929</c:v>
                </c:pt>
                <c:pt idx="37">
                  <c:v>101.87347959205324</c:v>
                </c:pt>
                <c:pt idx="38">
                  <c:v>101.71259250383495</c:v>
                </c:pt>
                <c:pt idx="39">
                  <c:v>102.67841429486148</c:v>
                </c:pt>
                <c:pt idx="40">
                  <c:v>102.76229026327317</c:v>
                </c:pt>
                <c:pt idx="41">
                  <c:v>101.72232810731133</c:v>
                </c:pt>
                <c:pt idx="42">
                  <c:v>99.507727947297937</c:v>
                </c:pt>
                <c:pt idx="43">
                  <c:v>99.256474488350349</c:v>
                </c:pt>
                <c:pt idx="44">
                  <c:v>97.304361175911126</c:v>
                </c:pt>
                <c:pt idx="45">
                  <c:v>97.411952075867816</c:v>
                </c:pt>
                <c:pt idx="46">
                  <c:v>99.349961244809236</c:v>
                </c:pt>
                <c:pt idx="47">
                  <c:v>97.346423975546159</c:v>
                </c:pt>
                <c:pt idx="48">
                  <c:v>97.494954336275242</c:v>
                </c:pt>
                <c:pt idx="49">
                  <c:v>97.825091146467173</c:v>
                </c:pt>
                <c:pt idx="50">
                  <c:v>99.451311373306723</c:v>
                </c:pt>
                <c:pt idx="51">
                  <c:v>96.986456277779226</c:v>
                </c:pt>
                <c:pt idx="52">
                  <c:v>96.059202454370606</c:v>
                </c:pt>
                <c:pt idx="53">
                  <c:v>93.29354217450944</c:v>
                </c:pt>
                <c:pt idx="54">
                  <c:v>93.368431432019904</c:v>
                </c:pt>
                <c:pt idx="55">
                  <c:v>92.58284312073522</c:v>
                </c:pt>
                <c:pt idx="56">
                  <c:v>92.103926318955857</c:v>
                </c:pt>
                <c:pt idx="57">
                  <c:v>94.226038245943812</c:v>
                </c:pt>
                <c:pt idx="58">
                  <c:v>93.984520390472596</c:v>
                </c:pt>
                <c:pt idx="59">
                  <c:v>95.589521994350861</c:v>
                </c:pt>
                <c:pt idx="60">
                  <c:v>93.064630677385821</c:v>
                </c:pt>
                <c:pt idx="61">
                  <c:v>92.285158322131153</c:v>
                </c:pt>
                <c:pt idx="62">
                  <c:v>92.669589844018148</c:v>
                </c:pt>
                <c:pt idx="63">
                  <c:v>93.867318702468722</c:v>
                </c:pt>
                <c:pt idx="64">
                  <c:v>92.957289408287508</c:v>
                </c:pt>
                <c:pt idx="65">
                  <c:v>93.659750643735578</c:v>
                </c:pt>
                <c:pt idx="66">
                  <c:v>94.988535702829452</c:v>
                </c:pt>
                <c:pt idx="67">
                  <c:v>96.901956232221593</c:v>
                </c:pt>
                <c:pt idx="68">
                  <c:v>97.369514829945217</c:v>
                </c:pt>
                <c:pt idx="69">
                  <c:v>96.885730226427668</c:v>
                </c:pt>
                <c:pt idx="70">
                  <c:v>96.307585158446955</c:v>
                </c:pt>
                <c:pt idx="71">
                  <c:v>97.502942523743016</c:v>
                </c:pt>
                <c:pt idx="72">
                  <c:v>96.451372532867026</c:v>
                </c:pt>
                <c:pt idx="73">
                  <c:v>96.904826987092846</c:v>
                </c:pt>
                <c:pt idx="74">
                  <c:v>97.388112328893641</c:v>
                </c:pt>
                <c:pt idx="75">
                  <c:v>96.881236870977048</c:v>
                </c:pt>
                <c:pt idx="76">
                  <c:v>95.090135462185302</c:v>
                </c:pt>
                <c:pt idx="77">
                  <c:v>92.774185173674439</c:v>
                </c:pt>
                <c:pt idx="78">
                  <c:v>89.669151741861725</c:v>
                </c:pt>
                <c:pt idx="79">
                  <c:v>89.188237893215415</c:v>
                </c:pt>
                <c:pt idx="80">
                  <c:v>90.150315221366412</c:v>
                </c:pt>
                <c:pt idx="81">
                  <c:v>87.691326451010568</c:v>
                </c:pt>
                <c:pt idx="82">
                  <c:v>87.715540644272266</c:v>
                </c:pt>
                <c:pt idx="83">
                  <c:v>87.810650001310563</c:v>
                </c:pt>
                <c:pt idx="84">
                  <c:v>89.454843649952636</c:v>
                </c:pt>
                <c:pt idx="85">
                  <c:v>89.006256997464988</c:v>
                </c:pt>
                <c:pt idx="86">
                  <c:v>89.425886470381926</c:v>
                </c:pt>
                <c:pt idx="87">
                  <c:v>91.751572362369131</c:v>
                </c:pt>
                <c:pt idx="88">
                  <c:v>91.959514867389842</c:v>
                </c:pt>
                <c:pt idx="89">
                  <c:v>90.940521703530905</c:v>
                </c:pt>
                <c:pt idx="90">
                  <c:v>90.562955030249029</c:v>
                </c:pt>
                <c:pt idx="91">
                  <c:v>89.560063056754828</c:v>
                </c:pt>
                <c:pt idx="92">
                  <c:v>90.039853566538483</c:v>
                </c:pt>
                <c:pt idx="93">
                  <c:v>90.20361140962801</c:v>
                </c:pt>
                <c:pt idx="94">
                  <c:v>90.084287859328015</c:v>
                </c:pt>
                <c:pt idx="95">
                  <c:v>90.248919410421834</c:v>
                </c:pt>
                <c:pt idx="96">
                  <c:v>91.613027235974812</c:v>
                </c:pt>
                <c:pt idx="97">
                  <c:v>91.696029496382224</c:v>
                </c:pt>
                <c:pt idx="98">
                  <c:v>90.774142736428516</c:v>
                </c:pt>
                <c:pt idx="99">
                  <c:v>90.077672641581259</c:v>
                </c:pt>
                <c:pt idx="100">
                  <c:v>89.72219829926496</c:v>
                </c:pt>
                <c:pt idx="101">
                  <c:v>89.256761563837486</c:v>
                </c:pt>
                <c:pt idx="102">
                  <c:v>90.532375250098923</c:v>
                </c:pt>
                <c:pt idx="103">
                  <c:v>90.456362653725805</c:v>
                </c:pt>
                <c:pt idx="104">
                  <c:v>92.251458156251445</c:v>
                </c:pt>
                <c:pt idx="105">
                  <c:v>92.862180051249211</c:v>
                </c:pt>
                <c:pt idx="106">
                  <c:v>93.557526807233799</c:v>
                </c:pt>
                <c:pt idx="107">
                  <c:v>92.959161639725266</c:v>
                </c:pt>
                <c:pt idx="108">
                  <c:v>92.983375832986965</c:v>
                </c:pt>
                <c:pt idx="109">
                  <c:v>92.231612503011178</c:v>
                </c:pt>
                <c:pt idx="110">
                  <c:v>93.8730602122112</c:v>
                </c:pt>
                <c:pt idx="111">
                  <c:v>94.794322895018993</c:v>
                </c:pt>
                <c:pt idx="112">
                  <c:v>95.77150289010126</c:v>
                </c:pt>
                <c:pt idx="113">
                  <c:v>95.661166050702533</c:v>
                </c:pt>
                <c:pt idx="114">
                  <c:v>95.044328199674737</c:v>
                </c:pt>
                <c:pt idx="115">
                  <c:v>96.156808119992562</c:v>
                </c:pt>
                <c:pt idx="116">
                  <c:v>96.282622072610124</c:v>
                </c:pt>
                <c:pt idx="117">
                  <c:v>96.231198115786285</c:v>
                </c:pt>
                <c:pt idx="118">
                  <c:v>96.276131670292557</c:v>
                </c:pt>
                <c:pt idx="119">
                  <c:v>95.830415772676162</c:v>
                </c:pt>
                <c:pt idx="120">
                  <c:v>97.239831599022935</c:v>
                </c:pt>
                <c:pt idx="121">
                  <c:v>97.404587965545957</c:v>
                </c:pt>
                <c:pt idx="122">
                  <c:v>98.6282784332668</c:v>
                </c:pt>
                <c:pt idx="123">
                  <c:v>98.945059992536031</c:v>
                </c:pt>
                <c:pt idx="124">
                  <c:v>99.094214430411029</c:v>
                </c:pt>
                <c:pt idx="125">
                  <c:v>98.568866288975173</c:v>
                </c:pt>
                <c:pt idx="126">
                  <c:v>98.66734566260142</c:v>
                </c:pt>
                <c:pt idx="127">
                  <c:v>97.670195198849711</c:v>
                </c:pt>
                <c:pt idx="128">
                  <c:v>96.067939534413483</c:v>
                </c:pt>
                <c:pt idx="129">
                  <c:v>95.735680861925431</c:v>
                </c:pt>
                <c:pt idx="130">
                  <c:v>95.908799862203765</c:v>
                </c:pt>
                <c:pt idx="131">
                  <c:v>97.072828554774631</c:v>
                </c:pt>
                <c:pt idx="132">
                  <c:v>94.824153782593996</c:v>
                </c:pt>
                <c:pt idx="133">
                  <c:v>94.04830107478567</c:v>
                </c:pt>
                <c:pt idx="134">
                  <c:v>93.384532622384654</c:v>
                </c:pt>
                <c:pt idx="135">
                  <c:v>92.773311465670133</c:v>
                </c:pt>
                <c:pt idx="136">
                  <c:v>92.326971490907823</c:v>
                </c:pt>
                <c:pt idx="137">
                  <c:v>91.983479429793192</c:v>
                </c:pt>
                <c:pt idx="138">
                  <c:v>91.847430611982531</c:v>
                </c:pt>
                <c:pt idx="139">
                  <c:v>91.565347742026475</c:v>
                </c:pt>
                <c:pt idx="140">
                  <c:v>92.469136264748499</c:v>
                </c:pt>
                <c:pt idx="141">
                  <c:v>93.093088595239792</c:v>
                </c:pt>
                <c:pt idx="142">
                  <c:v>94.445713401307813</c:v>
                </c:pt>
                <c:pt idx="143">
                  <c:v>95.487922234995011</c:v>
                </c:pt>
                <c:pt idx="144">
                  <c:v>92.690683651550259</c:v>
                </c:pt>
                <c:pt idx="145">
                  <c:v>92.452036550950282</c:v>
                </c:pt>
                <c:pt idx="146">
                  <c:v>91.706139546146133</c:v>
                </c:pt>
                <c:pt idx="147">
                  <c:v>90.850779409947535</c:v>
                </c:pt>
                <c:pt idx="148">
                  <c:v>91.195020363637269</c:v>
                </c:pt>
                <c:pt idx="149">
                  <c:v>90.481200924133432</c:v>
                </c:pt>
                <c:pt idx="150">
                  <c:v>89.326158942463834</c:v>
                </c:pt>
                <c:pt idx="151">
                  <c:v>88.476540316007714</c:v>
                </c:pt>
                <c:pt idx="152">
                  <c:v>86.9919856012921</c:v>
                </c:pt>
                <c:pt idx="153">
                  <c:v>86.073593673355518</c:v>
                </c:pt>
                <c:pt idx="154">
                  <c:v>86.006442972454479</c:v>
                </c:pt>
                <c:pt idx="155">
                  <c:v>86.941185721614161</c:v>
                </c:pt>
                <c:pt idx="156">
                  <c:v>85.54163031417292</c:v>
                </c:pt>
                <c:pt idx="157">
                  <c:v>84.792737739068357</c:v>
                </c:pt>
                <c:pt idx="158">
                  <c:v>86.324223055157191</c:v>
                </c:pt>
                <c:pt idx="159">
                  <c:v>88.881441568280891</c:v>
                </c:pt>
                <c:pt idx="160">
                  <c:v>88.86471630077024</c:v>
                </c:pt>
                <c:pt idx="161">
                  <c:v>88.236270614828314</c:v>
                </c:pt>
                <c:pt idx="162">
                  <c:v>86.286528795543589</c:v>
                </c:pt>
                <c:pt idx="163">
                  <c:v>85.629500376318518</c:v>
                </c:pt>
                <c:pt idx="164">
                  <c:v>84.821570103209893</c:v>
                </c:pt>
                <c:pt idx="165">
                  <c:v>84.602768655850156</c:v>
                </c:pt>
                <c:pt idx="166">
                  <c:v>85.900474673077184</c:v>
                </c:pt>
                <c:pt idx="167">
                  <c:v>84.857392131385723</c:v>
                </c:pt>
                <c:pt idx="168">
                  <c:v>86.495969085714492</c:v>
                </c:pt>
                <c:pt idx="169">
                  <c:v>87.464661631612245</c:v>
                </c:pt>
                <c:pt idx="170">
                  <c:v>86.873410943567194</c:v>
                </c:pt>
                <c:pt idx="171">
                  <c:v>86.423825767646107</c:v>
                </c:pt>
                <c:pt idx="172">
                  <c:v>87.624799827255444</c:v>
                </c:pt>
                <c:pt idx="173">
                  <c:v>88.217797931309079</c:v>
                </c:pt>
                <c:pt idx="174">
                  <c:v>89.439491352162975</c:v>
                </c:pt>
                <c:pt idx="175">
                  <c:v>89.220440273944902</c:v>
                </c:pt>
                <c:pt idx="176">
                  <c:v>88.924253260491042</c:v>
                </c:pt>
                <c:pt idx="177">
                  <c:v>90.115741347482398</c:v>
                </c:pt>
                <c:pt idx="178">
                  <c:v>89.868232351410356</c:v>
                </c:pt>
                <c:pt idx="179">
                  <c:v>90.006527846946327</c:v>
                </c:pt>
                <c:pt idx="180">
                  <c:v>88.554549959247765</c:v>
                </c:pt>
                <c:pt idx="181">
                  <c:v>87.72951997234091</c:v>
                </c:pt>
                <c:pt idx="182">
                  <c:v>88.892799772336645</c:v>
                </c:pt>
                <c:pt idx="183">
                  <c:v>89.630958220531383</c:v>
                </c:pt>
                <c:pt idx="184">
                  <c:v>90.149691144220483</c:v>
                </c:pt>
                <c:pt idx="185">
                  <c:v>88.858225898452673</c:v>
                </c:pt>
                <c:pt idx="186">
                  <c:v>92.247713693375914</c:v>
                </c:pt>
                <c:pt idx="187">
                  <c:v>93.436206210066857</c:v>
                </c:pt>
                <c:pt idx="188">
                  <c:v>92.920094410390647</c:v>
                </c:pt>
                <c:pt idx="189">
                  <c:v>93.742004011567886</c:v>
                </c:pt>
                <c:pt idx="190">
                  <c:v>93.029931988072647</c:v>
                </c:pt>
                <c:pt idx="191">
                  <c:v>92.7045381641897</c:v>
                </c:pt>
                <c:pt idx="192">
                  <c:v>93.097332319832049</c:v>
                </c:pt>
                <c:pt idx="193">
                  <c:v>92.7094059659279</c:v>
                </c:pt>
                <c:pt idx="194">
                  <c:v>93.622805276697079</c:v>
                </c:pt>
                <c:pt idx="195">
                  <c:v>94.100224293326235</c:v>
                </c:pt>
                <c:pt idx="196">
                  <c:v>94.328012451587213</c:v>
                </c:pt>
                <c:pt idx="197">
                  <c:v>94.283203712510115</c:v>
                </c:pt>
                <c:pt idx="198">
                  <c:v>93.137772518887687</c:v>
                </c:pt>
                <c:pt idx="199">
                  <c:v>93.2499815897242</c:v>
                </c:pt>
                <c:pt idx="200">
                  <c:v>95.358987896647832</c:v>
                </c:pt>
                <c:pt idx="201">
                  <c:v>95.476813661797607</c:v>
                </c:pt>
                <c:pt idx="202">
                  <c:v>95.223812786841464</c:v>
                </c:pt>
                <c:pt idx="203">
                  <c:v>94.1727420576822</c:v>
                </c:pt>
                <c:pt idx="204">
                  <c:v>93.129035438844809</c:v>
                </c:pt>
                <c:pt idx="205">
                  <c:v>92.725382340863447</c:v>
                </c:pt>
                <c:pt idx="206">
                  <c:v>93.250855297728492</c:v>
                </c:pt>
                <c:pt idx="207">
                  <c:v>93.081480760325675</c:v>
                </c:pt>
                <c:pt idx="208">
                  <c:v>93.690704870173235</c:v>
                </c:pt>
                <c:pt idx="209">
                  <c:v>94.352351460278101</c:v>
                </c:pt>
                <c:pt idx="210">
                  <c:v>94.080877901802708</c:v>
                </c:pt>
                <c:pt idx="211">
                  <c:v>92.082707695994543</c:v>
                </c:pt>
                <c:pt idx="212">
                  <c:v>91.165314291491455</c:v>
                </c:pt>
                <c:pt idx="213">
                  <c:v>90.575436573167423</c:v>
                </c:pt>
                <c:pt idx="214">
                  <c:v>90.413301330657291</c:v>
                </c:pt>
                <c:pt idx="215">
                  <c:v>91.521163080095306</c:v>
                </c:pt>
                <c:pt idx="216">
                  <c:v>90.722094702458747</c:v>
                </c:pt>
                <c:pt idx="217">
                  <c:v>90.929787576621067</c:v>
                </c:pt>
                <c:pt idx="218">
                  <c:v>90.956997340183193</c:v>
                </c:pt>
                <c:pt idx="219">
                  <c:v>90.812461073188018</c:v>
                </c:pt>
                <c:pt idx="220">
                  <c:v>90.082041181602705</c:v>
                </c:pt>
                <c:pt idx="221">
                  <c:v>91.079690907071182</c:v>
                </c:pt>
                <c:pt idx="222">
                  <c:v>90.729833259068158</c:v>
                </c:pt>
                <c:pt idx="223">
                  <c:v>90.868378385462506</c:v>
                </c:pt>
                <c:pt idx="224">
                  <c:v>90.887475146127656</c:v>
                </c:pt>
                <c:pt idx="225">
                  <c:v>91.662454145931704</c:v>
                </c:pt>
                <c:pt idx="226">
                  <c:v>91.106026962629016</c:v>
                </c:pt>
                <c:pt idx="227">
                  <c:v>92.590332046486253</c:v>
                </c:pt>
                <c:pt idx="228">
                  <c:v>92.92883149043351</c:v>
                </c:pt>
                <c:pt idx="229">
                  <c:v>93.252103452020336</c:v>
                </c:pt>
                <c:pt idx="230">
                  <c:v>94.202822576115565</c:v>
                </c:pt>
                <c:pt idx="231">
                  <c:v>94.610344952401633</c:v>
                </c:pt>
                <c:pt idx="232">
                  <c:v>95.034592596198365</c:v>
                </c:pt>
                <c:pt idx="233">
                  <c:v>95.098872542228179</c:v>
                </c:pt>
                <c:pt idx="234">
                  <c:v>95.050319340275564</c:v>
                </c:pt>
                <c:pt idx="235">
                  <c:v>94.27084698502091</c:v>
                </c:pt>
                <c:pt idx="236">
                  <c:v>93.539428570002116</c:v>
                </c:pt>
                <c:pt idx="237">
                  <c:v>94.840005342100369</c:v>
                </c:pt>
                <c:pt idx="238">
                  <c:v>95.737677908792378</c:v>
                </c:pt>
                <c:pt idx="239">
                  <c:v>95.756400223169976</c:v>
                </c:pt>
                <c:pt idx="240">
                  <c:v>95.72744304359928</c:v>
                </c:pt>
                <c:pt idx="241">
                  <c:v>96.559837140827995</c:v>
                </c:pt>
                <c:pt idx="242">
                  <c:v>96.787999745376524</c:v>
                </c:pt>
                <c:pt idx="243">
                  <c:v>95.872478572311209</c:v>
                </c:pt>
                <c:pt idx="244">
                  <c:v>96.569947190591904</c:v>
                </c:pt>
                <c:pt idx="245">
                  <c:v>97.324830906297308</c:v>
                </c:pt>
                <c:pt idx="246">
                  <c:v>98.395996919555202</c:v>
                </c:pt>
                <c:pt idx="247">
                  <c:v>97.877888073012045</c:v>
                </c:pt>
                <c:pt idx="248">
                  <c:v>97.163694187220642</c:v>
                </c:pt>
                <c:pt idx="249">
                  <c:v>97.949407313934529</c:v>
                </c:pt>
                <c:pt idx="250">
                  <c:v>97.377752648271368</c:v>
                </c:pt>
              </c:numCache>
            </c:numRef>
          </c:val>
          <c:smooth val="0"/>
          <c:extLst>
            <c:ext xmlns:c16="http://schemas.microsoft.com/office/drawing/2014/chart" uri="{C3380CC4-5D6E-409C-BE32-E72D297353CC}">
              <c16:uniqueId val="{00000010-3D12-4B15-8069-2F347FD537FD}"/>
            </c:ext>
          </c:extLst>
        </c:ser>
        <c:ser>
          <c:idx val="17"/>
          <c:order val="17"/>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Z$7:$Z$257</c:f>
              <c:numCache>
                <c:formatCode>_(* #,##0.00_);_(* \(#,##0.00\);_(* "-"??_);_(@_)</c:formatCode>
                <c:ptCount val="251"/>
                <c:pt idx="0" formatCode="General">
                  <c:v>100</c:v>
                </c:pt>
                <c:pt idx="1">
                  <c:v>100.31425969072217</c:v>
                </c:pt>
                <c:pt idx="2">
                  <c:v>101.23074561822858</c:v>
                </c:pt>
                <c:pt idx="3">
                  <c:v>101.65961322658401</c:v>
                </c:pt>
                <c:pt idx="4">
                  <c:v>101.41429441276966</c:v>
                </c:pt>
                <c:pt idx="5">
                  <c:v>100.70047956682988</c:v>
                </c:pt>
                <c:pt idx="6">
                  <c:v>101.28471575726772</c:v>
                </c:pt>
                <c:pt idx="7">
                  <c:v>101.41328797661042</c:v>
                </c:pt>
                <c:pt idx="8">
                  <c:v>100.24733168613282</c:v>
                </c:pt>
                <c:pt idx="9">
                  <c:v>99.250582474927157</c:v>
                </c:pt>
                <c:pt idx="10">
                  <c:v>98.095319568641457</c:v>
                </c:pt>
                <c:pt idx="11">
                  <c:v>97.816285143492635</c:v>
                </c:pt>
                <c:pt idx="12">
                  <c:v>98.35108015760791</c:v>
                </c:pt>
                <c:pt idx="13">
                  <c:v>97.471580758953507</c:v>
                </c:pt>
                <c:pt idx="14">
                  <c:v>96.473950916108507</c:v>
                </c:pt>
                <c:pt idx="15">
                  <c:v>96.221083831099889</c:v>
                </c:pt>
                <c:pt idx="16">
                  <c:v>96.980565717765117</c:v>
                </c:pt>
                <c:pt idx="17">
                  <c:v>97.432455553263125</c:v>
                </c:pt>
                <c:pt idx="18">
                  <c:v>98.363283196038665</c:v>
                </c:pt>
                <c:pt idx="19">
                  <c:v>100.06466352323106</c:v>
                </c:pt>
                <c:pt idx="20">
                  <c:v>100.91019570151116</c:v>
                </c:pt>
                <c:pt idx="21">
                  <c:v>101.27276432787677</c:v>
                </c:pt>
                <c:pt idx="22">
                  <c:v>101.29163500586249</c:v>
                </c:pt>
                <c:pt idx="23">
                  <c:v>101.30295741265391</c:v>
                </c:pt>
                <c:pt idx="24">
                  <c:v>100.97095928462518</c:v>
                </c:pt>
                <c:pt idx="25">
                  <c:v>101.7329572616885</c:v>
                </c:pt>
                <c:pt idx="26">
                  <c:v>101.8536037962772</c:v>
                </c:pt>
                <c:pt idx="27">
                  <c:v>103.44465355951309</c:v>
                </c:pt>
                <c:pt idx="28">
                  <c:v>103.95554571484644</c:v>
                </c:pt>
                <c:pt idx="29">
                  <c:v>103.87326955882872</c:v>
                </c:pt>
                <c:pt idx="30">
                  <c:v>104.12840112519564</c:v>
                </c:pt>
                <c:pt idx="31">
                  <c:v>104.6764056139009</c:v>
                </c:pt>
                <c:pt idx="32">
                  <c:v>104.49336003743943</c:v>
                </c:pt>
                <c:pt idx="33">
                  <c:v>104.81680345811463</c:v>
                </c:pt>
                <c:pt idx="34">
                  <c:v>104.89140553841818</c:v>
                </c:pt>
                <c:pt idx="35">
                  <c:v>104.93380166162609</c:v>
                </c:pt>
                <c:pt idx="36">
                  <c:v>104.65866717659431</c:v>
                </c:pt>
                <c:pt idx="37">
                  <c:v>104.71792110546947</c:v>
                </c:pt>
                <c:pt idx="38">
                  <c:v>104.69666014160556</c:v>
                </c:pt>
                <c:pt idx="39">
                  <c:v>105.1389888335908</c:v>
                </c:pt>
                <c:pt idx="40">
                  <c:v>105.69215130761218</c:v>
                </c:pt>
                <c:pt idx="41">
                  <c:v>105.25850312750036</c:v>
                </c:pt>
                <c:pt idx="42">
                  <c:v>105.11420534316956</c:v>
                </c:pt>
                <c:pt idx="43">
                  <c:v>105.07860266403652</c:v>
                </c:pt>
                <c:pt idx="44">
                  <c:v>105.45085823843479</c:v>
                </c:pt>
                <c:pt idx="45">
                  <c:v>105.83770713714202</c:v>
                </c:pt>
                <c:pt idx="46">
                  <c:v>106.2362558562004</c:v>
                </c:pt>
                <c:pt idx="47">
                  <c:v>106.54648980228562</c:v>
                </c:pt>
                <c:pt idx="48">
                  <c:v>107.5338036744984</c:v>
                </c:pt>
                <c:pt idx="49">
                  <c:v>108.01324469985558</c:v>
                </c:pt>
                <c:pt idx="50">
                  <c:v>108.09992401406998</c:v>
                </c:pt>
                <c:pt idx="51">
                  <c:v>108.32536571373936</c:v>
                </c:pt>
                <c:pt idx="52">
                  <c:v>108.8802894510394</c:v>
                </c:pt>
                <c:pt idx="53">
                  <c:v>107.90857533929479</c:v>
                </c:pt>
                <c:pt idx="54">
                  <c:v>108.5521912631277</c:v>
                </c:pt>
                <c:pt idx="55">
                  <c:v>108.63798994570277</c:v>
                </c:pt>
                <c:pt idx="56">
                  <c:v>108.65610579656905</c:v>
                </c:pt>
                <c:pt idx="57">
                  <c:v>108.99401673703333</c:v>
                </c:pt>
                <c:pt idx="58">
                  <c:v>109.34337588880894</c:v>
                </c:pt>
                <c:pt idx="59">
                  <c:v>109.45194518948675</c:v>
                </c:pt>
                <c:pt idx="60">
                  <c:v>109.28978316332949</c:v>
                </c:pt>
                <c:pt idx="61">
                  <c:v>109.30236361531998</c:v>
                </c:pt>
                <c:pt idx="62">
                  <c:v>108.77511687239898</c:v>
                </c:pt>
                <c:pt idx="63">
                  <c:v>107.87397909632097</c:v>
                </c:pt>
                <c:pt idx="64">
                  <c:v>107.80025764765675</c:v>
                </c:pt>
                <c:pt idx="65">
                  <c:v>107.89096270650811</c:v>
                </c:pt>
                <c:pt idx="66">
                  <c:v>108.87286698436502</c:v>
                </c:pt>
                <c:pt idx="67">
                  <c:v>108.75725263057252</c:v>
                </c:pt>
                <c:pt idx="68">
                  <c:v>109.15592715415079</c:v>
                </c:pt>
                <c:pt idx="69">
                  <c:v>109.1585690490688</c:v>
                </c:pt>
                <c:pt idx="70">
                  <c:v>109.38652683913628</c:v>
                </c:pt>
                <c:pt idx="71">
                  <c:v>109.40678136684095</c:v>
                </c:pt>
                <c:pt idx="72">
                  <c:v>108.88318295499721</c:v>
                </c:pt>
                <c:pt idx="73">
                  <c:v>108.02645417444556</c:v>
                </c:pt>
                <c:pt idx="74">
                  <c:v>108.73448201246974</c:v>
                </c:pt>
                <c:pt idx="75">
                  <c:v>109.77123706100511</c:v>
                </c:pt>
                <c:pt idx="76">
                  <c:v>110.09530950427985</c:v>
                </c:pt>
                <c:pt idx="77">
                  <c:v>110.32905430226299</c:v>
                </c:pt>
                <c:pt idx="78">
                  <c:v>110.65602024949553</c:v>
                </c:pt>
                <c:pt idx="79">
                  <c:v>111.13093231213611</c:v>
                </c:pt>
                <c:pt idx="80">
                  <c:v>111.16238344211231</c:v>
                </c:pt>
                <c:pt idx="81">
                  <c:v>111.90941068130695</c:v>
                </c:pt>
                <c:pt idx="82">
                  <c:v>111.77454823596902</c:v>
                </c:pt>
                <c:pt idx="83">
                  <c:v>110.57638598839578</c:v>
                </c:pt>
                <c:pt idx="84">
                  <c:v>111.4117280005636</c:v>
                </c:pt>
                <c:pt idx="85">
                  <c:v>112.27537602970999</c:v>
                </c:pt>
                <c:pt idx="86">
                  <c:v>112.02326377182079</c:v>
                </c:pt>
                <c:pt idx="87">
                  <c:v>112.43867029654639</c:v>
                </c:pt>
                <c:pt idx="88">
                  <c:v>113.05133830848273</c:v>
                </c:pt>
                <c:pt idx="89">
                  <c:v>113.12543717070666</c:v>
                </c:pt>
                <c:pt idx="90">
                  <c:v>113.53040192028018</c:v>
                </c:pt>
                <c:pt idx="91">
                  <c:v>113.53996306379295</c:v>
                </c:pt>
                <c:pt idx="92">
                  <c:v>112.47226010336099</c:v>
                </c:pt>
                <c:pt idx="93">
                  <c:v>113.29892160365537</c:v>
                </c:pt>
                <c:pt idx="94">
                  <c:v>114.03198454114059</c:v>
                </c:pt>
                <c:pt idx="95">
                  <c:v>113.97034032638724</c:v>
                </c:pt>
                <c:pt idx="96">
                  <c:v>114.03034908238183</c:v>
                </c:pt>
                <c:pt idx="97">
                  <c:v>113.56223046381611</c:v>
                </c:pt>
                <c:pt idx="98">
                  <c:v>113.57757861524449</c:v>
                </c:pt>
                <c:pt idx="99">
                  <c:v>115.47043342173198</c:v>
                </c:pt>
                <c:pt idx="100">
                  <c:v>115.57220927833494</c:v>
                </c:pt>
                <c:pt idx="101">
                  <c:v>115.25040131641848</c:v>
                </c:pt>
                <c:pt idx="102">
                  <c:v>115.45584009742302</c:v>
                </c:pt>
                <c:pt idx="103">
                  <c:v>115.15277700897238</c:v>
                </c:pt>
                <c:pt idx="104">
                  <c:v>115.58680260264389</c:v>
                </c:pt>
                <c:pt idx="105">
                  <c:v>116.46693102389783</c:v>
                </c:pt>
                <c:pt idx="106">
                  <c:v>116.45032482727038</c:v>
                </c:pt>
                <c:pt idx="107">
                  <c:v>115.53207763648533</c:v>
                </c:pt>
                <c:pt idx="108">
                  <c:v>116.11706865404258</c:v>
                </c:pt>
                <c:pt idx="109">
                  <c:v>117.06412507988586</c:v>
                </c:pt>
                <c:pt idx="110">
                  <c:v>116.63890580260767</c:v>
                </c:pt>
                <c:pt idx="111">
                  <c:v>116.3218784124476</c:v>
                </c:pt>
                <c:pt idx="112">
                  <c:v>117.43851933112252</c:v>
                </c:pt>
                <c:pt idx="113">
                  <c:v>117.33787571519869</c:v>
                </c:pt>
                <c:pt idx="114">
                  <c:v>117.08173771267253</c:v>
                </c:pt>
                <c:pt idx="115">
                  <c:v>116.40579002722411</c:v>
                </c:pt>
                <c:pt idx="116">
                  <c:v>117.03405779962861</c:v>
                </c:pt>
                <c:pt idx="117">
                  <c:v>117.46430925770301</c:v>
                </c:pt>
                <c:pt idx="118">
                  <c:v>118.24505210823213</c:v>
                </c:pt>
                <c:pt idx="119">
                  <c:v>119.02076277796509</c:v>
                </c:pt>
                <c:pt idx="120">
                  <c:v>118.85168150321303</c:v>
                </c:pt>
                <c:pt idx="121">
                  <c:v>118.52282848818191</c:v>
                </c:pt>
                <c:pt idx="122">
                  <c:v>118.41363016490456</c:v>
                </c:pt>
                <c:pt idx="123">
                  <c:v>119.11863869445101</c:v>
                </c:pt>
                <c:pt idx="124">
                  <c:v>119.1573864865817</c:v>
                </c:pt>
                <c:pt idx="125">
                  <c:v>119.22003713749427</c:v>
                </c:pt>
                <c:pt idx="126">
                  <c:v>118.94226075754449</c:v>
                </c:pt>
                <c:pt idx="127">
                  <c:v>118.33701521228255</c:v>
                </c:pt>
                <c:pt idx="128">
                  <c:v>118.35840198066636</c:v>
                </c:pt>
                <c:pt idx="129">
                  <c:v>117.57061407702255</c:v>
                </c:pt>
                <c:pt idx="130">
                  <c:v>118.14868584598509</c:v>
                </c:pt>
                <c:pt idx="131">
                  <c:v>118.33047337724749</c:v>
                </c:pt>
                <c:pt idx="132">
                  <c:v>118.47376472541906</c:v>
                </c:pt>
                <c:pt idx="133">
                  <c:v>117.77554963994746</c:v>
                </c:pt>
                <c:pt idx="134">
                  <c:v>118.22882332516443</c:v>
                </c:pt>
                <c:pt idx="135">
                  <c:v>116.98499403686576</c:v>
                </c:pt>
                <c:pt idx="136">
                  <c:v>115.90697510580161</c:v>
                </c:pt>
                <c:pt idx="137">
                  <c:v>115.11025508124457</c:v>
                </c:pt>
                <c:pt idx="138">
                  <c:v>114.61156596434196</c:v>
                </c:pt>
                <c:pt idx="139">
                  <c:v>114.58942436883872</c:v>
                </c:pt>
                <c:pt idx="140">
                  <c:v>113.65041943226937</c:v>
                </c:pt>
                <c:pt idx="141">
                  <c:v>114.6306882513675</c:v>
                </c:pt>
                <c:pt idx="142">
                  <c:v>115.85640168879988</c:v>
                </c:pt>
                <c:pt idx="143">
                  <c:v>116.08146597490953</c:v>
                </c:pt>
                <c:pt idx="144">
                  <c:v>115.4788623245656</c:v>
                </c:pt>
                <c:pt idx="145">
                  <c:v>116.60669984551204</c:v>
                </c:pt>
                <c:pt idx="146">
                  <c:v>116.97430065267385</c:v>
                </c:pt>
                <c:pt idx="147">
                  <c:v>115.73852285364907</c:v>
                </c:pt>
                <c:pt idx="148">
                  <c:v>115.4213696589691</c:v>
                </c:pt>
                <c:pt idx="149">
                  <c:v>116.15342616029507</c:v>
                </c:pt>
                <c:pt idx="150">
                  <c:v>117.24150945295162</c:v>
                </c:pt>
                <c:pt idx="151">
                  <c:v>118.23838446867718</c:v>
                </c:pt>
                <c:pt idx="152">
                  <c:v>118.63617836061613</c:v>
                </c:pt>
                <c:pt idx="153">
                  <c:v>118.56648265658889</c:v>
                </c:pt>
                <c:pt idx="154">
                  <c:v>118.97232803780173</c:v>
                </c:pt>
                <c:pt idx="155">
                  <c:v>119.35477377831229</c:v>
                </c:pt>
                <c:pt idx="156">
                  <c:v>119.40371173655527</c:v>
                </c:pt>
                <c:pt idx="157">
                  <c:v>119.84994036865757</c:v>
                </c:pt>
                <c:pt idx="158">
                  <c:v>120.90569189969855</c:v>
                </c:pt>
                <c:pt idx="159">
                  <c:v>120.87386335616266</c:v>
                </c:pt>
                <c:pt idx="160">
                  <c:v>121.0062097111025</c:v>
                </c:pt>
                <c:pt idx="161">
                  <c:v>121.21517101866435</c:v>
                </c:pt>
                <c:pt idx="162">
                  <c:v>121.22359992149798</c:v>
                </c:pt>
                <c:pt idx="163">
                  <c:v>120.893237252228</c:v>
                </c:pt>
                <c:pt idx="164">
                  <c:v>120.29604319623996</c:v>
                </c:pt>
                <c:pt idx="165">
                  <c:v>120.65446027344871</c:v>
                </c:pt>
                <c:pt idx="166">
                  <c:v>120.85109273805989</c:v>
                </c:pt>
                <c:pt idx="167">
                  <c:v>120.68062761358888</c:v>
                </c:pt>
                <c:pt idx="168">
                  <c:v>119.61204402151762</c:v>
                </c:pt>
                <c:pt idx="169">
                  <c:v>119.05988798365547</c:v>
                </c:pt>
                <c:pt idx="170">
                  <c:v>119.73998721826078</c:v>
                </c:pt>
                <c:pt idx="171">
                  <c:v>120.11098474746001</c:v>
                </c:pt>
                <c:pt idx="172">
                  <c:v>119.87963023535508</c:v>
                </c:pt>
                <c:pt idx="173">
                  <c:v>121.02734487044651</c:v>
                </c:pt>
                <c:pt idx="174">
                  <c:v>121.29556010688351</c:v>
                </c:pt>
                <c:pt idx="175">
                  <c:v>121.11540803437985</c:v>
                </c:pt>
                <c:pt idx="176">
                  <c:v>121.31166308543133</c:v>
                </c:pt>
                <c:pt idx="177">
                  <c:v>121.2349223282894</c:v>
                </c:pt>
                <c:pt idx="178">
                  <c:v>122.07517071673351</c:v>
                </c:pt>
                <c:pt idx="179">
                  <c:v>121.97993669516558</c:v>
                </c:pt>
                <c:pt idx="180">
                  <c:v>121.75436919097629</c:v>
                </c:pt>
                <c:pt idx="181">
                  <c:v>122.23695532933108</c:v>
                </c:pt>
                <c:pt idx="182">
                  <c:v>122.68670648799069</c:v>
                </c:pt>
                <c:pt idx="183">
                  <c:v>122.82559467796558</c:v>
                </c:pt>
                <c:pt idx="184">
                  <c:v>122.80886267681825</c:v>
                </c:pt>
                <c:pt idx="185">
                  <c:v>122.46013254764219</c:v>
                </c:pt>
                <c:pt idx="186">
                  <c:v>122.37571771478606</c:v>
                </c:pt>
                <c:pt idx="187">
                  <c:v>122.81213359433578</c:v>
                </c:pt>
                <c:pt idx="188">
                  <c:v>122.91894163173494</c:v>
                </c:pt>
                <c:pt idx="189">
                  <c:v>122.88635826107961</c:v>
                </c:pt>
                <c:pt idx="190">
                  <c:v>122.59625303817916</c:v>
                </c:pt>
                <c:pt idx="191">
                  <c:v>122.94347351311639</c:v>
                </c:pt>
                <c:pt idx="192">
                  <c:v>123.38957634069875</c:v>
                </c:pt>
                <c:pt idx="193">
                  <c:v>124.15258075392133</c:v>
                </c:pt>
                <c:pt idx="194">
                  <c:v>124.44910200733692</c:v>
                </c:pt>
                <c:pt idx="195">
                  <c:v>124.78059691728605</c:v>
                </c:pt>
                <c:pt idx="196">
                  <c:v>124.82186079981481</c:v>
                </c:pt>
                <c:pt idx="197">
                  <c:v>124.83620251508395</c:v>
                </c:pt>
                <c:pt idx="198">
                  <c:v>125.89346370036382</c:v>
                </c:pt>
                <c:pt idx="199">
                  <c:v>125.54485937570765</c:v>
                </c:pt>
                <c:pt idx="200">
                  <c:v>126.12192470851093</c:v>
                </c:pt>
                <c:pt idx="201">
                  <c:v>126.1841979458638</c:v>
                </c:pt>
                <c:pt idx="202">
                  <c:v>126.68213223564695</c:v>
                </c:pt>
                <c:pt idx="203">
                  <c:v>125.3147629088018</c:v>
                </c:pt>
                <c:pt idx="204">
                  <c:v>124.42104759939816</c:v>
                </c:pt>
                <c:pt idx="205">
                  <c:v>123.55752537477167</c:v>
                </c:pt>
                <c:pt idx="206">
                  <c:v>124.51011719949075</c:v>
                </c:pt>
                <c:pt idx="207">
                  <c:v>124.43765379602559</c:v>
                </c:pt>
                <c:pt idx="208">
                  <c:v>122.2169524106662</c:v>
                </c:pt>
                <c:pt idx="209">
                  <c:v>121.37972333069982</c:v>
                </c:pt>
                <c:pt idx="210">
                  <c:v>122.41761061991434</c:v>
                </c:pt>
                <c:pt idx="211">
                  <c:v>122.64544260546192</c:v>
                </c:pt>
                <c:pt idx="212">
                  <c:v>122.23305538921403</c:v>
                </c:pt>
                <c:pt idx="213">
                  <c:v>123.92424555029413</c:v>
                </c:pt>
                <c:pt idx="214">
                  <c:v>122.28136432485745</c:v>
                </c:pt>
                <c:pt idx="215">
                  <c:v>119.51467132311132</c:v>
                </c:pt>
                <c:pt idx="216">
                  <c:v>115.48263646016275</c:v>
                </c:pt>
                <c:pt idx="217">
                  <c:v>116.96687818599946</c:v>
                </c:pt>
                <c:pt idx="218">
                  <c:v>117.02814498719309</c:v>
                </c:pt>
                <c:pt idx="219">
                  <c:v>118.72348669743008</c:v>
                </c:pt>
                <c:pt idx="220">
                  <c:v>119.42761459533718</c:v>
                </c:pt>
                <c:pt idx="221">
                  <c:v>119.50284569824024</c:v>
                </c:pt>
                <c:pt idx="222">
                  <c:v>121.15881059374701</c:v>
                </c:pt>
                <c:pt idx="223">
                  <c:v>121.70153129261627</c:v>
                </c:pt>
                <c:pt idx="224">
                  <c:v>123.29434231913083</c:v>
                </c:pt>
                <c:pt idx="225">
                  <c:v>123.91770371525908</c:v>
                </c:pt>
                <c:pt idx="226">
                  <c:v>124.77870984948747</c:v>
                </c:pt>
                <c:pt idx="227">
                  <c:v>124.56748406056732</c:v>
                </c:pt>
                <c:pt idx="228">
                  <c:v>124.95886192199113</c:v>
                </c:pt>
                <c:pt idx="229">
                  <c:v>124.29624951565259</c:v>
                </c:pt>
                <c:pt idx="230">
                  <c:v>125.37992965011246</c:v>
                </c:pt>
                <c:pt idx="231">
                  <c:v>125.08630190065469</c:v>
                </c:pt>
                <c:pt idx="232">
                  <c:v>125.21097417988034</c:v>
                </c:pt>
                <c:pt idx="233">
                  <c:v>124.74474262911318</c:v>
                </c:pt>
                <c:pt idx="234">
                  <c:v>124.89684029367807</c:v>
                </c:pt>
                <c:pt idx="235">
                  <c:v>125.87949939865439</c:v>
                </c:pt>
                <c:pt idx="236">
                  <c:v>125.86729636022362</c:v>
                </c:pt>
                <c:pt idx="237">
                  <c:v>123.86134329034174</c:v>
                </c:pt>
                <c:pt idx="238">
                  <c:v>123.02449162393508</c:v>
                </c:pt>
                <c:pt idx="239">
                  <c:v>122.66355845632822</c:v>
                </c:pt>
                <c:pt idx="240">
                  <c:v>120.97802949864382</c:v>
                </c:pt>
                <c:pt idx="241">
                  <c:v>121.92709879680557</c:v>
                </c:pt>
                <c:pt idx="242">
                  <c:v>122.15254049647496</c:v>
                </c:pt>
                <c:pt idx="243">
                  <c:v>122.89164205091561</c:v>
                </c:pt>
                <c:pt idx="244">
                  <c:v>124.07986574141636</c:v>
                </c:pt>
                <c:pt idx="245">
                  <c:v>124.63617332843533</c:v>
                </c:pt>
                <c:pt idx="246">
                  <c:v>124.77179060089271</c:v>
                </c:pt>
                <c:pt idx="247">
                  <c:v>124.86375370494312</c:v>
                </c:pt>
                <c:pt idx="248">
                  <c:v>124.50697208649314</c:v>
                </c:pt>
                <c:pt idx="249">
                  <c:v>126.48449333487652</c:v>
                </c:pt>
                <c:pt idx="250">
                  <c:v>126.22646826455181</c:v>
                </c:pt>
              </c:numCache>
            </c:numRef>
          </c:val>
          <c:smooth val="0"/>
          <c:extLst>
            <c:ext xmlns:c16="http://schemas.microsoft.com/office/drawing/2014/chart" uri="{C3380CC4-5D6E-409C-BE32-E72D297353CC}">
              <c16:uniqueId val="{00000011-3D12-4B15-8069-2F347FD537FD}"/>
            </c:ext>
          </c:extLst>
        </c:ser>
        <c:ser>
          <c:idx val="18"/>
          <c:order val="18"/>
          <c:spPr>
            <a:ln w="12700" cap="rnd" cmpd="sng" algn="ctr">
              <a:solidFill>
                <a:srgbClr val="8E8D83"/>
              </a:solidFill>
              <a:prstDash val="solid"/>
              <a:round/>
              <a:headEnd type="none" w="med" len="med"/>
              <a:tailEnd type="none" w="med" len="me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AA$7:$AA$257</c:f>
              <c:numCache>
                <c:formatCode>_(* #,##0.00_);_(* \(#,##0.00\);_(* "-"??_);_(@_)</c:formatCode>
                <c:ptCount val="251"/>
                <c:pt idx="0" formatCode="General">
                  <c:v>100</c:v>
                </c:pt>
                <c:pt idx="1">
                  <c:v>98.974153177073347</c:v>
                </c:pt>
                <c:pt idx="2">
                  <c:v>99.751004428350768</c:v>
                </c:pt>
                <c:pt idx="3">
                  <c:v>99.110316797401779</c:v>
                </c:pt>
                <c:pt idx="4">
                  <c:v>99.088011721830497</c:v>
                </c:pt>
                <c:pt idx="5">
                  <c:v>98.794685979066813</c:v>
                </c:pt>
                <c:pt idx="6">
                  <c:v>98.714238384328581</c:v>
                </c:pt>
                <c:pt idx="7">
                  <c:v>99.235841176662717</c:v>
                </c:pt>
                <c:pt idx="8">
                  <c:v>100.39113209924358</c:v>
                </c:pt>
                <c:pt idx="9">
                  <c:v>100.33298958007661</c:v>
                </c:pt>
                <c:pt idx="10">
                  <c:v>100.93923966757036</c:v>
                </c:pt>
                <c:pt idx="11">
                  <c:v>101.51142551831302</c:v>
                </c:pt>
                <c:pt idx="12">
                  <c:v>101.82826958343638</c:v>
                </c:pt>
                <c:pt idx="13">
                  <c:v>101.6818400287446</c:v>
                </c:pt>
                <c:pt idx="14">
                  <c:v>102.08118487547888</c:v>
                </c:pt>
                <c:pt idx="15">
                  <c:v>102.7502438159411</c:v>
                </c:pt>
                <c:pt idx="16">
                  <c:v>102.63965170484504</c:v>
                </c:pt>
                <c:pt idx="17">
                  <c:v>102.130648013775</c:v>
                </c:pt>
                <c:pt idx="18">
                  <c:v>102.17301832469283</c:v>
                </c:pt>
                <c:pt idx="19">
                  <c:v>102.67922221548196</c:v>
                </c:pt>
                <c:pt idx="20">
                  <c:v>102.9402569283391</c:v>
                </c:pt>
                <c:pt idx="21">
                  <c:v>102.57003000452632</c:v>
                </c:pt>
                <c:pt idx="22">
                  <c:v>102.72093923966756</c:v>
                </c:pt>
                <c:pt idx="23">
                  <c:v>102.50078161091174</c:v>
                </c:pt>
                <c:pt idx="24">
                  <c:v>102.63825180470458</c:v>
                </c:pt>
                <c:pt idx="25">
                  <c:v>103.24422191217026</c:v>
                </c:pt>
                <c:pt idx="26">
                  <c:v>103.32261632003583</c:v>
                </c:pt>
                <c:pt idx="27">
                  <c:v>103.40726361519543</c:v>
                </c:pt>
                <c:pt idx="28">
                  <c:v>103.34482806893108</c:v>
                </c:pt>
                <c:pt idx="29">
                  <c:v>104.34594332270963</c:v>
                </c:pt>
                <c:pt idx="30">
                  <c:v>104.54743561625936</c:v>
                </c:pt>
                <c:pt idx="31">
                  <c:v>104.6894788171777</c:v>
                </c:pt>
                <c:pt idx="32">
                  <c:v>104.61995044353503</c:v>
                </c:pt>
                <c:pt idx="33">
                  <c:v>104.41341850947965</c:v>
                </c:pt>
                <c:pt idx="34">
                  <c:v>104.34902310301864</c:v>
                </c:pt>
                <c:pt idx="35">
                  <c:v>103.95387795670574</c:v>
                </c:pt>
                <c:pt idx="36">
                  <c:v>102.40362854116405</c:v>
                </c:pt>
                <c:pt idx="37">
                  <c:v>103.56143928399773</c:v>
                </c:pt>
                <c:pt idx="38">
                  <c:v>103.44422097890352</c:v>
                </c:pt>
                <c:pt idx="39">
                  <c:v>104.03077913775482</c:v>
                </c:pt>
                <c:pt idx="40">
                  <c:v>104.24244403899188</c:v>
                </c:pt>
                <c:pt idx="41">
                  <c:v>104.77552601247777</c:v>
                </c:pt>
                <c:pt idx="42">
                  <c:v>104.61528410973351</c:v>
                </c:pt>
                <c:pt idx="43">
                  <c:v>105.53184539502847</c:v>
                </c:pt>
                <c:pt idx="44">
                  <c:v>106.03422289210036</c:v>
                </c:pt>
                <c:pt idx="45">
                  <c:v>105.99959869529305</c:v>
                </c:pt>
                <c:pt idx="46">
                  <c:v>105.93781643576091</c:v>
                </c:pt>
                <c:pt idx="47">
                  <c:v>105.96982748563934</c:v>
                </c:pt>
                <c:pt idx="48">
                  <c:v>105.58989458751941</c:v>
                </c:pt>
                <c:pt idx="49">
                  <c:v>105.37720309284605</c:v>
                </c:pt>
                <c:pt idx="50">
                  <c:v>105.14453968950212</c:v>
                </c:pt>
                <c:pt idx="51">
                  <c:v>106.35050699716753</c:v>
                </c:pt>
                <c:pt idx="52">
                  <c:v>106.12344319438544</c:v>
                </c:pt>
                <c:pt idx="53">
                  <c:v>106.15498761088374</c:v>
                </c:pt>
                <c:pt idx="54">
                  <c:v>106.26679296876821</c:v>
                </c:pt>
                <c:pt idx="55">
                  <c:v>106.47817788997718</c:v>
                </c:pt>
                <c:pt idx="56">
                  <c:v>105.90916514621955</c:v>
                </c:pt>
                <c:pt idx="57">
                  <c:v>105.97262728592025</c:v>
                </c:pt>
                <c:pt idx="58">
                  <c:v>105.33781923556118</c:v>
                </c:pt>
                <c:pt idx="59">
                  <c:v>105.69152733771656</c:v>
                </c:pt>
                <c:pt idx="60">
                  <c:v>106.41555569036075</c:v>
                </c:pt>
                <c:pt idx="61">
                  <c:v>106.35545331099713</c:v>
                </c:pt>
                <c:pt idx="62">
                  <c:v>106.69432247166367</c:v>
                </c:pt>
                <c:pt idx="63">
                  <c:v>106.9730892529666</c:v>
                </c:pt>
                <c:pt idx="64">
                  <c:v>107.3157848073504</c:v>
                </c:pt>
                <c:pt idx="65">
                  <c:v>108.04933248094967</c:v>
                </c:pt>
                <c:pt idx="66">
                  <c:v>108.13145995585647</c:v>
                </c:pt>
                <c:pt idx="67">
                  <c:v>108.55562969841483</c:v>
                </c:pt>
                <c:pt idx="68">
                  <c:v>108.38400194119484</c:v>
                </c:pt>
                <c:pt idx="69">
                  <c:v>108.32977914242117</c:v>
                </c:pt>
                <c:pt idx="70">
                  <c:v>108.85166191478342</c:v>
                </c:pt>
                <c:pt idx="71">
                  <c:v>109.19379750911101</c:v>
                </c:pt>
                <c:pt idx="72">
                  <c:v>109.56225122607918</c:v>
                </c:pt>
                <c:pt idx="73">
                  <c:v>109.20518336358671</c:v>
                </c:pt>
                <c:pt idx="74">
                  <c:v>109.02207642521498</c:v>
                </c:pt>
                <c:pt idx="75">
                  <c:v>108.55460310497848</c:v>
                </c:pt>
                <c:pt idx="76">
                  <c:v>108.92380343535493</c:v>
                </c:pt>
                <c:pt idx="77">
                  <c:v>109.22300875870852</c:v>
                </c:pt>
                <c:pt idx="78">
                  <c:v>109.61171436437532</c:v>
                </c:pt>
                <c:pt idx="79">
                  <c:v>110.00088660342226</c:v>
                </c:pt>
                <c:pt idx="80">
                  <c:v>110.32995646310562</c:v>
                </c:pt>
                <c:pt idx="81">
                  <c:v>110.54302126448312</c:v>
                </c:pt>
                <c:pt idx="82">
                  <c:v>110.96476451346469</c:v>
                </c:pt>
                <c:pt idx="83">
                  <c:v>110.65491994904362</c:v>
                </c:pt>
                <c:pt idx="84">
                  <c:v>111.19892114362506</c:v>
                </c:pt>
                <c:pt idx="85">
                  <c:v>111.01357436502863</c:v>
                </c:pt>
                <c:pt idx="86">
                  <c:v>108.6698615498761</c:v>
                </c:pt>
                <c:pt idx="87">
                  <c:v>109.69720159961922</c:v>
                </c:pt>
                <c:pt idx="88">
                  <c:v>109.37569120069432</c:v>
                </c:pt>
                <c:pt idx="89">
                  <c:v>110.0380306204824</c:v>
                </c:pt>
                <c:pt idx="90">
                  <c:v>109.81274002454488</c:v>
                </c:pt>
                <c:pt idx="91">
                  <c:v>109.78399540832753</c:v>
                </c:pt>
                <c:pt idx="92">
                  <c:v>111.07274347763192</c:v>
                </c:pt>
                <c:pt idx="93">
                  <c:v>111.11530044190181</c:v>
                </c:pt>
                <c:pt idx="94">
                  <c:v>110.65697313591629</c:v>
                </c:pt>
                <c:pt idx="95">
                  <c:v>111.1739095944489</c:v>
                </c:pt>
                <c:pt idx="96">
                  <c:v>111.88645876594134</c:v>
                </c:pt>
                <c:pt idx="97">
                  <c:v>113.09597248729588</c:v>
                </c:pt>
                <c:pt idx="98">
                  <c:v>113.13983602503019</c:v>
                </c:pt>
                <c:pt idx="99">
                  <c:v>113.20740453847624</c:v>
                </c:pt>
                <c:pt idx="100">
                  <c:v>112.44884531570081</c:v>
                </c:pt>
                <c:pt idx="101">
                  <c:v>112.60526082472782</c:v>
                </c:pt>
                <c:pt idx="102">
                  <c:v>112.84165729511295</c:v>
                </c:pt>
                <c:pt idx="103">
                  <c:v>111.68011348523802</c:v>
                </c:pt>
                <c:pt idx="104">
                  <c:v>111.87283307124089</c:v>
                </c:pt>
                <c:pt idx="105">
                  <c:v>111.09803500683617</c:v>
                </c:pt>
                <c:pt idx="106">
                  <c:v>110.97288393427934</c:v>
                </c:pt>
                <c:pt idx="107">
                  <c:v>112.51697378920302</c:v>
                </c:pt>
                <c:pt idx="108">
                  <c:v>112.91445210241669</c:v>
                </c:pt>
                <c:pt idx="109">
                  <c:v>113.23082953415988</c:v>
                </c:pt>
                <c:pt idx="110">
                  <c:v>111.83671564761713</c:v>
                </c:pt>
                <c:pt idx="111">
                  <c:v>111.36681583380383</c:v>
                </c:pt>
                <c:pt idx="112">
                  <c:v>110.56709954689899</c:v>
                </c:pt>
                <c:pt idx="113">
                  <c:v>109.30653613375578</c:v>
                </c:pt>
                <c:pt idx="114">
                  <c:v>109.56262453278332</c:v>
                </c:pt>
                <c:pt idx="115">
                  <c:v>108.65250278813446</c:v>
                </c:pt>
                <c:pt idx="116">
                  <c:v>108.97793290745258</c:v>
                </c:pt>
                <c:pt idx="117">
                  <c:v>110.22897699964066</c:v>
                </c:pt>
                <c:pt idx="118">
                  <c:v>111.1324725502914</c:v>
                </c:pt>
                <c:pt idx="119">
                  <c:v>112.06825913084866</c:v>
                </c:pt>
                <c:pt idx="120">
                  <c:v>112.09495056019337</c:v>
                </c:pt>
                <c:pt idx="121">
                  <c:v>112.54814489899721</c:v>
                </c:pt>
                <c:pt idx="122">
                  <c:v>112.05724658307707</c:v>
                </c:pt>
                <c:pt idx="123">
                  <c:v>112.34851913896806</c:v>
                </c:pt>
                <c:pt idx="124">
                  <c:v>112.57427636828572</c:v>
                </c:pt>
                <c:pt idx="125">
                  <c:v>112.92565130354033</c:v>
                </c:pt>
                <c:pt idx="126">
                  <c:v>113.04109640178999</c:v>
                </c:pt>
                <c:pt idx="127">
                  <c:v>112.80339335794045</c:v>
                </c:pt>
                <c:pt idx="128">
                  <c:v>112.64959099584229</c:v>
                </c:pt>
                <c:pt idx="129">
                  <c:v>113.20245822464663</c:v>
                </c:pt>
                <c:pt idx="130">
                  <c:v>113.36055361384221</c:v>
                </c:pt>
                <c:pt idx="131">
                  <c:v>112.73190512410113</c:v>
                </c:pt>
                <c:pt idx="132">
                  <c:v>112.55075804592605</c:v>
                </c:pt>
                <c:pt idx="133">
                  <c:v>112.00741013807681</c:v>
                </c:pt>
                <c:pt idx="134">
                  <c:v>111.18492214222051</c:v>
                </c:pt>
                <c:pt idx="135">
                  <c:v>111.88337898563235</c:v>
                </c:pt>
                <c:pt idx="136">
                  <c:v>112.77250222817439</c:v>
                </c:pt>
                <c:pt idx="137">
                  <c:v>113.4491206293951</c:v>
                </c:pt>
                <c:pt idx="138">
                  <c:v>113.89587542755284</c:v>
                </c:pt>
                <c:pt idx="139">
                  <c:v>114.07702250572791</c:v>
                </c:pt>
                <c:pt idx="140">
                  <c:v>114.08346204637402</c:v>
                </c:pt>
                <c:pt idx="141">
                  <c:v>114.10772698214193</c:v>
                </c:pt>
                <c:pt idx="142">
                  <c:v>113.87581019220627</c:v>
                </c:pt>
                <c:pt idx="143">
                  <c:v>113.84781218939715</c:v>
                </c:pt>
                <c:pt idx="144">
                  <c:v>113.28757215318642</c:v>
                </c:pt>
                <c:pt idx="145">
                  <c:v>113.30045123447859</c:v>
                </c:pt>
                <c:pt idx="146">
                  <c:v>113.81365462597</c:v>
                </c:pt>
                <c:pt idx="147">
                  <c:v>114.80683711228599</c:v>
                </c:pt>
                <c:pt idx="148">
                  <c:v>115.61523278006169</c:v>
                </c:pt>
                <c:pt idx="149">
                  <c:v>115.22914032132373</c:v>
                </c:pt>
                <c:pt idx="150">
                  <c:v>115.08784373381364</c:v>
                </c:pt>
                <c:pt idx="151">
                  <c:v>115.79012697094271</c:v>
                </c:pt>
                <c:pt idx="152">
                  <c:v>116.09866496189936</c:v>
                </c:pt>
                <c:pt idx="153">
                  <c:v>116.18769861083243</c:v>
                </c:pt>
                <c:pt idx="154">
                  <c:v>115.97099406908973</c:v>
                </c:pt>
                <c:pt idx="155">
                  <c:v>116.26040009146014</c:v>
                </c:pt>
                <c:pt idx="156">
                  <c:v>116.27561233965309</c:v>
                </c:pt>
                <c:pt idx="157">
                  <c:v>116.06077433143101</c:v>
                </c:pt>
                <c:pt idx="158">
                  <c:v>114.25966281071949</c:v>
                </c:pt>
                <c:pt idx="159">
                  <c:v>115.00384972538625</c:v>
                </c:pt>
                <c:pt idx="160">
                  <c:v>115.74747667999681</c:v>
                </c:pt>
                <c:pt idx="161">
                  <c:v>115.81635176690727</c:v>
                </c:pt>
                <c:pt idx="162">
                  <c:v>116.08970560100045</c:v>
                </c:pt>
                <c:pt idx="163">
                  <c:v>116.71424771699617</c:v>
                </c:pt>
                <c:pt idx="164">
                  <c:v>116.72246046448684</c:v>
                </c:pt>
                <c:pt idx="165">
                  <c:v>116.56576497543173</c:v>
                </c:pt>
                <c:pt idx="166">
                  <c:v>116.04509544985791</c:v>
                </c:pt>
                <c:pt idx="167">
                  <c:v>116.31256970336115</c:v>
                </c:pt>
                <c:pt idx="168">
                  <c:v>116.16586016864127</c:v>
                </c:pt>
                <c:pt idx="169">
                  <c:v>115.83567038884557</c:v>
                </c:pt>
                <c:pt idx="170">
                  <c:v>114.52657710416653</c:v>
                </c:pt>
                <c:pt idx="171">
                  <c:v>116.17500618289228</c:v>
                </c:pt>
                <c:pt idx="172">
                  <c:v>117.15577622129621</c:v>
                </c:pt>
                <c:pt idx="173">
                  <c:v>117.15250978763514</c:v>
                </c:pt>
                <c:pt idx="174">
                  <c:v>117.30005926243928</c:v>
                </c:pt>
                <c:pt idx="175">
                  <c:v>116.0276433614402</c:v>
                </c:pt>
                <c:pt idx="176">
                  <c:v>115.88970653426721</c:v>
                </c:pt>
                <c:pt idx="177">
                  <c:v>115.86898801218844</c:v>
                </c:pt>
                <c:pt idx="178">
                  <c:v>115.98704625736696</c:v>
                </c:pt>
              </c:numCache>
            </c:numRef>
          </c:val>
          <c:smooth val="0"/>
          <c:extLst>
            <c:ext xmlns:c16="http://schemas.microsoft.com/office/drawing/2014/chart" uri="{C3380CC4-5D6E-409C-BE32-E72D297353CC}">
              <c16:uniqueId val="{00000012-3D12-4B15-8069-2F347FD537FD}"/>
            </c:ext>
          </c:extLst>
        </c:ser>
        <c:ser>
          <c:idx val="19"/>
          <c:order val="19"/>
          <c:tx>
            <c:strRef>
              <c:f>acwi!$AC$6</c:f>
              <c:strCache>
                <c:ptCount val="1"/>
                <c:pt idx="0">
                  <c:v>Average price returns following geopolitical events</c:v>
                </c:pt>
              </c:strCache>
            </c:strRef>
          </c:tx>
          <c:spPr>
            <a:ln w="28575" cap="rnd">
              <a:solidFill>
                <a:srgbClr val="C00000"/>
              </a:solidFill>
              <a:round/>
            </a:ln>
            <a:effectLst/>
          </c:spPr>
          <c:marker>
            <c:symbol val="none"/>
          </c:marker>
          <c:cat>
            <c:numRef>
              <c:f>acwi!$Q$7:$Q$257</c:f>
              <c:numCache>
                <c:formatCode>General</c:formatCode>
                <c:ptCount val="25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numCache>
            </c:numRef>
          </c:cat>
          <c:val>
            <c:numRef>
              <c:f>acwi!$AC$7:$AC$257</c:f>
              <c:numCache>
                <c:formatCode>General</c:formatCode>
                <c:ptCount val="251"/>
                <c:pt idx="0">
                  <c:v>100</c:v>
                </c:pt>
                <c:pt idx="1">
                  <c:v>99.565524748380895</c:v>
                </c:pt>
                <c:pt idx="2">
                  <c:v>99.986186643416431</c:v>
                </c:pt>
                <c:pt idx="3">
                  <c:v>99.384545702283305</c:v>
                </c:pt>
                <c:pt idx="4">
                  <c:v>99.144570778170788</c:v>
                </c:pt>
                <c:pt idx="5">
                  <c:v>98.967199518712164</c:v>
                </c:pt>
                <c:pt idx="6">
                  <c:v>98.812246214947905</c:v>
                </c:pt>
                <c:pt idx="7">
                  <c:v>98.58156022309835</c:v>
                </c:pt>
                <c:pt idx="8">
                  <c:v>97.556909431473514</c:v>
                </c:pt>
                <c:pt idx="9">
                  <c:v>97.471158479273456</c:v>
                </c:pt>
                <c:pt idx="10">
                  <c:v>98.423296515931824</c:v>
                </c:pt>
                <c:pt idx="11">
                  <c:v>98.471337245167661</c:v>
                </c:pt>
                <c:pt idx="12">
                  <c:v>98.381663853100889</c:v>
                </c:pt>
                <c:pt idx="13">
                  <c:v>98.211117019006153</c:v>
                </c:pt>
                <c:pt idx="14">
                  <c:v>98.268287973086757</c:v>
                </c:pt>
                <c:pt idx="15">
                  <c:v>98.279523724773185</c:v>
                </c:pt>
                <c:pt idx="16">
                  <c:v>98.111218369168938</c:v>
                </c:pt>
                <c:pt idx="17">
                  <c:v>98.084725501514384</c:v>
                </c:pt>
                <c:pt idx="18">
                  <c:v>98.89265151064437</c:v>
                </c:pt>
                <c:pt idx="19">
                  <c:v>99.519855041631189</c:v>
                </c:pt>
                <c:pt idx="20">
                  <c:v>99.427693049794399</c:v>
                </c:pt>
                <c:pt idx="21">
                  <c:v>99.53284354233719</c:v>
                </c:pt>
                <c:pt idx="22">
                  <c:v>99.938879156078514</c:v>
                </c:pt>
                <c:pt idx="23">
                  <c:v>100.19744453534574</c:v>
                </c:pt>
                <c:pt idx="24">
                  <c:v>100.51167664274</c:v>
                </c:pt>
                <c:pt idx="25">
                  <c:v>100.54349001105774</c:v>
                </c:pt>
                <c:pt idx="26">
                  <c:v>100.31743624695277</c:v>
                </c:pt>
                <c:pt idx="27">
                  <c:v>100.51232283126743</c:v>
                </c:pt>
                <c:pt idx="28">
                  <c:v>100.92249177901837</c:v>
                </c:pt>
                <c:pt idx="29">
                  <c:v>100.88619649479247</c:v>
                </c:pt>
                <c:pt idx="30">
                  <c:v>101.07150922260452</c:v>
                </c:pt>
                <c:pt idx="31">
                  <c:v>101.23945718302994</c:v>
                </c:pt>
                <c:pt idx="32">
                  <c:v>101.24951804836681</c:v>
                </c:pt>
                <c:pt idx="33">
                  <c:v>100.97169800562919</c:v>
                </c:pt>
                <c:pt idx="34">
                  <c:v>101.08293914097592</c:v>
                </c:pt>
                <c:pt idx="35">
                  <c:v>100.93612926280174</c:v>
                </c:pt>
                <c:pt idx="36">
                  <c:v>100.09342017011507</c:v>
                </c:pt>
                <c:pt idx="37">
                  <c:v>99.957543910894785</c:v>
                </c:pt>
                <c:pt idx="38">
                  <c:v>99.854532857974306</c:v>
                </c:pt>
                <c:pt idx="39">
                  <c:v>99.960927724030782</c:v>
                </c:pt>
                <c:pt idx="40">
                  <c:v>99.896352243368455</c:v>
                </c:pt>
                <c:pt idx="41">
                  <c:v>99.795146237998509</c:v>
                </c:pt>
                <c:pt idx="42">
                  <c:v>99.740000114184269</c:v>
                </c:pt>
                <c:pt idx="43">
                  <c:v>99.557294574053799</c:v>
                </c:pt>
                <c:pt idx="44">
                  <c:v>100.03574951411042</c:v>
                </c:pt>
                <c:pt idx="45">
                  <c:v>99.789576549143689</c:v>
                </c:pt>
                <c:pt idx="46">
                  <c:v>100.07565540838311</c:v>
                </c:pt>
                <c:pt idx="47">
                  <c:v>99.251369936469615</c:v>
                </c:pt>
                <c:pt idx="48">
                  <c:v>99.803672658908241</c:v>
                </c:pt>
                <c:pt idx="49">
                  <c:v>99.577164038602604</c:v>
                </c:pt>
                <c:pt idx="50">
                  <c:v>99.1216517750469</c:v>
                </c:pt>
                <c:pt idx="51">
                  <c:v>99.303074344195664</c:v>
                </c:pt>
                <c:pt idx="52">
                  <c:v>98.710007966186225</c:v>
                </c:pt>
                <c:pt idx="53">
                  <c:v>98.871465349824177</c:v>
                </c:pt>
                <c:pt idx="54">
                  <c:v>98.589115493172272</c:v>
                </c:pt>
                <c:pt idx="55">
                  <c:v>98.746746093400347</c:v>
                </c:pt>
                <c:pt idx="56">
                  <c:v>98.561822046827416</c:v>
                </c:pt>
                <c:pt idx="57">
                  <c:v>98.550141565559201</c:v>
                </c:pt>
                <c:pt idx="58">
                  <c:v>99.182184058726804</c:v>
                </c:pt>
                <c:pt idx="59">
                  <c:v>99.764857113198744</c:v>
                </c:pt>
                <c:pt idx="60">
                  <c:v>99.878919715652358</c:v>
                </c:pt>
                <c:pt idx="61">
                  <c:v>99.644619364643489</c:v>
                </c:pt>
                <c:pt idx="62">
                  <c:v>99.885268406736103</c:v>
                </c:pt>
                <c:pt idx="63">
                  <c:v>100.08535616057</c:v>
                </c:pt>
                <c:pt idx="64">
                  <c:v>99.729492052337278</c:v>
                </c:pt>
                <c:pt idx="65">
                  <c:v>99.843020439865725</c:v>
                </c:pt>
                <c:pt idx="66">
                  <c:v>99.877762544655724</c:v>
                </c:pt>
                <c:pt idx="67">
                  <c:v>100.64783392269479</c:v>
                </c:pt>
                <c:pt idx="68">
                  <c:v>100.53547618638299</c:v>
                </c:pt>
                <c:pt idx="69">
                  <c:v>100.68184046457179</c:v>
                </c:pt>
                <c:pt idx="70">
                  <c:v>100.82668967640474</c:v>
                </c:pt>
                <c:pt idx="71">
                  <c:v>101.11857997078053</c:v>
                </c:pt>
                <c:pt idx="72">
                  <c:v>100.96809929656534</c:v>
                </c:pt>
                <c:pt idx="73">
                  <c:v>101.068457983107</c:v>
                </c:pt>
                <c:pt idx="74">
                  <c:v>101.26251753852956</c:v>
                </c:pt>
                <c:pt idx="75">
                  <c:v>101.47097353427486</c:v>
                </c:pt>
                <c:pt idx="76">
                  <c:v>101.44165437095475</c:v>
                </c:pt>
                <c:pt idx="77">
                  <c:v>101.18952598934878</c:v>
                </c:pt>
                <c:pt idx="78">
                  <c:v>101.17530673237107</c:v>
                </c:pt>
                <c:pt idx="79">
                  <c:v>101.5234737168619</c:v>
                </c:pt>
                <c:pt idx="80">
                  <c:v>101.44734695002604</c:v>
                </c:pt>
                <c:pt idx="81">
                  <c:v>101.201403531186</c:v>
                </c:pt>
                <c:pt idx="82">
                  <c:v>101.4732890190829</c:v>
                </c:pt>
                <c:pt idx="83">
                  <c:v>101.62642066492683</c:v>
                </c:pt>
                <c:pt idx="84">
                  <c:v>102.24180501454585</c:v>
                </c:pt>
                <c:pt idx="85">
                  <c:v>102.02699842969282</c:v>
                </c:pt>
                <c:pt idx="86">
                  <c:v>101.49292210849175</c:v>
                </c:pt>
                <c:pt idx="87">
                  <c:v>101.96222525817592</c:v>
                </c:pt>
                <c:pt idx="88">
                  <c:v>101.99539255863587</c:v>
                </c:pt>
                <c:pt idx="89">
                  <c:v>101.88290508349212</c:v>
                </c:pt>
                <c:pt idx="90">
                  <c:v>101.86326431018691</c:v>
                </c:pt>
                <c:pt idx="91">
                  <c:v>101.99790243495315</c:v>
                </c:pt>
                <c:pt idx="92">
                  <c:v>102.19638790607512</c:v>
                </c:pt>
                <c:pt idx="93">
                  <c:v>102.36792766808324</c:v>
                </c:pt>
                <c:pt idx="94">
                  <c:v>102.18799539270849</c:v>
                </c:pt>
                <c:pt idx="95">
                  <c:v>102.14739121501017</c:v>
                </c:pt>
                <c:pt idx="96">
                  <c:v>102.30110376562222</c:v>
                </c:pt>
                <c:pt idx="97">
                  <c:v>102.5867829390385</c:v>
                </c:pt>
                <c:pt idx="98">
                  <c:v>102.493313809451</c:v>
                </c:pt>
                <c:pt idx="99">
                  <c:v>102.55709546429277</c:v>
                </c:pt>
                <c:pt idx="100">
                  <c:v>102.29703340730086</c:v>
                </c:pt>
                <c:pt idx="101">
                  <c:v>101.96198565884707</c:v>
                </c:pt>
                <c:pt idx="102">
                  <c:v>102.36087812204343</c:v>
                </c:pt>
                <c:pt idx="103">
                  <c:v>102.63346007135578</c:v>
                </c:pt>
                <c:pt idx="104">
                  <c:v>103.11148222254542</c:v>
                </c:pt>
                <c:pt idx="105">
                  <c:v>103.03614741981323</c:v>
                </c:pt>
                <c:pt idx="106">
                  <c:v>103.07577354277987</c:v>
                </c:pt>
                <c:pt idx="107">
                  <c:v>103.15968310875421</c:v>
                </c:pt>
                <c:pt idx="108">
                  <c:v>103.46718134744432</c:v>
                </c:pt>
                <c:pt idx="109">
                  <c:v>103.86574136529821</c:v>
                </c:pt>
                <c:pt idx="110">
                  <c:v>103.89830441835663</c:v>
                </c:pt>
                <c:pt idx="111">
                  <c:v>104.12462581873282</c:v>
                </c:pt>
                <c:pt idx="112">
                  <c:v>104.39387152630214</c:v>
                </c:pt>
                <c:pt idx="113">
                  <c:v>104.19966950114467</c:v>
                </c:pt>
                <c:pt idx="114">
                  <c:v>103.86278025003041</c:v>
                </c:pt>
                <c:pt idx="115">
                  <c:v>103.27748099403857</c:v>
                </c:pt>
                <c:pt idx="116">
                  <c:v>102.85591931010825</c:v>
                </c:pt>
                <c:pt idx="117">
                  <c:v>102.83790140774742</c:v>
                </c:pt>
                <c:pt idx="118">
                  <c:v>103.20436430127945</c:v>
                </c:pt>
                <c:pt idx="119">
                  <c:v>103.03053332302738</c:v>
                </c:pt>
                <c:pt idx="120">
                  <c:v>103.09729595393404</c:v>
                </c:pt>
                <c:pt idx="121">
                  <c:v>103.68676313453338</c:v>
                </c:pt>
                <c:pt idx="122">
                  <c:v>103.72896261277735</c:v>
                </c:pt>
                <c:pt idx="123">
                  <c:v>104.24714064795319</c:v>
                </c:pt>
                <c:pt idx="124">
                  <c:v>103.98329337238178</c:v>
                </c:pt>
                <c:pt idx="125">
                  <c:v>103.96216127662676</c:v>
                </c:pt>
                <c:pt idx="126">
                  <c:v>103.27125211236994</c:v>
                </c:pt>
                <c:pt idx="127">
                  <c:v>103.63455678128553</c:v>
                </c:pt>
                <c:pt idx="128">
                  <c:v>103.34985189346347</c:v>
                </c:pt>
                <c:pt idx="129">
                  <c:v>102.7788350077406</c:v>
                </c:pt>
                <c:pt idx="130">
                  <c:v>103.54301368667575</c:v>
                </c:pt>
                <c:pt idx="131">
                  <c:v>102.96199099121188</c:v>
                </c:pt>
                <c:pt idx="132">
                  <c:v>103.01441141239684</c:v>
                </c:pt>
                <c:pt idx="133">
                  <c:v>102.34513491689941</c:v>
                </c:pt>
                <c:pt idx="134">
                  <c:v>102.62247857507172</c:v>
                </c:pt>
                <c:pt idx="135">
                  <c:v>102.33449691701459</c:v>
                </c:pt>
                <c:pt idx="136">
                  <c:v>102.04484363128861</c:v>
                </c:pt>
                <c:pt idx="137">
                  <c:v>102.48034064397814</c:v>
                </c:pt>
                <c:pt idx="138">
                  <c:v>102.9022110137291</c:v>
                </c:pt>
                <c:pt idx="139">
                  <c:v>103.27111601232414</c:v>
                </c:pt>
                <c:pt idx="140">
                  <c:v>103.1504635580915</c:v>
                </c:pt>
                <c:pt idx="141">
                  <c:v>103.66068030058895</c:v>
                </c:pt>
                <c:pt idx="142">
                  <c:v>104.1705240256475</c:v>
                </c:pt>
                <c:pt idx="143">
                  <c:v>104.23883755713703</c:v>
                </c:pt>
                <c:pt idx="144">
                  <c:v>103.8986587825257</c:v>
                </c:pt>
                <c:pt idx="145">
                  <c:v>103.7093075546223</c:v>
                </c:pt>
                <c:pt idx="146">
                  <c:v>104.16428864064497</c:v>
                </c:pt>
                <c:pt idx="147">
                  <c:v>104.09731581969564</c:v>
                </c:pt>
                <c:pt idx="148">
                  <c:v>104.51266841634531</c:v>
                </c:pt>
                <c:pt idx="149">
                  <c:v>104.66180460463356</c:v>
                </c:pt>
                <c:pt idx="150">
                  <c:v>104.58620006383599</c:v>
                </c:pt>
                <c:pt idx="151">
                  <c:v>104.71187362320264</c:v>
                </c:pt>
                <c:pt idx="152">
                  <c:v>104.92440240498641</c:v>
                </c:pt>
                <c:pt idx="153">
                  <c:v>104.48252172466216</c:v>
                </c:pt>
                <c:pt idx="154">
                  <c:v>104.68158429826369</c:v>
                </c:pt>
                <c:pt idx="155">
                  <c:v>105.00278085542831</c:v>
                </c:pt>
                <c:pt idx="156">
                  <c:v>104.71475006385224</c:v>
                </c:pt>
                <c:pt idx="157">
                  <c:v>104.46628213546869</c:v>
                </c:pt>
                <c:pt idx="158">
                  <c:v>104.64016805263853</c:v>
                </c:pt>
                <c:pt idx="159">
                  <c:v>105.14686754758164</c:v>
                </c:pt>
                <c:pt idx="160">
                  <c:v>105.16521630313184</c:v>
                </c:pt>
                <c:pt idx="161">
                  <c:v>105.17961719570557</c:v>
                </c:pt>
                <c:pt idx="162">
                  <c:v>105.17662568016547</c:v>
                </c:pt>
                <c:pt idx="163">
                  <c:v>105.52226358052739</c:v>
                </c:pt>
                <c:pt idx="164">
                  <c:v>104.94239183285313</c:v>
                </c:pt>
                <c:pt idx="165">
                  <c:v>104.58235813372646</c:v>
                </c:pt>
                <c:pt idx="166">
                  <c:v>104.65898761780416</c:v>
                </c:pt>
                <c:pt idx="167">
                  <c:v>104.64676003410793</c:v>
                </c:pt>
                <c:pt idx="168">
                  <c:v>104.58882279612158</c:v>
                </c:pt>
                <c:pt idx="169">
                  <c:v>104.65867210869109</c:v>
                </c:pt>
                <c:pt idx="170">
                  <c:v>104.54606621565367</c:v>
                </c:pt>
                <c:pt idx="171">
                  <c:v>104.66714563192863</c:v>
                </c:pt>
                <c:pt idx="172">
                  <c:v>105.08302773642932</c:v>
                </c:pt>
                <c:pt idx="173">
                  <c:v>104.92694567654</c:v>
                </c:pt>
                <c:pt idx="174">
                  <c:v>105.27488636238192</c:v>
                </c:pt>
                <c:pt idx="175">
                  <c:v>105.12470054987311</c:v>
                </c:pt>
                <c:pt idx="176">
                  <c:v>105.51519087729301</c:v>
                </c:pt>
                <c:pt idx="177">
                  <c:v>105.7053972588033</c:v>
                </c:pt>
                <c:pt idx="178">
                  <c:v>105.89893481065955</c:v>
                </c:pt>
                <c:pt idx="179">
                  <c:v>104.95170583945416</c:v>
                </c:pt>
                <c:pt idx="180">
                  <c:v>104.49872785439339</c:v>
                </c:pt>
                <c:pt idx="181">
                  <c:v>104.62395392159175</c:v>
                </c:pt>
                <c:pt idx="182">
                  <c:v>105.39082685260803</c:v>
                </c:pt>
                <c:pt idx="183">
                  <c:v>105.89320860540637</c:v>
                </c:pt>
                <c:pt idx="184">
                  <c:v>105.88439586591898</c:v>
                </c:pt>
                <c:pt idx="185">
                  <c:v>105.79314598047372</c:v>
                </c:pt>
                <c:pt idx="186">
                  <c:v>106.09125107044821</c:v>
                </c:pt>
                <c:pt idx="187">
                  <c:v>106.00433137569961</c:v>
                </c:pt>
                <c:pt idx="188">
                  <c:v>106.03951462077691</c:v>
                </c:pt>
                <c:pt idx="189">
                  <c:v>106.01468279953501</c:v>
                </c:pt>
                <c:pt idx="190">
                  <c:v>105.86180482069933</c:v>
                </c:pt>
                <c:pt idx="191">
                  <c:v>106.03309684357224</c:v>
                </c:pt>
                <c:pt idx="192">
                  <c:v>106.31136117768744</c:v>
                </c:pt>
                <c:pt idx="193">
                  <c:v>106.15324338063513</c:v>
                </c:pt>
                <c:pt idx="194">
                  <c:v>105.88894226079027</c:v>
                </c:pt>
                <c:pt idx="195">
                  <c:v>106.32144307343331</c:v>
                </c:pt>
                <c:pt idx="196">
                  <c:v>106.46051670367333</c:v>
                </c:pt>
                <c:pt idx="197">
                  <c:v>106.99055373055452</c:v>
                </c:pt>
                <c:pt idx="198">
                  <c:v>106.88002925555826</c:v>
                </c:pt>
                <c:pt idx="199">
                  <c:v>106.85479580641091</c:v>
                </c:pt>
                <c:pt idx="200">
                  <c:v>107.48798011593695</c:v>
                </c:pt>
                <c:pt idx="201">
                  <c:v>107.7253077039241</c:v>
                </c:pt>
                <c:pt idx="202">
                  <c:v>107.71174518877608</c:v>
                </c:pt>
                <c:pt idx="203">
                  <c:v>107.02342872998344</c:v>
                </c:pt>
                <c:pt idx="204">
                  <c:v>106.77541209125688</c:v>
                </c:pt>
                <c:pt idx="205">
                  <c:v>106.36338488648137</c:v>
                </c:pt>
                <c:pt idx="206">
                  <c:v>106.6538323175559</c:v>
                </c:pt>
                <c:pt idx="207">
                  <c:v>106.67251888330276</c:v>
                </c:pt>
                <c:pt idx="208">
                  <c:v>106.79475596979178</c:v>
                </c:pt>
                <c:pt idx="209">
                  <c:v>106.89943258781312</c:v>
                </c:pt>
                <c:pt idx="210">
                  <c:v>106.70267075959312</c:v>
                </c:pt>
                <c:pt idx="211">
                  <c:v>106.75141934219647</c:v>
                </c:pt>
                <c:pt idx="212">
                  <c:v>106.02059517305737</c:v>
                </c:pt>
                <c:pt idx="213">
                  <c:v>105.96313993197279</c:v>
                </c:pt>
                <c:pt idx="214">
                  <c:v>105.6933472704262</c:v>
                </c:pt>
                <c:pt idx="215">
                  <c:v>105.82093933318544</c:v>
                </c:pt>
                <c:pt idx="216">
                  <c:v>105.10242374598776</c:v>
                </c:pt>
                <c:pt idx="217">
                  <c:v>105.1268166524965</c:v>
                </c:pt>
                <c:pt idx="218">
                  <c:v>105.39341462678564</c:v>
                </c:pt>
                <c:pt idx="219">
                  <c:v>105.67562738463255</c:v>
                </c:pt>
                <c:pt idx="220">
                  <c:v>105.47671807211543</c:v>
                </c:pt>
                <c:pt idx="221">
                  <c:v>105.54343724111604</c:v>
                </c:pt>
                <c:pt idx="222">
                  <c:v>106.10981133979841</c:v>
                </c:pt>
                <c:pt idx="223">
                  <c:v>106.15777530329423</c:v>
                </c:pt>
                <c:pt idx="224">
                  <c:v>106.0358255072078</c:v>
                </c:pt>
                <c:pt idx="225">
                  <c:v>105.58898769585014</c:v>
                </c:pt>
                <c:pt idx="226">
                  <c:v>105.62797819240511</c:v>
                </c:pt>
                <c:pt idx="227">
                  <c:v>106.10613286702242</c:v>
                </c:pt>
                <c:pt idx="228">
                  <c:v>106.05952680496495</c:v>
                </c:pt>
                <c:pt idx="229">
                  <c:v>105.75905969050748</c:v>
                </c:pt>
                <c:pt idx="230">
                  <c:v>106.23781161880721</c:v>
                </c:pt>
                <c:pt idx="231">
                  <c:v>106.75383614853195</c:v>
                </c:pt>
                <c:pt idx="232">
                  <c:v>107.20469989635932</c:v>
                </c:pt>
                <c:pt idx="233">
                  <c:v>106.86361420461766</c:v>
                </c:pt>
                <c:pt idx="234">
                  <c:v>106.71167284902066</c:v>
                </c:pt>
                <c:pt idx="235">
                  <c:v>106.30890170657823</c:v>
                </c:pt>
                <c:pt idx="236">
                  <c:v>106.39361550247784</c:v>
                </c:pt>
                <c:pt idx="237">
                  <c:v>106.34891882918208</c:v>
                </c:pt>
                <c:pt idx="238">
                  <c:v>107.15587305572795</c:v>
                </c:pt>
                <c:pt idx="239">
                  <c:v>107.36919358342976</c:v>
                </c:pt>
                <c:pt idx="240">
                  <c:v>107.01945457172729</c:v>
                </c:pt>
                <c:pt idx="241">
                  <c:v>107.53466945920866</c:v>
                </c:pt>
                <c:pt idx="242">
                  <c:v>107.73619095531399</c:v>
                </c:pt>
                <c:pt idx="243">
                  <c:v>107.78018271344231</c:v>
                </c:pt>
                <c:pt idx="244">
                  <c:v>107.76370561329094</c:v>
                </c:pt>
                <c:pt idx="245">
                  <c:v>108.16177073670727</c:v>
                </c:pt>
                <c:pt idx="246">
                  <c:v>108.39748752858524</c:v>
                </c:pt>
                <c:pt idx="247">
                  <c:v>108.29558344864601</c:v>
                </c:pt>
                <c:pt idx="248">
                  <c:v>108.8543025003371</c:v>
                </c:pt>
                <c:pt idx="249">
                  <c:v>109.13875928746046</c:v>
                </c:pt>
                <c:pt idx="250">
                  <c:v>111.6108111066816</c:v>
                </c:pt>
              </c:numCache>
            </c:numRef>
          </c:val>
          <c:smooth val="0"/>
          <c:extLst>
            <c:ext xmlns:c16="http://schemas.microsoft.com/office/drawing/2014/chart" uri="{C3380CC4-5D6E-409C-BE32-E72D297353CC}">
              <c16:uniqueId val="{00000013-3D12-4B15-8069-2F347FD537FD}"/>
            </c:ext>
          </c:extLst>
        </c:ser>
        <c:dLbls>
          <c:showLegendKey val="0"/>
          <c:showVal val="0"/>
          <c:showCatName val="0"/>
          <c:showSerName val="0"/>
          <c:showPercent val="0"/>
          <c:showBubbleSize val="0"/>
        </c:dLbls>
        <c:smooth val="0"/>
        <c:axId val="1717376928"/>
        <c:axId val="1717397568"/>
      </c:lineChart>
      <c:catAx>
        <c:axId val="1717376928"/>
        <c:scaling>
          <c:orientation val="minMax"/>
        </c:scaling>
        <c:delete val="0"/>
        <c:axPos val="b"/>
        <c:numFmt formatCode="General" sourceLinked="1"/>
        <c:majorTickMark val="none"/>
        <c:minorTickMark val="none"/>
        <c:tickLblPos val="low"/>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crossAx val="1717397568"/>
        <c:crosses val="autoZero"/>
        <c:auto val="1"/>
        <c:lblAlgn val="ctr"/>
        <c:lblOffset val="100"/>
        <c:tickLblSkip val="20"/>
        <c:noMultiLvlLbl val="0"/>
      </c:catAx>
      <c:valAx>
        <c:axId val="1717397568"/>
        <c:scaling>
          <c:orientation val="minMax"/>
          <c:max val="175"/>
          <c:min val="5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crossAx val="1717376928"/>
        <c:crosses val="autoZero"/>
        <c:crossBetween val="between"/>
        <c:majorUnit val="25"/>
      </c:valAx>
      <c:spPr>
        <a:noFill/>
        <a:ln>
          <a:noFill/>
        </a:ln>
        <a:effectLst/>
      </c:spPr>
    </c:plotArea>
    <c:legend>
      <c:legendPos val="b"/>
      <c:legendEntry>
        <c:idx val="0"/>
        <c:delete val="1"/>
      </c:legendEntry>
      <c:legendEntry>
        <c:idx val="1"/>
        <c:delete val="1"/>
      </c:legendEntry>
      <c:legendEntry>
        <c:idx val="2"/>
        <c:delete val="1"/>
      </c:legendEntry>
      <c:legendEntry>
        <c:idx val="3"/>
        <c:delete val="1"/>
      </c:legendEntry>
      <c:legendEntry>
        <c:idx val="4"/>
        <c:delete val="1"/>
      </c:legendEntry>
      <c:legendEntry>
        <c:idx val="5"/>
        <c:delete val="1"/>
      </c:legendEntry>
      <c:legendEntry>
        <c:idx val="6"/>
        <c:delete val="1"/>
      </c:legendEntry>
      <c:legendEntry>
        <c:idx val="7"/>
        <c:delete val="1"/>
      </c:legendEntry>
      <c:legendEntry>
        <c:idx val="8"/>
        <c:delete val="1"/>
      </c:legendEntry>
      <c:legendEntry>
        <c:idx val="9"/>
        <c:delete val="1"/>
      </c:legendEntry>
      <c:legendEntry>
        <c:idx val="10"/>
        <c:delete val="1"/>
      </c:legendEntry>
      <c:legendEntry>
        <c:idx val="11"/>
        <c:delete val="1"/>
      </c:legendEntry>
      <c:legendEntry>
        <c:idx val="12"/>
        <c:delete val="1"/>
      </c:legendEntry>
      <c:legendEntry>
        <c:idx val="13"/>
        <c:delete val="1"/>
      </c:legendEntry>
      <c:legendEntry>
        <c:idx val="14"/>
        <c:delete val="1"/>
      </c:legendEntry>
      <c:legendEntry>
        <c:idx val="15"/>
        <c:delete val="1"/>
      </c:legendEntry>
      <c:legendEntry>
        <c:idx val="16"/>
        <c:delete val="1"/>
      </c:legendEntry>
      <c:legendEntry>
        <c:idx val="17"/>
        <c:delete val="1"/>
      </c:legendEntry>
      <c:legendEntry>
        <c:idx val="18"/>
        <c:delete val="1"/>
      </c:legendEntry>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Frutiger 45 Light" panose="020B0603020202020204" pitchFamily="34" charset="0"/>
          <a:ea typeface="+mn-ea"/>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DA drug approvals'!$C$4</c:f>
              <c:strCache>
                <c:ptCount val="1"/>
                <c:pt idx="0">
                  <c:v>New Molecular Entity (NME)</c:v>
                </c:pt>
              </c:strCache>
            </c:strRef>
          </c:tx>
          <c:spPr>
            <a:solidFill>
              <a:srgbClr val="CCCCCC"/>
            </a:solidFill>
            <a:ln>
              <a:noFill/>
            </a:ln>
            <a:effectLst/>
          </c:spPr>
          <c:invertIfNegative val="0"/>
          <c:cat>
            <c:numRef>
              <c:f>'FDA drug approvals'!$B$18:$B$37</c:f>
              <c:numCache>
                <c:formatCode>General</c:formatCode>
                <c:ptCount val="20"/>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pt idx="17">
                  <c:v>2023</c:v>
                </c:pt>
                <c:pt idx="18">
                  <c:v>2024</c:v>
                </c:pt>
                <c:pt idx="19">
                  <c:v>2025</c:v>
                </c:pt>
              </c:numCache>
            </c:numRef>
          </c:cat>
          <c:val>
            <c:numRef>
              <c:f>'FDA drug approvals'!$C$18:$C$37</c:f>
              <c:numCache>
                <c:formatCode>General</c:formatCode>
                <c:ptCount val="20"/>
                <c:pt idx="0">
                  <c:v>18</c:v>
                </c:pt>
                <c:pt idx="1">
                  <c:v>16</c:v>
                </c:pt>
                <c:pt idx="2">
                  <c:v>21</c:v>
                </c:pt>
                <c:pt idx="3">
                  <c:v>20</c:v>
                </c:pt>
                <c:pt idx="4">
                  <c:v>15</c:v>
                </c:pt>
                <c:pt idx="5">
                  <c:v>24</c:v>
                </c:pt>
                <c:pt idx="6">
                  <c:v>33</c:v>
                </c:pt>
                <c:pt idx="7">
                  <c:v>25</c:v>
                </c:pt>
                <c:pt idx="8">
                  <c:v>30</c:v>
                </c:pt>
                <c:pt idx="9">
                  <c:v>33</c:v>
                </c:pt>
                <c:pt idx="10">
                  <c:v>15</c:v>
                </c:pt>
                <c:pt idx="11">
                  <c:v>34</c:v>
                </c:pt>
                <c:pt idx="12">
                  <c:v>42</c:v>
                </c:pt>
                <c:pt idx="13">
                  <c:v>38</c:v>
                </c:pt>
                <c:pt idx="14">
                  <c:v>40</c:v>
                </c:pt>
                <c:pt idx="15">
                  <c:v>36</c:v>
                </c:pt>
                <c:pt idx="16">
                  <c:v>22</c:v>
                </c:pt>
                <c:pt idx="17">
                  <c:v>38</c:v>
                </c:pt>
                <c:pt idx="18">
                  <c:v>34</c:v>
                </c:pt>
                <c:pt idx="19">
                  <c:v>34</c:v>
                </c:pt>
              </c:numCache>
            </c:numRef>
          </c:val>
          <c:extLst>
            <c:ext xmlns:c16="http://schemas.microsoft.com/office/drawing/2014/chart" uri="{C3380CC4-5D6E-409C-BE32-E72D297353CC}">
              <c16:uniqueId val="{00000000-C770-4FCE-A6A3-EBA3442474E6}"/>
            </c:ext>
          </c:extLst>
        </c:ser>
        <c:ser>
          <c:idx val="1"/>
          <c:order val="1"/>
          <c:tx>
            <c:strRef>
              <c:f>'FDA drug approvals'!$D$4</c:f>
              <c:strCache>
                <c:ptCount val="1"/>
                <c:pt idx="0">
                  <c:v>Biologics License Application (BLA)</c:v>
                </c:pt>
              </c:strCache>
            </c:strRef>
          </c:tx>
          <c:spPr>
            <a:solidFill>
              <a:srgbClr val="BD000C"/>
            </a:solidFill>
            <a:ln>
              <a:noFill/>
            </a:ln>
            <a:effectLst/>
          </c:spPr>
          <c:invertIfNegative val="0"/>
          <c:cat>
            <c:numRef>
              <c:f>'FDA drug approvals'!$B$18:$B$37</c:f>
              <c:numCache>
                <c:formatCode>General</c:formatCode>
                <c:ptCount val="20"/>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pt idx="17">
                  <c:v>2023</c:v>
                </c:pt>
                <c:pt idx="18">
                  <c:v>2024</c:v>
                </c:pt>
                <c:pt idx="19">
                  <c:v>2025</c:v>
                </c:pt>
              </c:numCache>
            </c:numRef>
          </c:cat>
          <c:val>
            <c:numRef>
              <c:f>'FDA drug approvals'!$D$18:$D$37</c:f>
              <c:numCache>
                <c:formatCode>General</c:formatCode>
                <c:ptCount val="20"/>
                <c:pt idx="0">
                  <c:v>4</c:v>
                </c:pt>
                <c:pt idx="1">
                  <c:v>2</c:v>
                </c:pt>
                <c:pt idx="2">
                  <c:v>3</c:v>
                </c:pt>
                <c:pt idx="3">
                  <c:v>6</c:v>
                </c:pt>
                <c:pt idx="4">
                  <c:v>6</c:v>
                </c:pt>
                <c:pt idx="5">
                  <c:v>6</c:v>
                </c:pt>
                <c:pt idx="6">
                  <c:v>6</c:v>
                </c:pt>
                <c:pt idx="7">
                  <c:v>2</c:v>
                </c:pt>
                <c:pt idx="8">
                  <c:v>11</c:v>
                </c:pt>
                <c:pt idx="9">
                  <c:v>12</c:v>
                </c:pt>
                <c:pt idx="10">
                  <c:v>7</c:v>
                </c:pt>
                <c:pt idx="11">
                  <c:v>12</c:v>
                </c:pt>
                <c:pt idx="12">
                  <c:v>17</c:v>
                </c:pt>
                <c:pt idx="13">
                  <c:v>10</c:v>
                </c:pt>
                <c:pt idx="14">
                  <c:v>13</c:v>
                </c:pt>
                <c:pt idx="15">
                  <c:v>14</c:v>
                </c:pt>
                <c:pt idx="16">
                  <c:v>15</c:v>
                </c:pt>
                <c:pt idx="17">
                  <c:v>17</c:v>
                </c:pt>
                <c:pt idx="18">
                  <c:v>16</c:v>
                </c:pt>
                <c:pt idx="19">
                  <c:v>12</c:v>
                </c:pt>
              </c:numCache>
            </c:numRef>
          </c:val>
          <c:extLst>
            <c:ext xmlns:c16="http://schemas.microsoft.com/office/drawing/2014/chart" uri="{C3380CC4-5D6E-409C-BE32-E72D297353CC}">
              <c16:uniqueId val="{00000001-C770-4FCE-A6A3-EBA3442474E6}"/>
            </c:ext>
          </c:extLst>
        </c:ser>
        <c:dLbls>
          <c:showLegendKey val="0"/>
          <c:showVal val="0"/>
          <c:showCatName val="0"/>
          <c:showSerName val="0"/>
          <c:showPercent val="0"/>
          <c:showBubbleSize val="0"/>
        </c:dLbls>
        <c:gapWidth val="80"/>
        <c:overlap val="100"/>
        <c:axId val="1117023712"/>
        <c:axId val="1117045312"/>
      </c:barChart>
      <c:catAx>
        <c:axId val="111702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17045312"/>
        <c:crosses val="autoZero"/>
        <c:auto val="1"/>
        <c:lblAlgn val="ctr"/>
        <c:lblOffset val="100"/>
        <c:tickLblSkip val="6"/>
        <c:noMultiLvlLbl val="0"/>
      </c:catAx>
      <c:valAx>
        <c:axId val="1117045312"/>
        <c:scaling>
          <c:orientation val="minMax"/>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17023712"/>
        <c:crosses val="autoZero"/>
        <c:crossBetween val="between"/>
      </c:valAx>
      <c:spPr>
        <a:noFill/>
        <a:ln>
          <a:noFill/>
        </a:ln>
        <a:effectLst/>
      </c:spPr>
    </c:plotArea>
    <c:legend>
      <c:legendPos val="b"/>
      <c:layout>
        <c:manualLayout>
          <c:xMode val="edge"/>
          <c:yMode val="edge"/>
          <c:x val="3.7769036679437443E-2"/>
          <c:y val="0.87054686124329694"/>
          <c:w val="0.95918664766544148"/>
          <c:h val="0.1294531387567030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400"/>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2599918912574954E-2"/>
          <c:y val="4.7665199957015091E-2"/>
          <c:w val="0.8492937992125984"/>
          <c:h val="0.78481709317585302"/>
        </c:manualLayout>
      </c:layout>
      <c:lineChart>
        <c:grouping val="standard"/>
        <c:varyColors val="0"/>
        <c:ser>
          <c:idx val="0"/>
          <c:order val="0"/>
          <c:tx>
            <c:strRef>
              <c:f>NTM!$E$3</c:f>
              <c:strCache>
                <c:ptCount val="1"/>
                <c:pt idx="0">
                  <c:v>Relative P/E</c:v>
                </c:pt>
              </c:strCache>
            </c:strRef>
          </c:tx>
          <c:spPr>
            <a:ln w="28575" cap="rnd" cmpd="sng" algn="ctr">
              <a:solidFill>
                <a:srgbClr val="8E8D83"/>
              </a:solidFill>
              <a:prstDash val="solid"/>
              <a:round/>
              <a:headEnd type="none" w="med" len="med"/>
              <a:tailEnd type="none" w="med" len="med"/>
            </a:ln>
            <a:effectLst/>
          </c:spPr>
          <c:marker>
            <c:symbol val="none"/>
          </c:marker>
          <c:cat>
            <c:numRef>
              <c:f>NTM!$B$236:$B$1450</c:f>
              <c:numCache>
                <c:formatCode>m/d/yyyy</c:formatCode>
                <c:ptCount val="1215"/>
                <c:pt idx="0">
                  <c:v>42035</c:v>
                </c:pt>
                <c:pt idx="1">
                  <c:v>42063</c:v>
                </c:pt>
                <c:pt idx="2">
                  <c:v>42094</c:v>
                </c:pt>
                <c:pt idx="3">
                  <c:v>42124</c:v>
                </c:pt>
                <c:pt idx="4">
                  <c:v>42155</c:v>
                </c:pt>
                <c:pt idx="5">
                  <c:v>42185</c:v>
                </c:pt>
                <c:pt idx="6">
                  <c:v>42216</c:v>
                </c:pt>
                <c:pt idx="7">
                  <c:v>42247</c:v>
                </c:pt>
                <c:pt idx="8">
                  <c:v>42277</c:v>
                </c:pt>
                <c:pt idx="9">
                  <c:v>42308</c:v>
                </c:pt>
                <c:pt idx="10">
                  <c:v>42338</c:v>
                </c:pt>
                <c:pt idx="11">
                  <c:v>42369</c:v>
                </c:pt>
                <c:pt idx="12">
                  <c:v>42400</c:v>
                </c:pt>
                <c:pt idx="13">
                  <c:v>42429</c:v>
                </c:pt>
                <c:pt idx="14">
                  <c:v>42460</c:v>
                </c:pt>
                <c:pt idx="15">
                  <c:v>42490</c:v>
                </c:pt>
                <c:pt idx="16">
                  <c:v>42521</c:v>
                </c:pt>
                <c:pt idx="17">
                  <c:v>42551</c:v>
                </c:pt>
                <c:pt idx="18">
                  <c:v>42582</c:v>
                </c:pt>
                <c:pt idx="19">
                  <c:v>42613</c:v>
                </c:pt>
                <c:pt idx="20">
                  <c:v>42643</c:v>
                </c:pt>
                <c:pt idx="21">
                  <c:v>42674</c:v>
                </c:pt>
                <c:pt idx="22">
                  <c:v>42704</c:v>
                </c:pt>
                <c:pt idx="23">
                  <c:v>42735</c:v>
                </c:pt>
                <c:pt idx="24">
                  <c:v>42766</c:v>
                </c:pt>
                <c:pt idx="25">
                  <c:v>42794</c:v>
                </c:pt>
                <c:pt idx="26">
                  <c:v>42825</c:v>
                </c:pt>
                <c:pt idx="27">
                  <c:v>42855</c:v>
                </c:pt>
                <c:pt idx="28">
                  <c:v>42886</c:v>
                </c:pt>
                <c:pt idx="29">
                  <c:v>42916</c:v>
                </c:pt>
                <c:pt idx="30">
                  <c:v>42947</c:v>
                </c:pt>
                <c:pt idx="31">
                  <c:v>42978</c:v>
                </c:pt>
                <c:pt idx="32">
                  <c:v>43008</c:v>
                </c:pt>
                <c:pt idx="33">
                  <c:v>43039</c:v>
                </c:pt>
                <c:pt idx="34">
                  <c:v>43069</c:v>
                </c:pt>
                <c:pt idx="35">
                  <c:v>43100</c:v>
                </c:pt>
                <c:pt idx="36">
                  <c:v>43131</c:v>
                </c:pt>
                <c:pt idx="37">
                  <c:v>43159</c:v>
                </c:pt>
                <c:pt idx="38">
                  <c:v>43190</c:v>
                </c:pt>
                <c:pt idx="39">
                  <c:v>43220</c:v>
                </c:pt>
                <c:pt idx="40">
                  <c:v>43251</c:v>
                </c:pt>
                <c:pt idx="41">
                  <c:v>43281</c:v>
                </c:pt>
                <c:pt idx="42">
                  <c:v>43312</c:v>
                </c:pt>
                <c:pt idx="43">
                  <c:v>43343</c:v>
                </c:pt>
                <c:pt idx="44">
                  <c:v>43373</c:v>
                </c:pt>
                <c:pt idx="45">
                  <c:v>43404</c:v>
                </c:pt>
                <c:pt idx="46">
                  <c:v>43434</c:v>
                </c:pt>
                <c:pt idx="47">
                  <c:v>43465</c:v>
                </c:pt>
                <c:pt idx="48">
                  <c:v>43496</c:v>
                </c:pt>
                <c:pt idx="49">
                  <c:v>43524</c:v>
                </c:pt>
                <c:pt idx="50">
                  <c:v>43555</c:v>
                </c:pt>
                <c:pt idx="51">
                  <c:v>43585</c:v>
                </c:pt>
                <c:pt idx="52">
                  <c:v>43616</c:v>
                </c:pt>
                <c:pt idx="53">
                  <c:v>43646</c:v>
                </c:pt>
                <c:pt idx="54">
                  <c:v>43677</c:v>
                </c:pt>
                <c:pt idx="55">
                  <c:v>43708</c:v>
                </c:pt>
                <c:pt idx="56">
                  <c:v>43738</c:v>
                </c:pt>
                <c:pt idx="57">
                  <c:v>43769</c:v>
                </c:pt>
                <c:pt idx="58">
                  <c:v>43799</c:v>
                </c:pt>
                <c:pt idx="59">
                  <c:v>43830</c:v>
                </c:pt>
                <c:pt idx="60">
                  <c:v>43861</c:v>
                </c:pt>
                <c:pt idx="61">
                  <c:v>43890</c:v>
                </c:pt>
                <c:pt idx="62">
                  <c:v>43921</c:v>
                </c:pt>
                <c:pt idx="63">
                  <c:v>43951</c:v>
                </c:pt>
                <c:pt idx="64">
                  <c:v>43982</c:v>
                </c:pt>
                <c:pt idx="65">
                  <c:v>44012</c:v>
                </c:pt>
                <c:pt idx="66">
                  <c:v>44043</c:v>
                </c:pt>
                <c:pt idx="67">
                  <c:v>44074</c:v>
                </c:pt>
                <c:pt idx="68">
                  <c:v>44104</c:v>
                </c:pt>
                <c:pt idx="69">
                  <c:v>44135</c:v>
                </c:pt>
                <c:pt idx="70">
                  <c:v>44165</c:v>
                </c:pt>
                <c:pt idx="71">
                  <c:v>44196</c:v>
                </c:pt>
                <c:pt idx="72">
                  <c:v>44227</c:v>
                </c:pt>
                <c:pt idx="73">
                  <c:v>44255</c:v>
                </c:pt>
                <c:pt idx="74">
                  <c:v>44286</c:v>
                </c:pt>
                <c:pt idx="75">
                  <c:v>44316</c:v>
                </c:pt>
                <c:pt idx="76">
                  <c:v>44347</c:v>
                </c:pt>
                <c:pt idx="77">
                  <c:v>44377</c:v>
                </c:pt>
                <c:pt idx="78">
                  <c:v>44408</c:v>
                </c:pt>
                <c:pt idx="79">
                  <c:v>44439</c:v>
                </c:pt>
                <c:pt idx="80">
                  <c:v>44469</c:v>
                </c:pt>
                <c:pt idx="81">
                  <c:v>44500</c:v>
                </c:pt>
                <c:pt idx="82">
                  <c:v>44530</c:v>
                </c:pt>
                <c:pt idx="83">
                  <c:v>44561</c:v>
                </c:pt>
                <c:pt idx="84">
                  <c:v>44592</c:v>
                </c:pt>
                <c:pt idx="85">
                  <c:v>44620</c:v>
                </c:pt>
                <c:pt idx="86">
                  <c:v>44651</c:v>
                </c:pt>
                <c:pt idx="87">
                  <c:v>44681</c:v>
                </c:pt>
                <c:pt idx="88">
                  <c:v>44712</c:v>
                </c:pt>
                <c:pt idx="89">
                  <c:v>44742</c:v>
                </c:pt>
                <c:pt idx="90">
                  <c:v>44773</c:v>
                </c:pt>
                <c:pt idx="91">
                  <c:v>44804</c:v>
                </c:pt>
                <c:pt idx="92">
                  <c:v>44834</c:v>
                </c:pt>
                <c:pt idx="93">
                  <c:v>44865</c:v>
                </c:pt>
                <c:pt idx="94">
                  <c:v>44895</c:v>
                </c:pt>
                <c:pt idx="95">
                  <c:v>44926</c:v>
                </c:pt>
                <c:pt idx="96">
                  <c:v>44957</c:v>
                </c:pt>
                <c:pt idx="97">
                  <c:v>44985</c:v>
                </c:pt>
                <c:pt idx="98">
                  <c:v>45016</c:v>
                </c:pt>
                <c:pt idx="99">
                  <c:v>45046</c:v>
                </c:pt>
                <c:pt idx="100">
                  <c:v>45077</c:v>
                </c:pt>
                <c:pt idx="101">
                  <c:v>45107</c:v>
                </c:pt>
                <c:pt idx="102">
                  <c:v>45138</c:v>
                </c:pt>
                <c:pt idx="103">
                  <c:v>45169</c:v>
                </c:pt>
                <c:pt idx="104">
                  <c:v>45199</c:v>
                </c:pt>
                <c:pt idx="105">
                  <c:v>45230</c:v>
                </c:pt>
                <c:pt idx="106">
                  <c:v>45260</c:v>
                </c:pt>
                <c:pt idx="107">
                  <c:v>45291</c:v>
                </c:pt>
                <c:pt idx="108">
                  <c:v>45322</c:v>
                </c:pt>
                <c:pt idx="109">
                  <c:v>45351</c:v>
                </c:pt>
                <c:pt idx="110">
                  <c:v>45382</c:v>
                </c:pt>
                <c:pt idx="111">
                  <c:v>45412</c:v>
                </c:pt>
                <c:pt idx="112">
                  <c:v>45443</c:v>
                </c:pt>
                <c:pt idx="113">
                  <c:v>45473</c:v>
                </c:pt>
                <c:pt idx="114">
                  <c:v>45504</c:v>
                </c:pt>
                <c:pt idx="115">
                  <c:v>45535</c:v>
                </c:pt>
                <c:pt idx="116">
                  <c:v>45565</c:v>
                </c:pt>
                <c:pt idx="117">
                  <c:v>45596</c:v>
                </c:pt>
                <c:pt idx="118">
                  <c:v>45626</c:v>
                </c:pt>
                <c:pt idx="119">
                  <c:v>45657</c:v>
                </c:pt>
                <c:pt idx="120">
                  <c:v>45688</c:v>
                </c:pt>
                <c:pt idx="121">
                  <c:v>45716</c:v>
                </c:pt>
                <c:pt idx="122">
                  <c:v>45747</c:v>
                </c:pt>
                <c:pt idx="123">
                  <c:v>45777</c:v>
                </c:pt>
                <c:pt idx="124">
                  <c:v>45808</c:v>
                </c:pt>
                <c:pt idx="125">
                  <c:v>45838</c:v>
                </c:pt>
                <c:pt idx="126">
                  <c:v>45869</c:v>
                </c:pt>
                <c:pt idx="127">
                  <c:v>45900</c:v>
                </c:pt>
                <c:pt idx="128">
                  <c:v>45930</c:v>
                </c:pt>
                <c:pt idx="129">
                  <c:v>45961</c:v>
                </c:pt>
                <c:pt idx="130">
                  <c:v>45991</c:v>
                </c:pt>
                <c:pt idx="131">
                  <c:v>46022</c:v>
                </c:pt>
                <c:pt idx="132">
                  <c:v>46053</c:v>
                </c:pt>
              </c:numCache>
            </c:numRef>
          </c:cat>
          <c:val>
            <c:numRef>
              <c:f>NTM!$E$236:$E$1450</c:f>
              <c:numCache>
                <c:formatCode>0.00</c:formatCode>
                <c:ptCount val="1215"/>
                <c:pt idx="0">
                  <c:v>1.0597509090465793</c:v>
                </c:pt>
                <c:pt idx="1">
                  <c:v>1.0406927440402398</c:v>
                </c:pt>
                <c:pt idx="2">
                  <c:v>1.0565603896081661</c:v>
                </c:pt>
                <c:pt idx="3">
                  <c:v>1.0227255182483197</c:v>
                </c:pt>
                <c:pt idx="4">
                  <c:v>1.0505691216890434</c:v>
                </c:pt>
                <c:pt idx="5">
                  <c:v>1.0639400141144917</c:v>
                </c:pt>
                <c:pt idx="6">
                  <c:v>1.0714196814938988</c:v>
                </c:pt>
                <c:pt idx="7">
                  <c:v>1.0439575454752201</c:v>
                </c:pt>
                <c:pt idx="8">
                  <c:v>1.0031514065527167</c:v>
                </c:pt>
                <c:pt idx="9">
                  <c:v>0.98073079447306977</c:v>
                </c:pt>
                <c:pt idx="10">
                  <c:v>0.97591760763047597</c:v>
                </c:pt>
                <c:pt idx="11">
                  <c:v>0.99376013339549385</c:v>
                </c:pt>
                <c:pt idx="12">
                  <c:v>0.93767169211205581</c:v>
                </c:pt>
                <c:pt idx="13">
                  <c:v>0.93160885474430932</c:v>
                </c:pt>
                <c:pt idx="14">
                  <c:v>0.89685577920610071</c:v>
                </c:pt>
                <c:pt idx="15">
                  <c:v>0.91229320062114483</c:v>
                </c:pt>
                <c:pt idx="16">
                  <c:v>0.91586180505478498</c:v>
                </c:pt>
                <c:pt idx="17">
                  <c:v>0.91940741377070334</c:v>
                </c:pt>
                <c:pt idx="18">
                  <c:v>0.93239756623565229</c:v>
                </c:pt>
                <c:pt idx="19">
                  <c:v>0.90383622698828148</c:v>
                </c:pt>
                <c:pt idx="20">
                  <c:v>0.89949303180068052</c:v>
                </c:pt>
                <c:pt idx="21">
                  <c:v>0.85935245790915005</c:v>
                </c:pt>
                <c:pt idx="22">
                  <c:v>0.85301753046252293</c:v>
                </c:pt>
                <c:pt idx="23">
                  <c:v>0.84671520302181402</c:v>
                </c:pt>
                <c:pt idx="24">
                  <c:v>0.8533542370996714</c:v>
                </c:pt>
                <c:pt idx="25">
                  <c:v>0.89632248882818855</c:v>
                </c:pt>
                <c:pt idx="26">
                  <c:v>0.89734803196787971</c:v>
                </c:pt>
                <c:pt idx="27">
                  <c:v>0.90399437451142184</c:v>
                </c:pt>
                <c:pt idx="28">
                  <c:v>0.90044416173965136</c:v>
                </c:pt>
                <c:pt idx="29">
                  <c:v>0.94006347171623827</c:v>
                </c:pt>
                <c:pt idx="30">
                  <c:v>0.92447926467980623</c:v>
                </c:pt>
                <c:pt idx="31">
                  <c:v>0.94196152367848585</c:v>
                </c:pt>
                <c:pt idx="32">
                  <c:v>0.93092732765818842</c:v>
                </c:pt>
                <c:pt idx="33">
                  <c:v>0.91062802186765035</c:v>
                </c:pt>
                <c:pt idx="34">
                  <c:v>0.91745891248916556</c:v>
                </c:pt>
                <c:pt idx="35">
                  <c:v>0.90996317986097808</c:v>
                </c:pt>
                <c:pt idx="36">
                  <c:v>0.92958949734363039</c:v>
                </c:pt>
                <c:pt idx="37">
                  <c:v>0.92936089517264153</c:v>
                </c:pt>
                <c:pt idx="38">
                  <c:v>0.92987364787557036</c:v>
                </c:pt>
                <c:pt idx="39">
                  <c:v>0.94107314868629421</c:v>
                </c:pt>
                <c:pt idx="40">
                  <c:v>0.92004417307659592</c:v>
                </c:pt>
                <c:pt idx="41">
                  <c:v>0.93250247276662501</c:v>
                </c:pt>
                <c:pt idx="42">
                  <c:v>0.95396536285803024</c:v>
                </c:pt>
                <c:pt idx="43">
                  <c:v>0.96674294131704563</c:v>
                </c:pt>
                <c:pt idx="44">
                  <c:v>0.99162576916366285</c:v>
                </c:pt>
                <c:pt idx="45">
                  <c:v>0.99239245437371015</c:v>
                </c:pt>
                <c:pt idx="46">
                  <c:v>1.0357861849825014</c:v>
                </c:pt>
                <c:pt idx="47">
                  <c:v>1.0294580032733924</c:v>
                </c:pt>
                <c:pt idx="48">
                  <c:v>0.98243470905476626</c:v>
                </c:pt>
                <c:pt idx="49">
                  <c:v>0.96521803624276414</c:v>
                </c:pt>
                <c:pt idx="50">
                  <c:v>0.94969137113653557</c:v>
                </c:pt>
                <c:pt idx="51">
                  <c:v>0.88601627160584406</c:v>
                </c:pt>
                <c:pt idx="52">
                  <c:v>0.92320924650242564</c:v>
                </c:pt>
                <c:pt idx="53">
                  <c:v>0.91622802187766816</c:v>
                </c:pt>
                <c:pt idx="54">
                  <c:v>0.88070151555006604</c:v>
                </c:pt>
                <c:pt idx="55">
                  <c:v>0.8847362088589682</c:v>
                </c:pt>
                <c:pt idx="56">
                  <c:v>0.85974090194745922</c:v>
                </c:pt>
                <c:pt idx="57">
                  <c:v>0.87128325172771859</c:v>
                </c:pt>
                <c:pt idx="58">
                  <c:v>0.88144803980756647</c:v>
                </c:pt>
                <c:pt idx="59">
                  <c:v>0.8854244014421998</c:v>
                </c:pt>
                <c:pt idx="60">
                  <c:v>0.85747223687996299</c:v>
                </c:pt>
                <c:pt idx="61">
                  <c:v>0.87158763515879123</c:v>
                </c:pt>
                <c:pt idx="62">
                  <c:v>0.88628181949534035</c:v>
                </c:pt>
                <c:pt idx="63">
                  <c:v>0.80112389328301947</c:v>
                </c:pt>
                <c:pt idx="64">
                  <c:v>0.78144495963037208</c:v>
                </c:pt>
                <c:pt idx="65">
                  <c:v>0.75472808329102892</c:v>
                </c:pt>
                <c:pt idx="66">
                  <c:v>0.7550225825077832</c:v>
                </c:pt>
                <c:pt idx="67">
                  <c:v>0.72973465444859176</c:v>
                </c:pt>
                <c:pt idx="68">
                  <c:v>0.74977607631545695</c:v>
                </c:pt>
                <c:pt idx="69">
                  <c:v>0.75244189384108129</c:v>
                </c:pt>
                <c:pt idx="70">
                  <c:v>0.73395460179570426</c:v>
                </c:pt>
                <c:pt idx="71">
                  <c:v>0.73379503272593205</c:v>
                </c:pt>
                <c:pt idx="72">
                  <c:v>0.76545190368493643</c:v>
                </c:pt>
                <c:pt idx="73">
                  <c:v>0.73596593741511074</c:v>
                </c:pt>
                <c:pt idx="74">
                  <c:v>0.74380380732065687</c:v>
                </c:pt>
                <c:pt idx="75">
                  <c:v>0.76903946729637906</c:v>
                </c:pt>
                <c:pt idx="76">
                  <c:v>0.78614070869757646</c:v>
                </c:pt>
                <c:pt idx="77">
                  <c:v>0.79546015676164072</c:v>
                </c:pt>
                <c:pt idx="78">
                  <c:v>0.83436717256508164</c:v>
                </c:pt>
                <c:pt idx="79">
                  <c:v>0.83476067071931503</c:v>
                </c:pt>
                <c:pt idx="80">
                  <c:v>0.82506043882381463</c:v>
                </c:pt>
                <c:pt idx="81">
                  <c:v>0.81489012717898723</c:v>
                </c:pt>
                <c:pt idx="82">
                  <c:v>0.79535993612744249</c:v>
                </c:pt>
                <c:pt idx="83">
                  <c:v>0.80539645163919438</c:v>
                </c:pt>
                <c:pt idx="84">
                  <c:v>0.79476934079474393</c:v>
                </c:pt>
                <c:pt idx="85">
                  <c:v>0.81772008600633539</c:v>
                </c:pt>
                <c:pt idx="86">
                  <c:v>0.84624123410539276</c:v>
                </c:pt>
                <c:pt idx="87">
                  <c:v>0.90553945683026682</c:v>
                </c:pt>
                <c:pt idx="88">
                  <c:v>0.93332783082488313</c:v>
                </c:pt>
                <c:pt idx="89">
                  <c:v>0.99487668007248986</c:v>
                </c:pt>
                <c:pt idx="90">
                  <c:v>0.93886420684962091</c:v>
                </c:pt>
                <c:pt idx="91">
                  <c:v>0.92731014165279801</c:v>
                </c:pt>
                <c:pt idx="92">
                  <c:v>0.99252648954924472</c:v>
                </c:pt>
                <c:pt idx="93">
                  <c:v>0.99842305923751018</c:v>
                </c:pt>
                <c:pt idx="94">
                  <c:v>1.0052420859600073</c:v>
                </c:pt>
                <c:pt idx="95">
                  <c:v>1.0446644247976986</c:v>
                </c:pt>
                <c:pt idx="96">
                  <c:v>0.97344780852705204</c:v>
                </c:pt>
                <c:pt idx="97">
                  <c:v>0.96017813562700871</c:v>
                </c:pt>
                <c:pt idx="98">
                  <c:v>0.94725121405221224</c:v>
                </c:pt>
                <c:pt idx="99">
                  <c:v>0.96180006637403548</c:v>
                </c:pt>
                <c:pt idx="100">
                  <c:v>0.92199010570611328</c:v>
                </c:pt>
                <c:pt idx="101">
                  <c:v>0.90063907391638409</c:v>
                </c:pt>
                <c:pt idx="102">
                  <c:v>0.90384681972685055</c:v>
                </c:pt>
                <c:pt idx="103">
                  <c:v>0.92531638139884032</c:v>
                </c:pt>
                <c:pt idx="104">
                  <c:v>0.94062054361307967</c:v>
                </c:pt>
                <c:pt idx="105">
                  <c:v>0.94654705616846135</c:v>
                </c:pt>
                <c:pt idx="106">
                  <c:v>0.91490133364269877</c:v>
                </c:pt>
                <c:pt idx="107">
                  <c:v>0.91835568553658498</c:v>
                </c:pt>
                <c:pt idx="108">
                  <c:v>0.93108981779183619</c:v>
                </c:pt>
                <c:pt idx="109">
                  <c:v>0.92016281404495015</c:v>
                </c:pt>
                <c:pt idx="110">
                  <c:v>0.9126700861301732</c:v>
                </c:pt>
                <c:pt idx="111">
                  <c:v>0.94160242742973466</c:v>
                </c:pt>
                <c:pt idx="112">
                  <c:v>0.92418742048567448</c:v>
                </c:pt>
                <c:pt idx="113">
                  <c:v>0.90344190358175125</c:v>
                </c:pt>
                <c:pt idx="114">
                  <c:v>0.9205831408839048</c:v>
                </c:pt>
                <c:pt idx="115">
                  <c:v>0.9388921062492922</c:v>
                </c:pt>
                <c:pt idx="116">
                  <c:v>0.89141901617611197</c:v>
                </c:pt>
                <c:pt idx="117">
                  <c:v>0.85867197578740229</c:v>
                </c:pt>
                <c:pt idx="118">
                  <c:v>0.81414620251559333</c:v>
                </c:pt>
                <c:pt idx="119">
                  <c:v>0.77420207775261041</c:v>
                </c:pt>
                <c:pt idx="120">
                  <c:v>0.80689435677672061</c:v>
                </c:pt>
                <c:pt idx="121">
                  <c:v>0.83269329460779173</c:v>
                </c:pt>
                <c:pt idx="122">
                  <c:v>0.86602976080248006</c:v>
                </c:pt>
                <c:pt idx="123">
                  <c:v>0.84089660446512826</c:v>
                </c:pt>
                <c:pt idx="124">
                  <c:v>0.75432205799580188</c:v>
                </c:pt>
                <c:pt idx="125">
                  <c:v>0.73471680204200596</c:v>
                </c:pt>
                <c:pt idx="126">
                  <c:v>0.72265495899240062</c:v>
                </c:pt>
                <c:pt idx="127">
                  <c:v>0.74999695998726146</c:v>
                </c:pt>
                <c:pt idx="128">
                  <c:v>0.73808448635279511</c:v>
                </c:pt>
                <c:pt idx="129">
                  <c:v>0.75668685638470556</c:v>
                </c:pt>
                <c:pt idx="130">
                  <c:v>0.83179136027864431</c:v>
                </c:pt>
                <c:pt idx="131">
                  <c:v>0.83206095879085673</c:v>
                </c:pt>
                <c:pt idx="132">
                  <c:v>0.86195621058867677</c:v>
                </c:pt>
              </c:numCache>
            </c:numRef>
          </c:val>
          <c:smooth val="0"/>
          <c:extLst>
            <c:ext xmlns:c16="http://schemas.microsoft.com/office/drawing/2014/chart" uri="{C3380CC4-5D6E-409C-BE32-E72D297353CC}">
              <c16:uniqueId val="{00000000-0A05-465D-8083-533EC2E99B74}"/>
            </c:ext>
          </c:extLst>
        </c:ser>
        <c:ser>
          <c:idx val="1"/>
          <c:order val="1"/>
          <c:tx>
            <c:strRef>
              <c:f>NTM!$F$3</c:f>
              <c:strCache>
                <c:ptCount val="1"/>
                <c:pt idx="0">
                  <c:v>Average</c:v>
                </c:pt>
              </c:strCache>
            </c:strRef>
          </c:tx>
          <c:spPr>
            <a:ln w="28575" cap="rnd" cmpd="sng" algn="ctr">
              <a:solidFill>
                <a:srgbClr val="BD000C"/>
              </a:solidFill>
              <a:prstDash val="solid"/>
              <a:round/>
              <a:headEnd type="none" w="med" len="med"/>
              <a:tailEnd type="none" w="med" len="med"/>
            </a:ln>
            <a:effectLst/>
          </c:spPr>
          <c:marker>
            <c:symbol val="none"/>
          </c:marker>
          <c:cat>
            <c:numRef>
              <c:f>NTM!$B$236:$B$1450</c:f>
              <c:numCache>
                <c:formatCode>m/d/yyyy</c:formatCode>
                <c:ptCount val="1215"/>
                <c:pt idx="0">
                  <c:v>42035</c:v>
                </c:pt>
                <c:pt idx="1">
                  <c:v>42063</c:v>
                </c:pt>
                <c:pt idx="2">
                  <c:v>42094</c:v>
                </c:pt>
                <c:pt idx="3">
                  <c:v>42124</c:v>
                </c:pt>
                <c:pt idx="4">
                  <c:v>42155</c:v>
                </c:pt>
                <c:pt idx="5">
                  <c:v>42185</c:v>
                </c:pt>
                <c:pt idx="6">
                  <c:v>42216</c:v>
                </c:pt>
                <c:pt idx="7">
                  <c:v>42247</c:v>
                </c:pt>
                <c:pt idx="8">
                  <c:v>42277</c:v>
                </c:pt>
                <c:pt idx="9">
                  <c:v>42308</c:v>
                </c:pt>
                <c:pt idx="10">
                  <c:v>42338</c:v>
                </c:pt>
                <c:pt idx="11">
                  <c:v>42369</c:v>
                </c:pt>
                <c:pt idx="12">
                  <c:v>42400</c:v>
                </c:pt>
                <c:pt idx="13">
                  <c:v>42429</c:v>
                </c:pt>
                <c:pt idx="14">
                  <c:v>42460</c:v>
                </c:pt>
                <c:pt idx="15">
                  <c:v>42490</c:v>
                </c:pt>
                <c:pt idx="16">
                  <c:v>42521</c:v>
                </c:pt>
                <c:pt idx="17">
                  <c:v>42551</c:v>
                </c:pt>
                <c:pt idx="18">
                  <c:v>42582</c:v>
                </c:pt>
                <c:pt idx="19">
                  <c:v>42613</c:v>
                </c:pt>
                <c:pt idx="20">
                  <c:v>42643</c:v>
                </c:pt>
                <c:pt idx="21">
                  <c:v>42674</c:v>
                </c:pt>
                <c:pt idx="22">
                  <c:v>42704</c:v>
                </c:pt>
                <c:pt idx="23">
                  <c:v>42735</c:v>
                </c:pt>
                <c:pt idx="24">
                  <c:v>42766</c:v>
                </c:pt>
                <c:pt idx="25">
                  <c:v>42794</c:v>
                </c:pt>
                <c:pt idx="26">
                  <c:v>42825</c:v>
                </c:pt>
                <c:pt idx="27">
                  <c:v>42855</c:v>
                </c:pt>
                <c:pt idx="28">
                  <c:v>42886</c:v>
                </c:pt>
                <c:pt idx="29">
                  <c:v>42916</c:v>
                </c:pt>
                <c:pt idx="30">
                  <c:v>42947</c:v>
                </c:pt>
                <c:pt idx="31">
                  <c:v>42978</c:v>
                </c:pt>
                <c:pt idx="32">
                  <c:v>43008</c:v>
                </c:pt>
                <c:pt idx="33">
                  <c:v>43039</c:v>
                </c:pt>
                <c:pt idx="34">
                  <c:v>43069</c:v>
                </c:pt>
                <c:pt idx="35">
                  <c:v>43100</c:v>
                </c:pt>
                <c:pt idx="36">
                  <c:v>43131</c:v>
                </c:pt>
                <c:pt idx="37">
                  <c:v>43159</c:v>
                </c:pt>
                <c:pt idx="38">
                  <c:v>43190</c:v>
                </c:pt>
                <c:pt idx="39">
                  <c:v>43220</c:v>
                </c:pt>
                <c:pt idx="40">
                  <c:v>43251</c:v>
                </c:pt>
                <c:pt idx="41">
                  <c:v>43281</c:v>
                </c:pt>
                <c:pt idx="42">
                  <c:v>43312</c:v>
                </c:pt>
                <c:pt idx="43">
                  <c:v>43343</c:v>
                </c:pt>
                <c:pt idx="44">
                  <c:v>43373</c:v>
                </c:pt>
                <c:pt idx="45">
                  <c:v>43404</c:v>
                </c:pt>
                <c:pt idx="46">
                  <c:v>43434</c:v>
                </c:pt>
                <c:pt idx="47">
                  <c:v>43465</c:v>
                </c:pt>
                <c:pt idx="48">
                  <c:v>43496</c:v>
                </c:pt>
                <c:pt idx="49">
                  <c:v>43524</c:v>
                </c:pt>
                <c:pt idx="50">
                  <c:v>43555</c:v>
                </c:pt>
                <c:pt idx="51">
                  <c:v>43585</c:v>
                </c:pt>
                <c:pt idx="52">
                  <c:v>43616</c:v>
                </c:pt>
                <c:pt idx="53">
                  <c:v>43646</c:v>
                </c:pt>
                <c:pt idx="54">
                  <c:v>43677</c:v>
                </c:pt>
                <c:pt idx="55">
                  <c:v>43708</c:v>
                </c:pt>
                <c:pt idx="56">
                  <c:v>43738</c:v>
                </c:pt>
                <c:pt idx="57">
                  <c:v>43769</c:v>
                </c:pt>
                <c:pt idx="58">
                  <c:v>43799</c:v>
                </c:pt>
                <c:pt idx="59">
                  <c:v>43830</c:v>
                </c:pt>
                <c:pt idx="60">
                  <c:v>43861</c:v>
                </c:pt>
                <c:pt idx="61">
                  <c:v>43890</c:v>
                </c:pt>
                <c:pt idx="62">
                  <c:v>43921</c:v>
                </c:pt>
                <c:pt idx="63">
                  <c:v>43951</c:v>
                </c:pt>
                <c:pt idx="64">
                  <c:v>43982</c:v>
                </c:pt>
                <c:pt idx="65">
                  <c:v>44012</c:v>
                </c:pt>
                <c:pt idx="66">
                  <c:v>44043</c:v>
                </c:pt>
                <c:pt idx="67">
                  <c:v>44074</c:v>
                </c:pt>
                <c:pt idx="68">
                  <c:v>44104</c:v>
                </c:pt>
                <c:pt idx="69">
                  <c:v>44135</c:v>
                </c:pt>
                <c:pt idx="70">
                  <c:v>44165</c:v>
                </c:pt>
                <c:pt idx="71">
                  <c:v>44196</c:v>
                </c:pt>
                <c:pt idx="72">
                  <c:v>44227</c:v>
                </c:pt>
                <c:pt idx="73">
                  <c:v>44255</c:v>
                </c:pt>
                <c:pt idx="74">
                  <c:v>44286</c:v>
                </c:pt>
                <c:pt idx="75">
                  <c:v>44316</c:v>
                </c:pt>
                <c:pt idx="76">
                  <c:v>44347</c:v>
                </c:pt>
                <c:pt idx="77">
                  <c:v>44377</c:v>
                </c:pt>
                <c:pt idx="78">
                  <c:v>44408</c:v>
                </c:pt>
                <c:pt idx="79">
                  <c:v>44439</c:v>
                </c:pt>
                <c:pt idx="80">
                  <c:v>44469</c:v>
                </c:pt>
                <c:pt idx="81">
                  <c:v>44500</c:v>
                </c:pt>
                <c:pt idx="82">
                  <c:v>44530</c:v>
                </c:pt>
                <c:pt idx="83">
                  <c:v>44561</c:v>
                </c:pt>
                <c:pt idx="84">
                  <c:v>44592</c:v>
                </c:pt>
                <c:pt idx="85">
                  <c:v>44620</c:v>
                </c:pt>
                <c:pt idx="86">
                  <c:v>44651</c:v>
                </c:pt>
                <c:pt idx="87">
                  <c:v>44681</c:v>
                </c:pt>
                <c:pt idx="88">
                  <c:v>44712</c:v>
                </c:pt>
                <c:pt idx="89">
                  <c:v>44742</c:v>
                </c:pt>
                <c:pt idx="90">
                  <c:v>44773</c:v>
                </c:pt>
                <c:pt idx="91">
                  <c:v>44804</c:v>
                </c:pt>
                <c:pt idx="92">
                  <c:v>44834</c:v>
                </c:pt>
                <c:pt idx="93">
                  <c:v>44865</c:v>
                </c:pt>
                <c:pt idx="94">
                  <c:v>44895</c:v>
                </c:pt>
                <c:pt idx="95">
                  <c:v>44926</c:v>
                </c:pt>
                <c:pt idx="96">
                  <c:v>44957</c:v>
                </c:pt>
                <c:pt idx="97">
                  <c:v>44985</c:v>
                </c:pt>
                <c:pt idx="98">
                  <c:v>45016</c:v>
                </c:pt>
                <c:pt idx="99">
                  <c:v>45046</c:v>
                </c:pt>
                <c:pt idx="100">
                  <c:v>45077</c:v>
                </c:pt>
                <c:pt idx="101">
                  <c:v>45107</c:v>
                </c:pt>
                <c:pt idx="102">
                  <c:v>45138</c:v>
                </c:pt>
                <c:pt idx="103">
                  <c:v>45169</c:v>
                </c:pt>
                <c:pt idx="104">
                  <c:v>45199</c:v>
                </c:pt>
                <c:pt idx="105">
                  <c:v>45230</c:v>
                </c:pt>
                <c:pt idx="106">
                  <c:v>45260</c:v>
                </c:pt>
                <c:pt idx="107">
                  <c:v>45291</c:v>
                </c:pt>
                <c:pt idx="108">
                  <c:v>45322</c:v>
                </c:pt>
                <c:pt idx="109">
                  <c:v>45351</c:v>
                </c:pt>
                <c:pt idx="110">
                  <c:v>45382</c:v>
                </c:pt>
                <c:pt idx="111">
                  <c:v>45412</c:v>
                </c:pt>
                <c:pt idx="112">
                  <c:v>45443</c:v>
                </c:pt>
                <c:pt idx="113">
                  <c:v>45473</c:v>
                </c:pt>
                <c:pt idx="114">
                  <c:v>45504</c:v>
                </c:pt>
                <c:pt idx="115">
                  <c:v>45535</c:v>
                </c:pt>
                <c:pt idx="116">
                  <c:v>45565</c:v>
                </c:pt>
                <c:pt idx="117">
                  <c:v>45596</c:v>
                </c:pt>
                <c:pt idx="118">
                  <c:v>45626</c:v>
                </c:pt>
                <c:pt idx="119">
                  <c:v>45657</c:v>
                </c:pt>
                <c:pt idx="120">
                  <c:v>45688</c:v>
                </c:pt>
                <c:pt idx="121">
                  <c:v>45716</c:v>
                </c:pt>
                <c:pt idx="122">
                  <c:v>45747</c:v>
                </c:pt>
                <c:pt idx="123">
                  <c:v>45777</c:v>
                </c:pt>
                <c:pt idx="124">
                  <c:v>45808</c:v>
                </c:pt>
                <c:pt idx="125">
                  <c:v>45838</c:v>
                </c:pt>
                <c:pt idx="126">
                  <c:v>45869</c:v>
                </c:pt>
                <c:pt idx="127">
                  <c:v>45900</c:v>
                </c:pt>
                <c:pt idx="128">
                  <c:v>45930</c:v>
                </c:pt>
                <c:pt idx="129">
                  <c:v>45961</c:v>
                </c:pt>
                <c:pt idx="130">
                  <c:v>45991</c:v>
                </c:pt>
                <c:pt idx="131">
                  <c:v>46022</c:v>
                </c:pt>
                <c:pt idx="132">
                  <c:v>46053</c:v>
                </c:pt>
              </c:numCache>
            </c:numRef>
          </c:cat>
          <c:val>
            <c:numRef>
              <c:f>NTM!$F$236:$F$1447</c:f>
              <c:numCache>
                <c:formatCode>0.00</c:formatCode>
                <c:ptCount val="1212"/>
                <c:pt idx="0">
                  <c:v>0.89416910763837409</c:v>
                </c:pt>
                <c:pt idx="1">
                  <c:v>0.89416910763837409</c:v>
                </c:pt>
                <c:pt idx="2">
                  <c:v>0.89416910763837409</c:v>
                </c:pt>
                <c:pt idx="3">
                  <c:v>0.89416910763837409</c:v>
                </c:pt>
                <c:pt idx="4">
                  <c:v>0.89416910763837409</c:v>
                </c:pt>
                <c:pt idx="5">
                  <c:v>0.89416910763837409</c:v>
                </c:pt>
                <c:pt idx="6">
                  <c:v>0.89416910763837409</c:v>
                </c:pt>
                <c:pt idx="7">
                  <c:v>0.89416910763837409</c:v>
                </c:pt>
                <c:pt idx="8">
                  <c:v>0.89416910763837409</c:v>
                </c:pt>
                <c:pt idx="9">
                  <c:v>0.89416910763837409</c:v>
                </c:pt>
                <c:pt idx="10">
                  <c:v>0.89416910763837409</c:v>
                </c:pt>
                <c:pt idx="11">
                  <c:v>0.89416910763837409</c:v>
                </c:pt>
                <c:pt idx="12">
                  <c:v>0.89416910763837409</c:v>
                </c:pt>
                <c:pt idx="13">
                  <c:v>0.89416910763837409</c:v>
                </c:pt>
                <c:pt idx="14">
                  <c:v>0.89416910763837409</c:v>
                </c:pt>
                <c:pt idx="15">
                  <c:v>0.89416910763837409</c:v>
                </c:pt>
                <c:pt idx="16">
                  <c:v>0.89416910763837409</c:v>
                </c:pt>
                <c:pt idx="17">
                  <c:v>0.89416910763837409</c:v>
                </c:pt>
                <c:pt idx="18">
                  <c:v>0.89416910763837409</c:v>
                </c:pt>
                <c:pt idx="19">
                  <c:v>0.89416910763837409</c:v>
                </c:pt>
                <c:pt idx="20">
                  <c:v>0.89416910763837409</c:v>
                </c:pt>
                <c:pt idx="21">
                  <c:v>0.89416910763837409</c:v>
                </c:pt>
                <c:pt idx="22">
                  <c:v>0.89416910763837409</c:v>
                </c:pt>
                <c:pt idx="23">
                  <c:v>0.89416910763837409</c:v>
                </c:pt>
                <c:pt idx="24">
                  <c:v>0.89416910763837409</c:v>
                </c:pt>
                <c:pt idx="25">
                  <c:v>0.89416910763837409</c:v>
                </c:pt>
                <c:pt idx="26">
                  <c:v>0.89416910763837409</c:v>
                </c:pt>
                <c:pt idx="27">
                  <c:v>0.89416910763837409</c:v>
                </c:pt>
                <c:pt idx="28">
                  <c:v>0.89416910763837409</c:v>
                </c:pt>
                <c:pt idx="29">
                  <c:v>0.89416910763837409</c:v>
                </c:pt>
                <c:pt idx="30">
                  <c:v>0.89416910763837409</c:v>
                </c:pt>
                <c:pt idx="31">
                  <c:v>0.89416910763837409</c:v>
                </c:pt>
                <c:pt idx="32">
                  <c:v>0.89416910763837409</c:v>
                </c:pt>
                <c:pt idx="33">
                  <c:v>0.89416910763837409</c:v>
                </c:pt>
                <c:pt idx="34">
                  <c:v>0.89416910763837409</c:v>
                </c:pt>
                <c:pt idx="35">
                  <c:v>0.89416910763837409</c:v>
                </c:pt>
                <c:pt idx="36">
                  <c:v>0.89416910763837409</c:v>
                </c:pt>
                <c:pt idx="37">
                  <c:v>0.89416910763837409</c:v>
                </c:pt>
                <c:pt idx="38">
                  <c:v>0.89416910763837409</c:v>
                </c:pt>
                <c:pt idx="39">
                  <c:v>0.89416910763837409</c:v>
                </c:pt>
                <c:pt idx="40">
                  <c:v>0.89416910763837409</c:v>
                </c:pt>
                <c:pt idx="41">
                  <c:v>0.89416910763837409</c:v>
                </c:pt>
                <c:pt idx="42">
                  <c:v>0.89416910763837409</c:v>
                </c:pt>
                <c:pt idx="43">
                  <c:v>0.89416910763837409</c:v>
                </c:pt>
                <c:pt idx="44">
                  <c:v>0.89416910763837409</c:v>
                </c:pt>
                <c:pt idx="45">
                  <c:v>0.89416910763837409</c:v>
                </c:pt>
                <c:pt idx="46">
                  <c:v>0.89416910763837409</c:v>
                </c:pt>
                <c:pt idx="47">
                  <c:v>0.89416910763837409</c:v>
                </c:pt>
                <c:pt idx="48">
                  <c:v>0.89416910763837409</c:v>
                </c:pt>
                <c:pt idx="49">
                  <c:v>0.89416910763837409</c:v>
                </c:pt>
                <c:pt idx="50">
                  <c:v>0.89416910763837409</c:v>
                </c:pt>
                <c:pt idx="51">
                  <c:v>0.89416910763837409</c:v>
                </c:pt>
                <c:pt idx="52">
                  <c:v>0.89416910763837409</c:v>
                </c:pt>
                <c:pt idx="53">
                  <c:v>0.89416910763837409</c:v>
                </c:pt>
                <c:pt idx="54">
                  <c:v>0.89416910763837409</c:v>
                </c:pt>
                <c:pt idx="55">
                  <c:v>0.89416910763837409</c:v>
                </c:pt>
                <c:pt idx="56">
                  <c:v>0.89416910763837409</c:v>
                </c:pt>
                <c:pt idx="57">
                  <c:v>0.89416910763837409</c:v>
                </c:pt>
                <c:pt idx="58">
                  <c:v>0.89416910763837409</c:v>
                </c:pt>
                <c:pt idx="59">
                  <c:v>0.89416910763837409</c:v>
                </c:pt>
                <c:pt idx="60">
                  <c:v>0.89416910763837409</c:v>
                </c:pt>
                <c:pt idx="61">
                  <c:v>0.89416910763837409</c:v>
                </c:pt>
                <c:pt idx="62">
                  <c:v>0.89416910763837409</c:v>
                </c:pt>
                <c:pt idx="63">
                  <c:v>0.89416910763837409</c:v>
                </c:pt>
                <c:pt idx="64">
                  <c:v>0.89416910763837409</c:v>
                </c:pt>
                <c:pt idx="65">
                  <c:v>0.89416910763837409</c:v>
                </c:pt>
                <c:pt idx="66">
                  <c:v>0.89416910763837409</c:v>
                </c:pt>
                <c:pt idx="67">
                  <c:v>0.89416910763837409</c:v>
                </c:pt>
                <c:pt idx="68">
                  <c:v>0.89416910763837409</c:v>
                </c:pt>
                <c:pt idx="69">
                  <c:v>0.89416910763837409</c:v>
                </c:pt>
                <c:pt idx="70">
                  <c:v>0.89416910763837409</c:v>
                </c:pt>
                <c:pt idx="71">
                  <c:v>0.89416910763837409</c:v>
                </c:pt>
                <c:pt idx="72">
                  <c:v>0.89416910763837409</c:v>
                </c:pt>
                <c:pt idx="73">
                  <c:v>0.89416910763837409</c:v>
                </c:pt>
                <c:pt idx="74">
                  <c:v>0.89416910763837409</c:v>
                </c:pt>
                <c:pt idx="75">
                  <c:v>0.89416910763837409</c:v>
                </c:pt>
                <c:pt idx="76">
                  <c:v>0.89416910763837409</c:v>
                </c:pt>
                <c:pt idx="77">
                  <c:v>0.89416910763837409</c:v>
                </c:pt>
                <c:pt idx="78">
                  <c:v>0.89416910763837409</c:v>
                </c:pt>
                <c:pt idx="79">
                  <c:v>0.89416910763837409</c:v>
                </c:pt>
                <c:pt idx="80">
                  <c:v>0.89416910763837409</c:v>
                </c:pt>
                <c:pt idx="81">
                  <c:v>0.89416910763837409</c:v>
                </c:pt>
                <c:pt idx="82">
                  <c:v>0.89416910763837409</c:v>
                </c:pt>
                <c:pt idx="83">
                  <c:v>0.89416910763837409</c:v>
                </c:pt>
                <c:pt idx="84">
                  <c:v>0.89416910763837409</c:v>
                </c:pt>
                <c:pt idx="85">
                  <c:v>0.89416910763837409</c:v>
                </c:pt>
                <c:pt idx="86">
                  <c:v>0.89416910763837409</c:v>
                </c:pt>
                <c:pt idx="87">
                  <c:v>0.89416910763837409</c:v>
                </c:pt>
                <c:pt idx="88">
                  <c:v>0.89416910763837409</c:v>
                </c:pt>
                <c:pt idx="89">
                  <c:v>0.89416910763837409</c:v>
                </c:pt>
                <c:pt idx="90">
                  <c:v>0.89416910763837409</c:v>
                </c:pt>
                <c:pt idx="91">
                  <c:v>0.89416910763837409</c:v>
                </c:pt>
                <c:pt idx="92">
                  <c:v>0.89416910763837409</c:v>
                </c:pt>
                <c:pt idx="93">
                  <c:v>0.89416910763837409</c:v>
                </c:pt>
                <c:pt idx="94">
                  <c:v>0.89416910763837409</c:v>
                </c:pt>
                <c:pt idx="95">
                  <c:v>0.89416910763837409</c:v>
                </c:pt>
                <c:pt idx="96">
                  <c:v>0.89416910763837409</c:v>
                </c:pt>
                <c:pt idx="97">
                  <c:v>0.89416910763837409</c:v>
                </c:pt>
                <c:pt idx="98">
                  <c:v>0.89416910763837409</c:v>
                </c:pt>
                <c:pt idx="99">
                  <c:v>0.89416910763837409</c:v>
                </c:pt>
                <c:pt idx="100">
                  <c:v>0.89416910763837409</c:v>
                </c:pt>
                <c:pt idx="101">
                  <c:v>0.89416910763837409</c:v>
                </c:pt>
                <c:pt idx="102">
                  <c:v>0.89416910763837409</c:v>
                </c:pt>
                <c:pt idx="103">
                  <c:v>0.89416910763837409</c:v>
                </c:pt>
                <c:pt idx="104">
                  <c:v>0.89416910763837409</c:v>
                </c:pt>
                <c:pt idx="105">
                  <c:v>0.89416910763837409</c:v>
                </c:pt>
                <c:pt idx="106">
                  <c:v>0.89416910763837409</c:v>
                </c:pt>
                <c:pt idx="107">
                  <c:v>0.89416910763837409</c:v>
                </c:pt>
                <c:pt idx="108">
                  <c:v>0.89416910763837409</c:v>
                </c:pt>
                <c:pt idx="109">
                  <c:v>0.89416910763837409</c:v>
                </c:pt>
                <c:pt idx="110">
                  <c:v>0.89416910763837409</c:v>
                </c:pt>
                <c:pt idx="111">
                  <c:v>0.89416910763837409</c:v>
                </c:pt>
                <c:pt idx="112">
                  <c:v>0.89416910763837409</c:v>
                </c:pt>
                <c:pt idx="113">
                  <c:v>0.89416910763837409</c:v>
                </c:pt>
                <c:pt idx="114">
                  <c:v>0.89416910763837409</c:v>
                </c:pt>
                <c:pt idx="115">
                  <c:v>0.89416910763837409</c:v>
                </c:pt>
                <c:pt idx="116">
                  <c:v>0.89416910763837409</c:v>
                </c:pt>
                <c:pt idx="117">
                  <c:v>0.89416910763837409</c:v>
                </c:pt>
                <c:pt idx="118">
                  <c:v>0.89416910763837409</c:v>
                </c:pt>
                <c:pt idx="119">
                  <c:v>0.89416910763837409</c:v>
                </c:pt>
                <c:pt idx="120">
                  <c:v>0.89416910763837409</c:v>
                </c:pt>
                <c:pt idx="121">
                  <c:v>0.89416910763837409</c:v>
                </c:pt>
                <c:pt idx="122">
                  <c:v>0.89416910763837409</c:v>
                </c:pt>
                <c:pt idx="123">
                  <c:v>0.89416910763837409</c:v>
                </c:pt>
                <c:pt idx="124">
                  <c:v>0.89416910763837409</c:v>
                </c:pt>
                <c:pt idx="125">
                  <c:v>0.89416910763837409</c:v>
                </c:pt>
                <c:pt idx="126">
                  <c:v>0.89416910763837409</c:v>
                </c:pt>
                <c:pt idx="127">
                  <c:v>0.89416910763837409</c:v>
                </c:pt>
                <c:pt idx="128">
                  <c:v>0.89416910763837409</c:v>
                </c:pt>
                <c:pt idx="129">
                  <c:v>0.89416910763837409</c:v>
                </c:pt>
                <c:pt idx="130">
                  <c:v>0.89416910763837409</c:v>
                </c:pt>
                <c:pt idx="131">
                  <c:v>0.89416910763837409</c:v>
                </c:pt>
                <c:pt idx="132">
                  <c:v>0.89416910763837409</c:v>
                </c:pt>
              </c:numCache>
            </c:numRef>
          </c:val>
          <c:smooth val="0"/>
          <c:extLst>
            <c:ext xmlns:c16="http://schemas.microsoft.com/office/drawing/2014/chart" uri="{C3380CC4-5D6E-409C-BE32-E72D297353CC}">
              <c16:uniqueId val="{00000001-0A05-465D-8083-533EC2E99B74}"/>
            </c:ext>
          </c:extLst>
        </c:ser>
        <c:dLbls>
          <c:showLegendKey val="0"/>
          <c:showVal val="0"/>
          <c:showCatName val="0"/>
          <c:showSerName val="0"/>
          <c:showPercent val="0"/>
          <c:showBubbleSize val="0"/>
        </c:dLbls>
        <c:smooth val="0"/>
        <c:axId val="319428864"/>
        <c:axId val="319500288"/>
      </c:lineChart>
      <c:dateAx>
        <c:axId val="319428864"/>
        <c:scaling>
          <c:orientation val="minMax"/>
          <c:max val="46023"/>
        </c:scaling>
        <c:delete val="0"/>
        <c:axPos val="b"/>
        <c:numFmt formatCode="yyyy" sourceLinked="0"/>
        <c:majorTickMark val="none"/>
        <c:minorTickMark val="none"/>
        <c:tickLblPos val="nextTo"/>
        <c:spPr>
          <a:ln w="25400">
            <a:solidFill>
              <a:schemeClr val="tx1"/>
            </a:solidFill>
          </a:ln>
        </c:spPr>
        <c:crossAx val="319500288"/>
        <c:crosses val="autoZero"/>
        <c:auto val="1"/>
        <c:lblOffset val="100"/>
        <c:baseTimeUnit val="months"/>
        <c:majorUnit val="2"/>
        <c:majorTimeUnit val="years"/>
      </c:dateAx>
      <c:valAx>
        <c:axId val="319500288"/>
        <c:scaling>
          <c:orientation val="minMax"/>
          <c:max val="1.2"/>
          <c:min val="0.70000000000000007"/>
        </c:scaling>
        <c:delete val="0"/>
        <c:axPos val="l"/>
        <c:majorGridlines>
          <c:spPr>
            <a:ln w="6350" cap="flat" cmpd="sng" algn="ctr">
              <a:solidFill>
                <a:srgbClr val="8E8D83">
                  <a:lumMod val="100000"/>
                </a:srgbClr>
              </a:solidFill>
              <a:prstDash val="solid"/>
              <a:round/>
              <a:headEnd type="none" w="med" len="med"/>
              <a:tailEnd type="none" w="med" len="med"/>
            </a:ln>
          </c:spPr>
        </c:majorGridlines>
        <c:numFmt formatCode="0.0\x" sourceLinked="0"/>
        <c:majorTickMark val="none"/>
        <c:minorTickMark val="none"/>
        <c:tickLblPos val="nextTo"/>
        <c:spPr>
          <a:ln>
            <a:noFill/>
          </a:ln>
        </c:spPr>
        <c:crossAx val="319428864"/>
        <c:crosses val="autoZero"/>
        <c:crossBetween val="between"/>
        <c:majorUnit val="0.1"/>
      </c:valAx>
    </c:plotArea>
    <c:legend>
      <c:legendPos val="b"/>
      <c:layout>
        <c:manualLayout>
          <c:xMode val="edge"/>
          <c:yMode val="edge"/>
          <c:x val="0.21598179133858267"/>
          <c:y val="0.92920220909886253"/>
          <c:w val="0.61664752843394577"/>
          <c:h val="6.7325568678915135E-2"/>
        </c:manualLayout>
      </c:layout>
      <c:overlay val="0"/>
    </c:legend>
    <c:plotVisOnly val="1"/>
    <c:dispBlanksAs val="gap"/>
    <c:showDLblsOverMax val="0"/>
  </c:chart>
  <c:spPr>
    <a:ln>
      <a:noFill/>
    </a:ln>
  </c:spPr>
  <c:txPr>
    <a:bodyPr/>
    <a:lstStyle/>
    <a:p>
      <a:pPr>
        <a:defRPr sz="12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8E8D83"/>
            </a:solidFill>
            <a:ln>
              <a:noFill/>
            </a:ln>
            <a:effectLst/>
          </c:spPr>
          <c:invertIfNegative val="0"/>
          <c:cat>
            <c:strRef>
              <c:f>'NII &amp; Credit'!$G$10:$R$10</c:f>
              <c:strCache>
                <c:ptCount val="12"/>
                <c:pt idx="0">
                  <c:v>1Q24</c:v>
                </c:pt>
                <c:pt idx="1">
                  <c:v>2Q24</c:v>
                </c:pt>
                <c:pt idx="2">
                  <c:v>3Q24</c:v>
                </c:pt>
                <c:pt idx="3">
                  <c:v>4Q24</c:v>
                </c:pt>
                <c:pt idx="4">
                  <c:v>1Q25</c:v>
                </c:pt>
                <c:pt idx="5">
                  <c:v>2Q25</c:v>
                </c:pt>
                <c:pt idx="6">
                  <c:v>3Q25</c:v>
                </c:pt>
                <c:pt idx="7">
                  <c:v>4Q25E</c:v>
                </c:pt>
                <c:pt idx="8">
                  <c:v>1Q26E</c:v>
                </c:pt>
                <c:pt idx="9">
                  <c:v>2Q26E</c:v>
                </c:pt>
                <c:pt idx="10">
                  <c:v>3Q26E</c:v>
                </c:pt>
                <c:pt idx="11">
                  <c:v>4Q26E</c:v>
                </c:pt>
              </c:strCache>
            </c:strRef>
          </c:cat>
          <c:val>
            <c:numRef>
              <c:f>'NII &amp; Credit'!$G$27:$R$27</c:f>
              <c:numCache>
                <c:formatCode>_(* #,##0_);_(* \(#,##0\);_(* "-"??_);_(@_)</c:formatCode>
                <c:ptCount val="12"/>
                <c:pt idx="0">
                  <c:v>81154</c:v>
                </c:pt>
                <c:pt idx="1">
                  <c:v>82149</c:v>
                </c:pt>
                <c:pt idx="2">
                  <c:v>83313</c:v>
                </c:pt>
                <c:pt idx="3">
                  <c:v>83022</c:v>
                </c:pt>
                <c:pt idx="4">
                  <c:v>84938</c:v>
                </c:pt>
                <c:pt idx="5">
                  <c:v>86817</c:v>
                </c:pt>
                <c:pt idx="6">
                  <c:v>89931</c:v>
                </c:pt>
                <c:pt idx="7">
                  <c:v>89864.707454264761</c:v>
                </c:pt>
                <c:pt idx="8">
                  <c:v>92018.929462774293</c:v>
                </c:pt>
                <c:pt idx="9">
                  <c:v>93950.174167575024</c:v>
                </c:pt>
                <c:pt idx="10">
                  <c:v>95321.946307560705</c:v>
                </c:pt>
                <c:pt idx="11">
                  <c:v>94483.292977509554</c:v>
                </c:pt>
              </c:numCache>
            </c:numRef>
          </c:val>
          <c:extLst>
            <c:ext xmlns:c16="http://schemas.microsoft.com/office/drawing/2014/chart" uri="{C3380CC4-5D6E-409C-BE32-E72D297353CC}">
              <c16:uniqueId val="{00000000-EA9A-42AE-9592-5748C88C93AC}"/>
            </c:ext>
          </c:extLst>
        </c:ser>
        <c:dLbls>
          <c:showLegendKey val="0"/>
          <c:showVal val="0"/>
          <c:showCatName val="0"/>
          <c:showSerName val="0"/>
          <c:showPercent val="0"/>
          <c:showBubbleSize val="0"/>
        </c:dLbls>
        <c:gapWidth val="70"/>
        <c:overlap val="-27"/>
        <c:axId val="702161184"/>
        <c:axId val="702144384"/>
      </c:barChart>
      <c:catAx>
        <c:axId val="702161184"/>
        <c:scaling>
          <c:orientation val="minMax"/>
        </c:scaling>
        <c:delete val="0"/>
        <c:axPos val="b"/>
        <c:numFmt formatCode="General" sourceLinked="1"/>
        <c:majorTickMark val="none"/>
        <c:minorTickMark val="none"/>
        <c:tickLblPos val="nextTo"/>
        <c:spPr>
          <a:noFill/>
          <a:ln w="25400"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Frutiger 45 Light" panose="020B0603020202020204" pitchFamily="34" charset="0"/>
                <a:ea typeface="+mn-ea"/>
                <a:cs typeface="+mn-cs"/>
              </a:defRPr>
            </a:pPr>
            <a:endParaRPr lang="en-US"/>
          </a:p>
        </c:txPr>
        <c:crossAx val="702144384"/>
        <c:crosses val="autoZero"/>
        <c:auto val="1"/>
        <c:lblAlgn val="ctr"/>
        <c:lblOffset val="100"/>
        <c:tickLblSkip val="2"/>
        <c:noMultiLvlLbl val="0"/>
      </c:catAx>
      <c:valAx>
        <c:axId val="702144384"/>
        <c:scaling>
          <c:orientation val="minMax"/>
        </c:scaling>
        <c:delete val="0"/>
        <c:axPos val="l"/>
        <c:majorGridlines>
          <c:spPr>
            <a:ln w="6350" cap="flat" cmpd="sng" algn="ctr">
              <a:solidFill>
                <a:srgbClr val="B8B3A2"/>
              </a:solidFill>
              <a:prstDash val="solid"/>
              <a:round/>
              <a:headEnd type="none" w="med" len="med"/>
              <a:tailEnd type="none" w="med" len="med"/>
            </a:ln>
            <a:effectLst/>
          </c:spPr>
        </c:majorGridlines>
        <c:numFmt formatCode="#,##0&quot;&quot;"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Frutiger 45 Light" panose="020B0603020202020204" pitchFamily="34" charset="0"/>
                <a:ea typeface="+mn-ea"/>
                <a:cs typeface="+mn-cs"/>
              </a:defRPr>
            </a:pPr>
            <a:endParaRPr lang="en-US"/>
          </a:p>
        </c:txPr>
        <c:crossAx val="702161184"/>
        <c:crosses val="autoZero"/>
        <c:crossBetween val="between"/>
        <c:dispUnits>
          <c:builtInUnit val="thousand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Frutiger 45 Light" panose="020B0603020202020204" pitchFamily="34" charset="0"/>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8E8D83"/>
            </a:solidFill>
            <a:ln>
              <a:noFill/>
            </a:ln>
            <a:effectLst/>
            <a:extLst>
              <a:ext uri="{91240B29-F687-4F45-9708-019B960494DF}">
                <a14:hiddenLine xmlns:a14="http://schemas.microsoft.com/office/drawing/2010/main">
                  <a:noFill/>
                </a14:hiddenLine>
              </a:ext>
            </a:extLst>
          </c:spPr>
          <c:invertIfNegative val="0"/>
          <c:cat>
            <c:strRef>
              <c:f>FMA!$F$4:$J$4</c:f>
              <c:strCache>
                <c:ptCount val="5"/>
                <c:pt idx="0">
                  <c:v>2023</c:v>
                </c:pt>
                <c:pt idx="1">
                  <c:v>2024</c:v>
                </c:pt>
                <c:pt idx="2">
                  <c:v>2025E</c:v>
                </c:pt>
                <c:pt idx="3">
                  <c:v>2026E</c:v>
                </c:pt>
                <c:pt idx="4">
                  <c:v>2027E</c:v>
                </c:pt>
              </c:strCache>
            </c:strRef>
          </c:cat>
          <c:val>
            <c:numRef>
              <c:f>FMA!$F$5:$J$5</c:f>
              <c:numCache>
                <c:formatCode>#,##0</c:formatCode>
                <c:ptCount val="5"/>
                <c:pt idx="0">
                  <c:v>159399.77560537099</c:v>
                </c:pt>
                <c:pt idx="1">
                  <c:v>162013.88703868599</c:v>
                </c:pt>
                <c:pt idx="2">
                  <c:v>129993.59093463499</c:v>
                </c:pt>
                <c:pt idx="3">
                  <c:v>166577.424255152</c:v>
                </c:pt>
                <c:pt idx="4">
                  <c:v>204147.86418934201</c:v>
                </c:pt>
              </c:numCache>
            </c:numRef>
          </c:val>
          <c:extLst>
            <c:ext xmlns:c16="http://schemas.microsoft.com/office/drawing/2014/chart" uri="{C3380CC4-5D6E-409C-BE32-E72D297353CC}">
              <c16:uniqueId val="{00000000-05EC-4DA4-B751-FD5C63299532}"/>
            </c:ext>
          </c:extLst>
        </c:ser>
        <c:dLbls>
          <c:showLegendKey val="0"/>
          <c:showVal val="0"/>
          <c:showCatName val="0"/>
          <c:showSerName val="0"/>
          <c:showPercent val="0"/>
          <c:showBubbleSize val="0"/>
        </c:dLbls>
        <c:gapWidth val="50"/>
        <c:axId val="1841073071"/>
        <c:axId val="1841056751"/>
      </c:barChart>
      <c:catAx>
        <c:axId val="1841073071"/>
        <c:scaling>
          <c:orientation val="minMax"/>
        </c:scaling>
        <c:delete val="0"/>
        <c:axPos val="b"/>
        <c:numFmt formatCode="General" sourceLinked="1"/>
        <c:majorTickMark val="none"/>
        <c:minorTickMark val="none"/>
        <c:tickLblPos val="nextTo"/>
        <c:spPr>
          <a:noFill/>
          <a:ln w="254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crossAx val="1841056751"/>
        <c:crosses val="autoZero"/>
        <c:auto val="1"/>
        <c:lblAlgn val="ctr"/>
        <c:lblOffset val="100"/>
        <c:noMultiLvlLbl val="0"/>
      </c:catAx>
      <c:valAx>
        <c:axId val="1841056751"/>
        <c:scaling>
          <c:orientation val="minMax"/>
          <c:min val="80000"/>
        </c:scaling>
        <c:delete val="0"/>
        <c:axPos val="l"/>
        <c:majorGridlines>
          <c:spPr>
            <a:ln w="6350" cap="flat" cmpd="sng" algn="ctr">
              <a:solidFill>
                <a:srgbClr val="B8B3A2"/>
              </a:solidFill>
              <a:prstDash val="solid"/>
              <a:round/>
              <a:headEnd type="none" w="med" len="med"/>
              <a:tailEnd type="none" w="med" len="me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crossAx val="1841073071"/>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Frutiger 45 Light" panose="020B0603020202020204" pitchFamily="34" charset="0"/>
          <a:ea typeface="+mn-ea"/>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467040927834986E-2"/>
          <c:y val="4.8742782152230969E-2"/>
          <c:w val="0.86512555553296921"/>
          <c:h val="0.70633149112306914"/>
        </c:manualLayout>
      </c:layout>
      <c:barChart>
        <c:barDir val="col"/>
        <c:grouping val="stacked"/>
        <c:varyColors val="0"/>
        <c:ser>
          <c:idx val="4"/>
          <c:order val="0"/>
          <c:tx>
            <c:strRef>
              <c:f>Investment!$K$3</c:f>
              <c:strCache>
                <c:ptCount val="1"/>
                <c:pt idx="0">
                  <c:v>Defense spending (increase vs. 2024)</c:v>
                </c:pt>
              </c:strCache>
            </c:strRef>
          </c:tx>
          <c:spPr>
            <a:solidFill>
              <a:srgbClr val="8E8D83"/>
            </a:solidFill>
          </c:spPr>
          <c:invertIfNegative val="0"/>
          <c:cat>
            <c:strRef>
              <c:f>Investment!$A$29:$A$33</c:f>
              <c:strCache>
                <c:ptCount val="5"/>
                <c:pt idx="0">
                  <c:v>2025</c:v>
                </c:pt>
                <c:pt idx="1">
                  <c:v>2026</c:v>
                </c:pt>
                <c:pt idx="2">
                  <c:v>2027</c:v>
                </c:pt>
                <c:pt idx="3">
                  <c:v>2028</c:v>
                </c:pt>
                <c:pt idx="4">
                  <c:v>2029</c:v>
                </c:pt>
              </c:strCache>
            </c:strRef>
          </c:cat>
          <c:val>
            <c:numRef>
              <c:f>Investment!$K$29:$K$33</c:f>
              <c:numCache>
                <c:formatCode>0.00</c:formatCode>
                <c:ptCount val="5"/>
                <c:pt idx="0">
                  <c:v>0.33138772991916299</c:v>
                </c:pt>
                <c:pt idx="1">
                  <c:v>0.74608952807676876</c:v>
                </c:pt>
                <c:pt idx="2">
                  <c:v>0.91661652611600153</c:v>
                </c:pt>
                <c:pt idx="3">
                  <c:v>1.1729035612613787</c:v>
                </c:pt>
                <c:pt idx="4">
                  <c:v>1.4167407004358019</c:v>
                </c:pt>
              </c:numCache>
            </c:numRef>
          </c:val>
          <c:extLst>
            <c:ext xmlns:c16="http://schemas.microsoft.com/office/drawing/2014/chart" uri="{C3380CC4-5D6E-409C-BE32-E72D297353CC}">
              <c16:uniqueId val="{00000000-A8A1-41EA-984C-71A6D65C67DE}"/>
            </c:ext>
          </c:extLst>
        </c:ser>
        <c:ser>
          <c:idx val="3"/>
          <c:order val="1"/>
          <c:tx>
            <c:strRef>
              <c:f>Investment!$F$3</c:f>
              <c:strCache>
                <c:ptCount val="1"/>
                <c:pt idx="0">
                  <c:v>Investment expenditure - infrastructure fund</c:v>
                </c:pt>
              </c:strCache>
            </c:strRef>
          </c:tx>
          <c:spPr>
            <a:solidFill>
              <a:srgbClr val="BD000C"/>
            </a:solidFill>
            <a:ln>
              <a:noFill/>
            </a:ln>
            <a:effectLst/>
          </c:spPr>
          <c:invertIfNegative val="0"/>
          <c:cat>
            <c:strRef>
              <c:f>Investment!$A$29:$A$33</c:f>
              <c:strCache>
                <c:ptCount val="5"/>
                <c:pt idx="0">
                  <c:v>2025</c:v>
                </c:pt>
                <c:pt idx="1">
                  <c:v>2026</c:v>
                </c:pt>
                <c:pt idx="2">
                  <c:v>2027</c:v>
                </c:pt>
                <c:pt idx="3">
                  <c:v>2028</c:v>
                </c:pt>
                <c:pt idx="4">
                  <c:v>2029</c:v>
                </c:pt>
              </c:strCache>
            </c:strRef>
          </c:cat>
          <c:val>
            <c:numRef>
              <c:f>Investment!$I$29:$I$33</c:f>
              <c:numCache>
                <c:formatCode>0.0</c:formatCode>
                <c:ptCount val="5"/>
                <c:pt idx="0">
                  <c:v>0.61280503789291296</c:v>
                </c:pt>
                <c:pt idx="1">
                  <c:v>1.0780088185089485</c:v>
                </c:pt>
                <c:pt idx="2">
                  <c:v>1.0022317210808271</c:v>
                </c:pt>
                <c:pt idx="3">
                  <c:v>0.99622607333582391</c:v>
                </c:pt>
                <c:pt idx="4">
                  <c:v>0.98185072875475599</c:v>
                </c:pt>
              </c:numCache>
            </c:numRef>
          </c:val>
          <c:extLst>
            <c:ext xmlns:c16="http://schemas.microsoft.com/office/drawing/2014/chart" uri="{C3380CC4-5D6E-409C-BE32-E72D297353CC}">
              <c16:uniqueId val="{00000001-A8A1-41EA-984C-71A6D65C67DE}"/>
            </c:ext>
          </c:extLst>
        </c:ser>
        <c:dLbls>
          <c:showLegendKey val="0"/>
          <c:showVal val="0"/>
          <c:showCatName val="0"/>
          <c:showSerName val="0"/>
          <c:showPercent val="0"/>
          <c:showBubbleSize val="0"/>
        </c:dLbls>
        <c:gapWidth val="50"/>
        <c:overlap val="100"/>
        <c:axId val="787654592"/>
        <c:axId val="787664672"/>
      </c:barChart>
      <c:catAx>
        <c:axId val="787654592"/>
        <c:scaling>
          <c:orientation val="minMax"/>
        </c:scaling>
        <c:delete val="0"/>
        <c:axPos val="b"/>
        <c:numFmt formatCode="yyyy" sourceLinked="0"/>
        <c:majorTickMark val="none"/>
        <c:minorTickMark val="none"/>
        <c:tickLblPos val="low"/>
        <c:spPr>
          <a:noFill/>
          <a:ln w="6350" cap="flat" cmpd="sng" algn="ctr">
            <a:solidFill>
              <a:srgbClr val="ECEBE4"/>
            </a:solidFill>
            <a:prstDash val="solid"/>
            <a:round/>
            <a:headEnd type="none" w="med" len="med"/>
            <a:tailEnd type="none" w="med" len="med"/>
          </a:ln>
          <a:effectLst/>
        </c:spPr>
        <c:txPr>
          <a:bodyPr rot="-60000000" vert="horz"/>
          <a:lstStyle/>
          <a:p>
            <a:pPr>
              <a:defRPr>
                <a:solidFill>
                  <a:schemeClr val="tx1">
                    <a:lumMod val="65000"/>
                    <a:lumOff val="35000"/>
                  </a:schemeClr>
                </a:solidFill>
              </a:defRPr>
            </a:pPr>
            <a:endParaRPr lang="en-US"/>
          </a:p>
        </c:txPr>
        <c:crossAx val="787664672"/>
        <c:crosses val="autoZero"/>
        <c:auto val="1"/>
        <c:lblAlgn val="ctr"/>
        <c:lblOffset val="100"/>
        <c:tickLblSkip val="1"/>
        <c:noMultiLvlLbl val="0"/>
      </c:catAx>
      <c:valAx>
        <c:axId val="787664672"/>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0" sourceLinked="0"/>
        <c:majorTickMark val="none"/>
        <c:minorTickMark val="none"/>
        <c:tickLblPos val="nextTo"/>
        <c:spPr>
          <a:noFill/>
          <a:ln>
            <a:noFill/>
          </a:ln>
          <a:effectLst/>
          <a:extLst>
            <a:ext uri="{91240B29-F687-4F45-9708-019B960494DF}">
              <a14:hiddenLine xmlns:a14="http://schemas.microsoft.com/office/drawing/2010/main">
                <a:noFill/>
              </a14:hiddenLine>
            </a:ext>
          </a:extLst>
        </c:spPr>
        <c:txPr>
          <a:bodyPr rot="-60000000" vert="horz"/>
          <a:lstStyle/>
          <a:p>
            <a:pPr>
              <a:defRPr>
                <a:solidFill>
                  <a:schemeClr val="tx1">
                    <a:lumMod val="65000"/>
                    <a:lumOff val="35000"/>
                  </a:schemeClr>
                </a:solidFill>
              </a:defRPr>
            </a:pPr>
            <a:endParaRPr lang="en-US"/>
          </a:p>
        </c:txPr>
        <c:crossAx val="787654592"/>
        <c:crosses val="autoZero"/>
        <c:crossBetween val="between"/>
      </c:valAx>
    </c:plotArea>
    <c:legend>
      <c:legendPos val="b"/>
      <c:layout>
        <c:manualLayout>
          <c:xMode val="edge"/>
          <c:yMode val="edge"/>
          <c:x val="0"/>
          <c:y val="0.86172902166385912"/>
          <c:w val="0.99638509331642511"/>
          <c:h val="0.13827090238008408"/>
        </c:manualLayout>
      </c:layout>
      <c:overlay val="0"/>
      <c:spPr>
        <a:noFill/>
        <a:ln>
          <a:noFill/>
        </a:ln>
        <a:effectLst/>
      </c:spPr>
      <c:txPr>
        <a:bodyPr rot="0" vert="horz"/>
        <a:lstStyle/>
        <a:p>
          <a:pPr>
            <a:defRPr>
              <a:solidFill>
                <a:schemeClr val="tx1">
                  <a:lumMod val="65000"/>
                  <a:lumOff val="35000"/>
                </a:schemeClr>
              </a:solidFill>
            </a:defRPr>
          </a:pPr>
          <a:endParaRPr lang="en-US"/>
        </a:p>
      </c:txPr>
    </c:legend>
    <c:plotVisOnly val="1"/>
    <c:dispBlanksAs val="gap"/>
    <c:showDLblsOverMax val="0"/>
    <c:extLst/>
  </c:chart>
  <c:spPr>
    <a:solidFill>
      <a:sysClr val="window" lastClr="FFFFFF"/>
    </a:solidFill>
    <a:ln w="25400"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latin typeface="Frutiger 45 Light" panose="020B0603020202020204" pitchFamily="34"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GDPQ!$A$6</c:f>
              <c:strCache>
                <c:ptCount val="1"/>
                <c:pt idx="0">
                  <c:v>Germany</c:v>
                </c:pt>
              </c:strCache>
            </c:strRef>
          </c:tx>
          <c:spPr>
            <a:ln w="28575" cap="rnd" cmpd="sng" algn="ctr">
              <a:solidFill>
                <a:srgbClr val="8E8D83"/>
              </a:solidFill>
              <a:prstDash val="solid"/>
              <a:round/>
              <a:headEnd type="none" w="med" len="med"/>
              <a:tailEnd type="none" w="med" len="med"/>
            </a:ln>
            <a:effectLst/>
          </c:spPr>
          <c:marker>
            <c:symbol val="none"/>
          </c:marker>
          <c:cat>
            <c:numRef>
              <c:f>GDPQ!$DB$1:$DY$1</c:f>
              <c:numCache>
                <c:formatCode>General</c:formatCode>
                <c:ptCount val="24"/>
                <c:pt idx="0" formatCode="0">
                  <c:v>2022</c:v>
                </c:pt>
                <c:pt idx="4" formatCode="0">
                  <c:v>2023</c:v>
                </c:pt>
                <c:pt idx="8" formatCode="0">
                  <c:v>2024</c:v>
                </c:pt>
                <c:pt idx="12" formatCode="0">
                  <c:v>2025</c:v>
                </c:pt>
                <c:pt idx="16" formatCode="0">
                  <c:v>2026</c:v>
                </c:pt>
                <c:pt idx="20" formatCode="0">
                  <c:v>2027</c:v>
                </c:pt>
              </c:numCache>
            </c:numRef>
          </c:cat>
          <c:val>
            <c:numRef>
              <c:f>GDPQ!$DB$6:$DY$6</c:f>
              <c:numCache>
                <c:formatCode>0.0</c:formatCode>
                <c:ptCount val="24"/>
                <c:pt idx="0">
                  <c:v>3.6879966255115804</c:v>
                </c:pt>
                <c:pt idx="1">
                  <c:v>1.4602523975539849</c:v>
                </c:pt>
                <c:pt idx="2">
                  <c:v>1.6704319084767993</c:v>
                </c:pt>
                <c:pt idx="3">
                  <c:v>0.77374363515607669</c:v>
                </c:pt>
                <c:pt idx="4">
                  <c:v>-0.37712199841674066</c:v>
                </c:pt>
                <c:pt idx="5">
                  <c:v>-0.60379844110221015</c:v>
                </c:pt>
                <c:pt idx="6">
                  <c:v>-0.89537862037261107</c:v>
                </c:pt>
                <c:pt idx="7">
                  <c:v>-0.82272432693680786</c:v>
                </c:pt>
                <c:pt idx="8">
                  <c:v>-0.45911554039886893</c:v>
                </c:pt>
                <c:pt idx="9">
                  <c:v>-0.64060083940798984</c:v>
                </c:pt>
                <c:pt idx="10">
                  <c:v>-0.62072012370223417</c:v>
                </c:pt>
                <c:pt idx="11">
                  <c:v>-0.16502381216081385</c:v>
                </c:pt>
                <c:pt idx="12">
                  <c:v>0.24946503608926918</c:v>
                </c:pt>
                <c:pt idx="13">
                  <c:v>0.2979101823032293</c:v>
                </c:pt>
                <c:pt idx="14">
                  <c:v>0.27784569561448702</c:v>
                </c:pt>
                <c:pt idx="15">
                  <c:v>0.15870912678179749</c:v>
                </c:pt>
                <c:pt idx="16">
                  <c:v>0.15943302161611772</c:v>
                </c:pt>
                <c:pt idx="17">
                  <c:v>0.90212497199999575</c:v>
                </c:pt>
                <c:pt idx="18">
                  <c:v>1.4369062343515981</c:v>
                </c:pt>
                <c:pt idx="19">
                  <c:v>1.8424105566956062</c:v>
                </c:pt>
                <c:pt idx="20">
                  <c:v>1.9439483538608027</c:v>
                </c:pt>
                <c:pt idx="21">
                  <c:v>1.7817141014575988</c:v>
                </c:pt>
                <c:pt idx="22">
                  <c:v>1.609597405971197</c:v>
                </c:pt>
                <c:pt idx="23">
                  <c:v>1.4477664724160011</c:v>
                </c:pt>
              </c:numCache>
            </c:numRef>
          </c:val>
          <c:smooth val="0"/>
          <c:extLst>
            <c:ext xmlns:c16="http://schemas.microsoft.com/office/drawing/2014/chart" uri="{C3380CC4-5D6E-409C-BE32-E72D297353CC}">
              <c16:uniqueId val="{00000000-20F8-466C-9FBD-E3FCAEC819BD}"/>
            </c:ext>
          </c:extLst>
        </c:ser>
        <c:ser>
          <c:idx val="1"/>
          <c:order val="1"/>
          <c:tx>
            <c:strRef>
              <c:f>GDPQ!$A$43</c:f>
              <c:strCache>
                <c:ptCount val="1"/>
                <c:pt idx="0">
                  <c:v>Eurozone</c:v>
                </c:pt>
              </c:strCache>
            </c:strRef>
          </c:tx>
          <c:spPr>
            <a:ln w="28575" cap="rnd" cmpd="sng" algn="ctr">
              <a:solidFill>
                <a:srgbClr val="BD000C"/>
              </a:solidFill>
              <a:prstDash val="solid"/>
              <a:round/>
              <a:headEnd type="none" w="med" len="med"/>
              <a:tailEnd type="none" w="med" len="med"/>
            </a:ln>
            <a:effectLst/>
          </c:spPr>
          <c:marker>
            <c:symbol val="none"/>
          </c:marker>
          <c:cat>
            <c:numRef>
              <c:f>GDPQ!$DB$1:$DY$1</c:f>
              <c:numCache>
                <c:formatCode>General</c:formatCode>
                <c:ptCount val="24"/>
                <c:pt idx="0" formatCode="0">
                  <c:v>2022</c:v>
                </c:pt>
                <c:pt idx="4" formatCode="0">
                  <c:v>2023</c:v>
                </c:pt>
                <c:pt idx="8" formatCode="0">
                  <c:v>2024</c:v>
                </c:pt>
                <c:pt idx="12" formatCode="0">
                  <c:v>2025</c:v>
                </c:pt>
                <c:pt idx="16" formatCode="0">
                  <c:v>2026</c:v>
                </c:pt>
                <c:pt idx="20" formatCode="0">
                  <c:v>2027</c:v>
                </c:pt>
              </c:numCache>
            </c:numRef>
          </c:cat>
          <c:val>
            <c:numRef>
              <c:f>GDPQ!$DB$43:$DY$43</c:f>
              <c:numCache>
                <c:formatCode>0.0</c:formatCode>
                <c:ptCount val="24"/>
                <c:pt idx="0">
                  <c:v>5.5744391140390981</c:v>
                </c:pt>
                <c:pt idx="1">
                  <c:v>4.2984191236482561</c:v>
                </c:pt>
                <c:pt idx="2">
                  <c:v>2.9560929286759796</c:v>
                </c:pt>
                <c:pt idx="3">
                  <c:v>2.0810535972853206</c:v>
                </c:pt>
                <c:pt idx="4">
                  <c:v>1.3247151954242531</c:v>
                </c:pt>
                <c:pt idx="5">
                  <c:v>0.5828139226704776</c:v>
                </c:pt>
                <c:pt idx="6">
                  <c:v>0.1061993513716164</c:v>
                </c:pt>
                <c:pt idx="7">
                  <c:v>0.22957391003886052</c:v>
                </c:pt>
                <c:pt idx="8">
                  <c:v>0.5160767647733655</c:v>
                </c:pt>
                <c:pt idx="9">
                  <c:v>0.54422698320069074</c:v>
                </c:pt>
                <c:pt idx="10">
                  <c:v>0.98179893173924171</c:v>
                </c:pt>
                <c:pt idx="11">
                  <c:v>1.3381879948174857</c:v>
                </c:pt>
                <c:pt idx="12">
                  <c:v>1.6322975887678837</c:v>
                </c:pt>
                <c:pt idx="13">
                  <c:v>1.5327630614141219</c:v>
                </c:pt>
                <c:pt idx="14">
                  <c:v>1.3473948877518183</c:v>
                </c:pt>
                <c:pt idx="15">
                  <c:v>1.0162762038927964</c:v>
                </c:pt>
                <c:pt idx="16">
                  <c:v>0.70097113161726732</c:v>
                </c:pt>
                <c:pt idx="17">
                  <c:v>0.97539355485387613</c:v>
                </c:pt>
                <c:pt idx="18">
                  <c:v>1.1848830992999604</c:v>
                </c:pt>
                <c:pt idx="19">
                  <c:v>1.5184596369899772</c:v>
                </c:pt>
                <c:pt idx="20">
                  <c:v>1.6298514630255889</c:v>
                </c:pt>
                <c:pt idx="21">
                  <c:v>1.5286265113691799</c:v>
                </c:pt>
                <c:pt idx="22">
                  <c:v>1.3972044119319849</c:v>
                </c:pt>
                <c:pt idx="23">
                  <c:v>1.2053745917759873</c:v>
                </c:pt>
              </c:numCache>
            </c:numRef>
          </c:val>
          <c:smooth val="0"/>
          <c:extLst>
            <c:ext xmlns:c16="http://schemas.microsoft.com/office/drawing/2014/chart" uri="{C3380CC4-5D6E-409C-BE32-E72D297353CC}">
              <c16:uniqueId val="{00000001-20F8-466C-9FBD-E3FCAEC819BD}"/>
            </c:ext>
          </c:extLst>
        </c:ser>
        <c:dLbls>
          <c:showLegendKey val="0"/>
          <c:showVal val="0"/>
          <c:showCatName val="0"/>
          <c:showSerName val="0"/>
          <c:showPercent val="0"/>
          <c:showBubbleSize val="0"/>
        </c:dLbls>
        <c:smooth val="0"/>
        <c:axId val="842311920"/>
        <c:axId val="842304240"/>
      </c:lineChart>
      <c:catAx>
        <c:axId val="842311920"/>
        <c:scaling>
          <c:orientation val="minMax"/>
        </c:scaling>
        <c:delete val="0"/>
        <c:axPos val="b"/>
        <c:numFmt formatCode="0" sourceLinked="1"/>
        <c:majorTickMark val="none"/>
        <c:minorTickMark val="none"/>
        <c:tickLblPos val="low"/>
        <c:spPr>
          <a:noFill/>
          <a:ln w="6350" cap="flat" cmpd="sng" algn="ctr">
            <a:solidFill>
              <a:srgbClr val="ECEBE4"/>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42304240"/>
        <c:crosses val="autoZero"/>
        <c:auto val="1"/>
        <c:lblAlgn val="ctr"/>
        <c:lblOffset val="100"/>
        <c:noMultiLvlLbl val="0"/>
      </c:catAx>
      <c:valAx>
        <c:axId val="842304240"/>
        <c:scaling>
          <c:orientation val="minMax"/>
          <c:max val="3"/>
        </c:scaling>
        <c:delete val="0"/>
        <c:axPos val="l"/>
        <c:majorGridlines>
          <c:spPr>
            <a:ln w="9525" cap="flat" cmpd="sng" algn="ctr">
              <a:solidFill>
                <a:schemeClr val="bg1">
                  <a:lumMod val="9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42311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userShapes r:id="rId4"/>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91640433810223"/>
          <c:y val="4.7501919858740187E-2"/>
          <c:w val="0.80578536562235747"/>
          <c:h val="0.61144642128463089"/>
        </c:manualLayout>
      </c:layout>
      <c:lineChart>
        <c:grouping val="standard"/>
        <c:varyColors val="0"/>
        <c:ser>
          <c:idx val="1"/>
          <c:order val="0"/>
          <c:tx>
            <c:strRef>
              <c:f>'EMU earnings vs PMIs'!$N$10</c:f>
              <c:strCache>
                <c:ptCount val="1"/>
                <c:pt idx="0">
                  <c:v>MSCI EMU Yr/Yr earnings growth, and UBS CIO forecasts in red (LHS)</c:v>
                </c:pt>
              </c:strCache>
            </c:strRef>
          </c:tx>
          <c:spPr>
            <a:ln w="28575" cap="rnd">
              <a:solidFill>
                <a:srgbClr val="BD000C"/>
              </a:solidFill>
              <a:round/>
            </a:ln>
            <a:effectLst/>
          </c:spPr>
          <c:marker>
            <c:symbol val="none"/>
          </c:marker>
          <c:dPt>
            <c:idx val="310"/>
            <c:marker>
              <c:symbol val="none"/>
            </c:marker>
            <c:bubble3D val="0"/>
            <c:spPr>
              <a:ln w="28575" cap="rnd">
                <a:solidFill>
                  <a:srgbClr val="BD000C"/>
                </a:solidFill>
                <a:prstDash val="sysDot"/>
                <a:round/>
              </a:ln>
              <a:effectLst/>
            </c:spPr>
            <c:extLst>
              <c:ext xmlns:c16="http://schemas.microsoft.com/office/drawing/2014/chart" uri="{C3380CC4-5D6E-409C-BE32-E72D297353CC}">
                <c16:uniqueId val="{00000001-294B-434F-919B-D90734D3D6E9}"/>
              </c:ext>
            </c:extLst>
          </c:dPt>
          <c:dPt>
            <c:idx val="311"/>
            <c:marker>
              <c:symbol val="none"/>
            </c:marker>
            <c:bubble3D val="0"/>
            <c:spPr>
              <a:ln w="28575" cap="rnd">
                <a:solidFill>
                  <a:srgbClr val="BD000C"/>
                </a:solidFill>
                <a:prstDash val="sysDot"/>
                <a:round/>
              </a:ln>
              <a:effectLst/>
            </c:spPr>
            <c:extLst>
              <c:ext xmlns:c16="http://schemas.microsoft.com/office/drawing/2014/chart" uri="{C3380CC4-5D6E-409C-BE32-E72D297353CC}">
                <c16:uniqueId val="{00000003-294B-434F-919B-D90734D3D6E9}"/>
              </c:ext>
            </c:extLst>
          </c:dPt>
          <c:cat>
            <c:numRef>
              <c:f>'EMU earnings vs PMIs'!$C$134:$C$447</c:f>
              <c:numCache>
                <c:formatCode>mmm"-"yy</c:formatCode>
                <c:ptCount val="314"/>
                <c:pt idx="0">
                  <c:v>36556</c:v>
                </c:pt>
                <c:pt idx="1">
                  <c:v>36585</c:v>
                </c:pt>
                <c:pt idx="2">
                  <c:v>36616</c:v>
                </c:pt>
                <c:pt idx="3">
                  <c:v>36646</c:v>
                </c:pt>
                <c:pt idx="4">
                  <c:v>36677</c:v>
                </c:pt>
                <c:pt idx="5">
                  <c:v>36707</c:v>
                </c:pt>
                <c:pt idx="6">
                  <c:v>36738</c:v>
                </c:pt>
                <c:pt idx="7">
                  <c:v>36769</c:v>
                </c:pt>
                <c:pt idx="8">
                  <c:v>36799</c:v>
                </c:pt>
                <c:pt idx="9">
                  <c:v>36830</c:v>
                </c:pt>
                <c:pt idx="10">
                  <c:v>36860</c:v>
                </c:pt>
                <c:pt idx="11">
                  <c:v>36891</c:v>
                </c:pt>
                <c:pt idx="12">
                  <c:v>36922</c:v>
                </c:pt>
                <c:pt idx="13">
                  <c:v>36950</c:v>
                </c:pt>
                <c:pt idx="14">
                  <c:v>36981</c:v>
                </c:pt>
                <c:pt idx="15">
                  <c:v>37011</c:v>
                </c:pt>
                <c:pt idx="16">
                  <c:v>37042</c:v>
                </c:pt>
                <c:pt idx="17">
                  <c:v>37072</c:v>
                </c:pt>
                <c:pt idx="18">
                  <c:v>37103</c:v>
                </c:pt>
                <c:pt idx="19">
                  <c:v>37134</c:v>
                </c:pt>
                <c:pt idx="20">
                  <c:v>37164</c:v>
                </c:pt>
                <c:pt idx="21">
                  <c:v>37195</c:v>
                </c:pt>
                <c:pt idx="22">
                  <c:v>37225</c:v>
                </c:pt>
                <c:pt idx="23">
                  <c:v>37256</c:v>
                </c:pt>
                <c:pt idx="24">
                  <c:v>37287</c:v>
                </c:pt>
                <c:pt idx="25">
                  <c:v>37315</c:v>
                </c:pt>
                <c:pt idx="26">
                  <c:v>37346</c:v>
                </c:pt>
                <c:pt idx="27">
                  <c:v>37376</c:v>
                </c:pt>
                <c:pt idx="28">
                  <c:v>37407</c:v>
                </c:pt>
                <c:pt idx="29">
                  <c:v>37437</c:v>
                </c:pt>
                <c:pt idx="30">
                  <c:v>37468</c:v>
                </c:pt>
                <c:pt idx="31">
                  <c:v>37499</c:v>
                </c:pt>
                <c:pt idx="32">
                  <c:v>37529</c:v>
                </c:pt>
                <c:pt idx="33">
                  <c:v>37560</c:v>
                </c:pt>
                <c:pt idx="34">
                  <c:v>37590</c:v>
                </c:pt>
                <c:pt idx="35">
                  <c:v>37621</c:v>
                </c:pt>
                <c:pt idx="36">
                  <c:v>37652</c:v>
                </c:pt>
                <c:pt idx="37">
                  <c:v>37680</c:v>
                </c:pt>
                <c:pt idx="38">
                  <c:v>37711</c:v>
                </c:pt>
                <c:pt idx="39">
                  <c:v>37741</c:v>
                </c:pt>
                <c:pt idx="40">
                  <c:v>37772</c:v>
                </c:pt>
                <c:pt idx="41">
                  <c:v>37802</c:v>
                </c:pt>
                <c:pt idx="42">
                  <c:v>37833</c:v>
                </c:pt>
                <c:pt idx="43">
                  <c:v>37864</c:v>
                </c:pt>
                <c:pt idx="44">
                  <c:v>37894</c:v>
                </c:pt>
                <c:pt idx="45">
                  <c:v>37925</c:v>
                </c:pt>
                <c:pt idx="46">
                  <c:v>37955</c:v>
                </c:pt>
                <c:pt idx="47">
                  <c:v>37986</c:v>
                </c:pt>
                <c:pt idx="48">
                  <c:v>38017</c:v>
                </c:pt>
                <c:pt idx="49">
                  <c:v>38046</c:v>
                </c:pt>
                <c:pt idx="50">
                  <c:v>38077</c:v>
                </c:pt>
                <c:pt idx="51">
                  <c:v>38107</c:v>
                </c:pt>
                <c:pt idx="52">
                  <c:v>38138</c:v>
                </c:pt>
                <c:pt idx="53">
                  <c:v>38168</c:v>
                </c:pt>
                <c:pt idx="54">
                  <c:v>38199</c:v>
                </c:pt>
                <c:pt idx="55">
                  <c:v>38230</c:v>
                </c:pt>
                <c:pt idx="56">
                  <c:v>38260</c:v>
                </c:pt>
                <c:pt idx="57">
                  <c:v>38291</c:v>
                </c:pt>
                <c:pt idx="58">
                  <c:v>38321</c:v>
                </c:pt>
                <c:pt idx="59">
                  <c:v>38352</c:v>
                </c:pt>
                <c:pt idx="60">
                  <c:v>38383</c:v>
                </c:pt>
                <c:pt idx="61">
                  <c:v>38411</c:v>
                </c:pt>
                <c:pt idx="62">
                  <c:v>38442</c:v>
                </c:pt>
                <c:pt idx="63">
                  <c:v>38472</c:v>
                </c:pt>
                <c:pt idx="64">
                  <c:v>38503</c:v>
                </c:pt>
                <c:pt idx="65">
                  <c:v>38533</c:v>
                </c:pt>
                <c:pt idx="66">
                  <c:v>38564</c:v>
                </c:pt>
                <c:pt idx="67">
                  <c:v>38595</c:v>
                </c:pt>
                <c:pt idx="68">
                  <c:v>38625</c:v>
                </c:pt>
                <c:pt idx="69">
                  <c:v>38656</c:v>
                </c:pt>
                <c:pt idx="70">
                  <c:v>38686</c:v>
                </c:pt>
                <c:pt idx="71">
                  <c:v>38717</c:v>
                </c:pt>
                <c:pt idx="72">
                  <c:v>38748</c:v>
                </c:pt>
                <c:pt idx="73">
                  <c:v>38776</c:v>
                </c:pt>
                <c:pt idx="74">
                  <c:v>38807</c:v>
                </c:pt>
                <c:pt idx="75">
                  <c:v>38837</c:v>
                </c:pt>
                <c:pt idx="76">
                  <c:v>38868</c:v>
                </c:pt>
                <c:pt idx="77">
                  <c:v>38898</c:v>
                </c:pt>
                <c:pt idx="78">
                  <c:v>38929</c:v>
                </c:pt>
                <c:pt idx="79">
                  <c:v>38960</c:v>
                </c:pt>
                <c:pt idx="80">
                  <c:v>38990</c:v>
                </c:pt>
                <c:pt idx="81">
                  <c:v>39021</c:v>
                </c:pt>
                <c:pt idx="82">
                  <c:v>39051</c:v>
                </c:pt>
                <c:pt idx="83">
                  <c:v>39082</c:v>
                </c:pt>
                <c:pt idx="84">
                  <c:v>39113</c:v>
                </c:pt>
                <c:pt idx="85">
                  <c:v>39141</c:v>
                </c:pt>
                <c:pt idx="86">
                  <c:v>39172</c:v>
                </c:pt>
                <c:pt idx="87">
                  <c:v>39202</c:v>
                </c:pt>
                <c:pt idx="88">
                  <c:v>39233</c:v>
                </c:pt>
                <c:pt idx="89">
                  <c:v>39263</c:v>
                </c:pt>
                <c:pt idx="90">
                  <c:v>39294</c:v>
                </c:pt>
                <c:pt idx="91">
                  <c:v>39325</c:v>
                </c:pt>
                <c:pt idx="92">
                  <c:v>39355</c:v>
                </c:pt>
                <c:pt idx="93">
                  <c:v>39386</c:v>
                </c:pt>
                <c:pt idx="94">
                  <c:v>39416</c:v>
                </c:pt>
                <c:pt idx="95">
                  <c:v>39447</c:v>
                </c:pt>
                <c:pt idx="96">
                  <c:v>39478</c:v>
                </c:pt>
                <c:pt idx="97">
                  <c:v>39507</c:v>
                </c:pt>
                <c:pt idx="98">
                  <c:v>39538</c:v>
                </c:pt>
                <c:pt idx="99">
                  <c:v>39568</c:v>
                </c:pt>
                <c:pt idx="100">
                  <c:v>39599</c:v>
                </c:pt>
                <c:pt idx="101">
                  <c:v>39629</c:v>
                </c:pt>
                <c:pt idx="102">
                  <c:v>39660</c:v>
                </c:pt>
                <c:pt idx="103">
                  <c:v>39691</c:v>
                </c:pt>
                <c:pt idx="104">
                  <c:v>39721</c:v>
                </c:pt>
                <c:pt idx="105">
                  <c:v>39752</c:v>
                </c:pt>
                <c:pt idx="106">
                  <c:v>39782</c:v>
                </c:pt>
                <c:pt idx="107">
                  <c:v>39813</c:v>
                </c:pt>
                <c:pt idx="108">
                  <c:v>39844</c:v>
                </c:pt>
                <c:pt idx="109">
                  <c:v>39872</c:v>
                </c:pt>
                <c:pt idx="110">
                  <c:v>39903</c:v>
                </c:pt>
                <c:pt idx="111">
                  <c:v>39933</c:v>
                </c:pt>
                <c:pt idx="112">
                  <c:v>39964</c:v>
                </c:pt>
                <c:pt idx="113">
                  <c:v>39994</c:v>
                </c:pt>
                <c:pt idx="114">
                  <c:v>40025</c:v>
                </c:pt>
                <c:pt idx="115">
                  <c:v>40056</c:v>
                </c:pt>
                <c:pt idx="116">
                  <c:v>40086</c:v>
                </c:pt>
                <c:pt idx="117">
                  <c:v>40117</c:v>
                </c:pt>
                <c:pt idx="118">
                  <c:v>40147</c:v>
                </c:pt>
                <c:pt idx="119">
                  <c:v>40178</c:v>
                </c:pt>
                <c:pt idx="120">
                  <c:v>40209</c:v>
                </c:pt>
                <c:pt idx="121">
                  <c:v>40237</c:v>
                </c:pt>
                <c:pt idx="122">
                  <c:v>40268</c:v>
                </c:pt>
                <c:pt idx="123">
                  <c:v>40298</c:v>
                </c:pt>
                <c:pt idx="124">
                  <c:v>40329</c:v>
                </c:pt>
                <c:pt idx="125">
                  <c:v>40359</c:v>
                </c:pt>
                <c:pt idx="126">
                  <c:v>40390</c:v>
                </c:pt>
                <c:pt idx="127">
                  <c:v>40421</c:v>
                </c:pt>
                <c:pt idx="128">
                  <c:v>40451</c:v>
                </c:pt>
                <c:pt idx="129">
                  <c:v>40482</c:v>
                </c:pt>
                <c:pt idx="130">
                  <c:v>40512</c:v>
                </c:pt>
                <c:pt idx="131">
                  <c:v>40543</c:v>
                </c:pt>
                <c:pt idx="132">
                  <c:v>40574</c:v>
                </c:pt>
                <c:pt idx="133">
                  <c:v>40602</c:v>
                </c:pt>
                <c:pt idx="134">
                  <c:v>40633</c:v>
                </c:pt>
                <c:pt idx="135">
                  <c:v>40663</c:v>
                </c:pt>
                <c:pt idx="136">
                  <c:v>40694</c:v>
                </c:pt>
                <c:pt idx="137">
                  <c:v>40724</c:v>
                </c:pt>
                <c:pt idx="138">
                  <c:v>40755</c:v>
                </c:pt>
                <c:pt idx="139">
                  <c:v>40786</c:v>
                </c:pt>
                <c:pt idx="140">
                  <c:v>40816</c:v>
                </c:pt>
                <c:pt idx="141">
                  <c:v>40847</c:v>
                </c:pt>
                <c:pt idx="142">
                  <c:v>40877</c:v>
                </c:pt>
                <c:pt idx="143">
                  <c:v>40908</c:v>
                </c:pt>
                <c:pt idx="144">
                  <c:v>40939</c:v>
                </c:pt>
                <c:pt idx="145">
                  <c:v>40968</c:v>
                </c:pt>
                <c:pt idx="146">
                  <c:v>40999</c:v>
                </c:pt>
                <c:pt idx="147">
                  <c:v>41029</c:v>
                </c:pt>
                <c:pt idx="148">
                  <c:v>41060</c:v>
                </c:pt>
                <c:pt idx="149">
                  <c:v>41090</c:v>
                </c:pt>
                <c:pt idx="150">
                  <c:v>41121</c:v>
                </c:pt>
                <c:pt idx="151">
                  <c:v>41152</c:v>
                </c:pt>
                <c:pt idx="152">
                  <c:v>41182</c:v>
                </c:pt>
                <c:pt idx="153">
                  <c:v>41213</c:v>
                </c:pt>
                <c:pt idx="154">
                  <c:v>41243</c:v>
                </c:pt>
                <c:pt idx="155">
                  <c:v>41274</c:v>
                </c:pt>
                <c:pt idx="156">
                  <c:v>41305</c:v>
                </c:pt>
                <c:pt idx="157">
                  <c:v>41333</c:v>
                </c:pt>
                <c:pt idx="158">
                  <c:v>41364</c:v>
                </c:pt>
                <c:pt idx="159">
                  <c:v>41394</c:v>
                </c:pt>
                <c:pt idx="160">
                  <c:v>41425</c:v>
                </c:pt>
                <c:pt idx="161">
                  <c:v>41455</c:v>
                </c:pt>
                <c:pt idx="162">
                  <c:v>41486</c:v>
                </c:pt>
                <c:pt idx="163">
                  <c:v>41517</c:v>
                </c:pt>
                <c:pt idx="164">
                  <c:v>41547</c:v>
                </c:pt>
                <c:pt idx="165">
                  <c:v>41578</c:v>
                </c:pt>
                <c:pt idx="166">
                  <c:v>41608</c:v>
                </c:pt>
                <c:pt idx="167">
                  <c:v>41639</c:v>
                </c:pt>
                <c:pt idx="168">
                  <c:v>41670</c:v>
                </c:pt>
                <c:pt idx="169">
                  <c:v>41698</c:v>
                </c:pt>
                <c:pt idx="170">
                  <c:v>41729</c:v>
                </c:pt>
                <c:pt idx="171">
                  <c:v>41759</c:v>
                </c:pt>
                <c:pt idx="172">
                  <c:v>41790</c:v>
                </c:pt>
                <c:pt idx="173">
                  <c:v>41820</c:v>
                </c:pt>
                <c:pt idx="174">
                  <c:v>41851</c:v>
                </c:pt>
                <c:pt idx="175">
                  <c:v>41882</c:v>
                </c:pt>
                <c:pt idx="176">
                  <c:v>41912</c:v>
                </c:pt>
                <c:pt idx="177">
                  <c:v>41943</c:v>
                </c:pt>
                <c:pt idx="178">
                  <c:v>41973</c:v>
                </c:pt>
                <c:pt idx="179">
                  <c:v>42004</c:v>
                </c:pt>
                <c:pt idx="180">
                  <c:v>42035</c:v>
                </c:pt>
                <c:pt idx="181">
                  <c:v>42063</c:v>
                </c:pt>
                <c:pt idx="182">
                  <c:v>42094</c:v>
                </c:pt>
                <c:pt idx="183">
                  <c:v>42124</c:v>
                </c:pt>
                <c:pt idx="184">
                  <c:v>42155</c:v>
                </c:pt>
                <c:pt idx="185">
                  <c:v>42185</c:v>
                </c:pt>
                <c:pt idx="186">
                  <c:v>42216</c:v>
                </c:pt>
                <c:pt idx="187">
                  <c:v>42247</c:v>
                </c:pt>
                <c:pt idx="188">
                  <c:v>42277</c:v>
                </c:pt>
                <c:pt idx="189">
                  <c:v>42308</c:v>
                </c:pt>
                <c:pt idx="190">
                  <c:v>42338</c:v>
                </c:pt>
                <c:pt idx="191">
                  <c:v>42369</c:v>
                </c:pt>
                <c:pt idx="192">
                  <c:v>42400</c:v>
                </c:pt>
                <c:pt idx="193">
                  <c:v>42429</c:v>
                </c:pt>
                <c:pt idx="194">
                  <c:v>42460</c:v>
                </c:pt>
                <c:pt idx="195">
                  <c:v>42490</c:v>
                </c:pt>
                <c:pt idx="196">
                  <c:v>42521</c:v>
                </c:pt>
                <c:pt idx="197">
                  <c:v>42551</c:v>
                </c:pt>
                <c:pt idx="198">
                  <c:v>42582</c:v>
                </c:pt>
                <c:pt idx="199">
                  <c:v>42613</c:v>
                </c:pt>
                <c:pt idx="200">
                  <c:v>42643</c:v>
                </c:pt>
                <c:pt idx="201">
                  <c:v>42674</c:v>
                </c:pt>
                <c:pt idx="202">
                  <c:v>42704</c:v>
                </c:pt>
                <c:pt idx="203">
                  <c:v>42735</c:v>
                </c:pt>
                <c:pt idx="204">
                  <c:v>42766</c:v>
                </c:pt>
                <c:pt idx="205">
                  <c:v>42794</c:v>
                </c:pt>
                <c:pt idx="206">
                  <c:v>42825</c:v>
                </c:pt>
                <c:pt idx="207">
                  <c:v>42855</c:v>
                </c:pt>
                <c:pt idx="208">
                  <c:v>42886</c:v>
                </c:pt>
                <c:pt idx="209">
                  <c:v>42916</c:v>
                </c:pt>
                <c:pt idx="210">
                  <c:v>42947</c:v>
                </c:pt>
                <c:pt idx="211">
                  <c:v>42978</c:v>
                </c:pt>
                <c:pt idx="212">
                  <c:v>43008</c:v>
                </c:pt>
                <c:pt idx="213">
                  <c:v>43039</c:v>
                </c:pt>
                <c:pt idx="214">
                  <c:v>43069</c:v>
                </c:pt>
                <c:pt idx="215">
                  <c:v>43100</c:v>
                </c:pt>
                <c:pt idx="216">
                  <c:v>43131</c:v>
                </c:pt>
                <c:pt idx="217">
                  <c:v>43159</c:v>
                </c:pt>
                <c:pt idx="218">
                  <c:v>43190</c:v>
                </c:pt>
                <c:pt idx="219">
                  <c:v>43220</c:v>
                </c:pt>
                <c:pt idx="220">
                  <c:v>43251</c:v>
                </c:pt>
                <c:pt idx="221">
                  <c:v>43281</c:v>
                </c:pt>
                <c:pt idx="222">
                  <c:v>43312</c:v>
                </c:pt>
                <c:pt idx="223">
                  <c:v>43343</c:v>
                </c:pt>
                <c:pt idx="224">
                  <c:v>43373</c:v>
                </c:pt>
                <c:pt idx="225">
                  <c:v>43404</c:v>
                </c:pt>
                <c:pt idx="226">
                  <c:v>43434</c:v>
                </c:pt>
                <c:pt idx="227">
                  <c:v>43465</c:v>
                </c:pt>
                <c:pt idx="228">
                  <c:v>43496</c:v>
                </c:pt>
                <c:pt idx="229">
                  <c:v>43524</c:v>
                </c:pt>
                <c:pt idx="230">
                  <c:v>43555</c:v>
                </c:pt>
                <c:pt idx="231">
                  <c:v>43585</c:v>
                </c:pt>
                <c:pt idx="232">
                  <c:v>43616</c:v>
                </c:pt>
                <c:pt idx="233">
                  <c:v>43646</c:v>
                </c:pt>
                <c:pt idx="234">
                  <c:v>43677</c:v>
                </c:pt>
                <c:pt idx="235">
                  <c:v>43708</c:v>
                </c:pt>
                <c:pt idx="236">
                  <c:v>43738</c:v>
                </c:pt>
                <c:pt idx="237">
                  <c:v>43769</c:v>
                </c:pt>
                <c:pt idx="238">
                  <c:v>43799</c:v>
                </c:pt>
                <c:pt idx="239">
                  <c:v>43830</c:v>
                </c:pt>
                <c:pt idx="240">
                  <c:v>43861</c:v>
                </c:pt>
                <c:pt idx="241">
                  <c:v>43890</c:v>
                </c:pt>
                <c:pt idx="242">
                  <c:v>43921</c:v>
                </c:pt>
                <c:pt idx="243">
                  <c:v>43951</c:v>
                </c:pt>
                <c:pt idx="244">
                  <c:v>43982</c:v>
                </c:pt>
                <c:pt idx="245">
                  <c:v>44012</c:v>
                </c:pt>
                <c:pt idx="246">
                  <c:v>44043</c:v>
                </c:pt>
                <c:pt idx="247">
                  <c:v>44074</c:v>
                </c:pt>
                <c:pt idx="248">
                  <c:v>44104</c:v>
                </c:pt>
                <c:pt idx="249">
                  <c:v>44135</c:v>
                </c:pt>
                <c:pt idx="250">
                  <c:v>44165</c:v>
                </c:pt>
                <c:pt idx="251">
                  <c:v>44196</c:v>
                </c:pt>
                <c:pt idx="252">
                  <c:v>44227</c:v>
                </c:pt>
                <c:pt idx="253">
                  <c:v>44255</c:v>
                </c:pt>
                <c:pt idx="254">
                  <c:v>44286</c:v>
                </c:pt>
                <c:pt idx="255">
                  <c:v>44316</c:v>
                </c:pt>
                <c:pt idx="256">
                  <c:v>44347</c:v>
                </c:pt>
                <c:pt idx="257">
                  <c:v>44377</c:v>
                </c:pt>
                <c:pt idx="258">
                  <c:v>44408</c:v>
                </c:pt>
                <c:pt idx="259">
                  <c:v>44439</c:v>
                </c:pt>
                <c:pt idx="260">
                  <c:v>44469</c:v>
                </c:pt>
                <c:pt idx="261">
                  <c:v>44500</c:v>
                </c:pt>
                <c:pt idx="262">
                  <c:v>44530</c:v>
                </c:pt>
                <c:pt idx="263">
                  <c:v>44561</c:v>
                </c:pt>
                <c:pt idx="264">
                  <c:v>44592</c:v>
                </c:pt>
                <c:pt idx="265">
                  <c:v>44620</c:v>
                </c:pt>
                <c:pt idx="266">
                  <c:v>44651</c:v>
                </c:pt>
                <c:pt idx="267">
                  <c:v>44681</c:v>
                </c:pt>
                <c:pt idx="268">
                  <c:v>44712</c:v>
                </c:pt>
                <c:pt idx="269">
                  <c:v>44742</c:v>
                </c:pt>
                <c:pt idx="270">
                  <c:v>44773</c:v>
                </c:pt>
                <c:pt idx="271">
                  <c:v>44804</c:v>
                </c:pt>
                <c:pt idx="272">
                  <c:v>44834</c:v>
                </c:pt>
                <c:pt idx="273">
                  <c:v>44865</c:v>
                </c:pt>
                <c:pt idx="274">
                  <c:v>44895</c:v>
                </c:pt>
                <c:pt idx="275">
                  <c:v>44926</c:v>
                </c:pt>
                <c:pt idx="276">
                  <c:v>44957</c:v>
                </c:pt>
                <c:pt idx="277">
                  <c:v>44985</c:v>
                </c:pt>
                <c:pt idx="278">
                  <c:v>45016</c:v>
                </c:pt>
                <c:pt idx="279">
                  <c:v>45046</c:v>
                </c:pt>
                <c:pt idx="280">
                  <c:v>45077</c:v>
                </c:pt>
                <c:pt idx="281">
                  <c:v>45107</c:v>
                </c:pt>
                <c:pt idx="282">
                  <c:v>45138</c:v>
                </c:pt>
                <c:pt idx="283">
                  <c:v>45169</c:v>
                </c:pt>
                <c:pt idx="284">
                  <c:v>45199</c:v>
                </c:pt>
                <c:pt idx="285">
                  <c:v>45230</c:v>
                </c:pt>
                <c:pt idx="286">
                  <c:v>45260</c:v>
                </c:pt>
                <c:pt idx="287">
                  <c:v>45291</c:v>
                </c:pt>
                <c:pt idx="288">
                  <c:v>45322</c:v>
                </c:pt>
                <c:pt idx="289">
                  <c:v>45351</c:v>
                </c:pt>
                <c:pt idx="290">
                  <c:v>45382</c:v>
                </c:pt>
                <c:pt idx="291">
                  <c:v>45412</c:v>
                </c:pt>
                <c:pt idx="292">
                  <c:v>45443</c:v>
                </c:pt>
                <c:pt idx="293">
                  <c:v>45473</c:v>
                </c:pt>
                <c:pt idx="294">
                  <c:v>45504</c:v>
                </c:pt>
                <c:pt idx="295">
                  <c:v>45535</c:v>
                </c:pt>
                <c:pt idx="296">
                  <c:v>45565</c:v>
                </c:pt>
                <c:pt idx="297">
                  <c:v>45596</c:v>
                </c:pt>
                <c:pt idx="298">
                  <c:v>45626</c:v>
                </c:pt>
                <c:pt idx="299">
                  <c:v>45657</c:v>
                </c:pt>
                <c:pt idx="300">
                  <c:v>45688</c:v>
                </c:pt>
                <c:pt idx="301">
                  <c:v>45716</c:v>
                </c:pt>
                <c:pt idx="302">
                  <c:v>45747</c:v>
                </c:pt>
                <c:pt idx="303">
                  <c:v>45777</c:v>
                </c:pt>
                <c:pt idx="304">
                  <c:v>45808</c:v>
                </c:pt>
                <c:pt idx="305">
                  <c:v>45838</c:v>
                </c:pt>
                <c:pt idx="306">
                  <c:v>45869</c:v>
                </c:pt>
                <c:pt idx="307">
                  <c:v>45900</c:v>
                </c:pt>
                <c:pt idx="308">
                  <c:v>45930</c:v>
                </c:pt>
                <c:pt idx="309">
                  <c:v>45961</c:v>
                </c:pt>
                <c:pt idx="312">
                  <c:v>46387</c:v>
                </c:pt>
                <c:pt idx="313">
                  <c:v>46752</c:v>
                </c:pt>
              </c:numCache>
            </c:numRef>
          </c:cat>
          <c:val>
            <c:numRef>
              <c:f>'EMU earnings vs PMIs'!$N$134:$N$447</c:f>
              <c:numCache>
                <c:formatCode>0%</c:formatCode>
                <c:ptCount val="314"/>
                <c:pt idx="0">
                  <c:v>6.2218583708555153E-2</c:v>
                </c:pt>
                <c:pt idx="1">
                  <c:v>0.13202632300520989</c:v>
                </c:pt>
                <c:pt idx="2">
                  <c:v>0.15922962159229637</c:v>
                </c:pt>
                <c:pt idx="3">
                  <c:v>0.19236496547989712</c:v>
                </c:pt>
                <c:pt idx="4">
                  <c:v>0.19642380571123552</c:v>
                </c:pt>
                <c:pt idx="5">
                  <c:v>0.20262216924910592</c:v>
                </c:pt>
                <c:pt idx="6">
                  <c:v>0.23818350324374427</c:v>
                </c:pt>
                <c:pt idx="7">
                  <c:v>0.24653050536789745</c:v>
                </c:pt>
                <c:pt idx="8">
                  <c:v>0.25898905680041673</c:v>
                </c:pt>
                <c:pt idx="9">
                  <c:v>0.26077447574938906</c:v>
                </c:pt>
                <c:pt idx="10">
                  <c:v>0.26723811924870811</c:v>
                </c:pt>
                <c:pt idx="11">
                  <c:v>0.30078476778592567</c:v>
                </c:pt>
                <c:pt idx="12">
                  <c:v>0.35427103403982008</c:v>
                </c:pt>
                <c:pt idx="13">
                  <c:v>0.28230592224778972</c:v>
                </c:pt>
                <c:pt idx="14">
                  <c:v>0.25587925587925575</c:v>
                </c:pt>
                <c:pt idx="15">
                  <c:v>0.23762488646684843</c:v>
                </c:pt>
                <c:pt idx="16">
                  <c:v>0.215703769797011</c:v>
                </c:pt>
                <c:pt idx="17">
                  <c:v>0.18489153176962891</c:v>
                </c:pt>
                <c:pt idx="18">
                  <c:v>0.10436270316509821</c:v>
                </c:pt>
                <c:pt idx="19">
                  <c:v>5.5771452578510461E-2</c:v>
                </c:pt>
                <c:pt idx="20">
                  <c:v>1.469370860927155E-2</c:v>
                </c:pt>
                <c:pt idx="21">
                  <c:v>-4.4897959183673564E-2</c:v>
                </c:pt>
                <c:pt idx="22">
                  <c:v>-0.12424151994429533</c:v>
                </c:pt>
                <c:pt idx="23">
                  <c:v>-0.16447433488280094</c:v>
                </c:pt>
                <c:pt idx="24">
                  <c:v>-0.20449587403964709</c:v>
                </c:pt>
                <c:pt idx="25">
                  <c:v>-0.25793350963354733</c:v>
                </c:pt>
                <c:pt idx="26">
                  <c:v>-0.2761319172722192</c:v>
                </c:pt>
                <c:pt idx="27">
                  <c:v>-0.3050178882671315</c:v>
                </c:pt>
                <c:pt idx="28">
                  <c:v>-0.29201834862385323</c:v>
                </c:pt>
                <c:pt idx="29">
                  <c:v>-0.26914498141263943</c:v>
                </c:pt>
                <c:pt idx="30">
                  <c:v>-0.2469016266460109</c:v>
                </c:pt>
                <c:pt idx="31">
                  <c:v>-0.2339832869080779</c:v>
                </c:pt>
                <c:pt idx="32">
                  <c:v>-0.25362023251070764</c:v>
                </c:pt>
                <c:pt idx="33">
                  <c:v>-0.23750000000000004</c:v>
                </c:pt>
                <c:pt idx="34">
                  <c:v>-0.20808723307587462</c:v>
                </c:pt>
                <c:pt idx="35">
                  <c:v>-0.20099431818181823</c:v>
                </c:pt>
                <c:pt idx="36">
                  <c:v>-0.17384046739000836</c:v>
                </c:pt>
                <c:pt idx="37">
                  <c:v>-0.1658393788977981</c:v>
                </c:pt>
                <c:pt idx="38">
                  <c:v>-0.19369369369369371</c:v>
                </c:pt>
                <c:pt idx="39">
                  <c:v>-0.15285110876451946</c:v>
                </c:pt>
                <c:pt idx="40">
                  <c:v>-0.15524167422573532</c:v>
                </c:pt>
                <c:pt idx="41">
                  <c:v>-0.13873346897253314</c:v>
                </c:pt>
                <c:pt idx="42">
                  <c:v>-0.12278220622267921</c:v>
                </c:pt>
                <c:pt idx="43">
                  <c:v>-9.1948051948052001E-2</c:v>
                </c:pt>
                <c:pt idx="44">
                  <c:v>-1.9264926902582302E-2</c:v>
                </c:pt>
                <c:pt idx="45">
                  <c:v>2.4940451169959577E-2</c:v>
                </c:pt>
                <c:pt idx="46">
                  <c:v>8.2903040734366051E-2</c:v>
                </c:pt>
                <c:pt idx="47">
                  <c:v>0.15022222222222226</c:v>
                </c:pt>
                <c:pt idx="48">
                  <c:v>0.14129022947034198</c:v>
                </c:pt>
                <c:pt idx="49">
                  <c:v>0.23924321025328044</c:v>
                </c:pt>
                <c:pt idx="50">
                  <c:v>0.31460494812450146</c:v>
                </c:pt>
                <c:pt idx="51">
                  <c:v>0.30305391087566202</c:v>
                </c:pt>
                <c:pt idx="52">
                  <c:v>0.31400521552385352</c:v>
                </c:pt>
                <c:pt idx="53">
                  <c:v>0.27033810719031437</c:v>
                </c:pt>
                <c:pt idx="54">
                  <c:v>0.29239337534808718</c:v>
                </c:pt>
                <c:pt idx="55">
                  <c:v>0.26873569794050356</c:v>
                </c:pt>
                <c:pt idx="56">
                  <c:v>0.27319587628865971</c:v>
                </c:pt>
                <c:pt idx="57">
                  <c:v>0.29309637730690352</c:v>
                </c:pt>
                <c:pt idx="58">
                  <c:v>0.3107284768211922</c:v>
                </c:pt>
                <c:pt idx="59">
                  <c:v>0.30847501287995893</c:v>
                </c:pt>
                <c:pt idx="60">
                  <c:v>0.31221547799696503</c:v>
                </c:pt>
                <c:pt idx="61">
                  <c:v>0.33464663875892642</c:v>
                </c:pt>
                <c:pt idx="62">
                  <c:v>0.34567751335599795</c:v>
                </c:pt>
                <c:pt idx="63">
                  <c:v>0.47399258639244302</c:v>
                </c:pt>
                <c:pt idx="64">
                  <c:v>0.44863413495213633</c:v>
                </c:pt>
                <c:pt idx="65">
                  <c:v>0.45153417015341724</c:v>
                </c:pt>
                <c:pt idx="66">
                  <c:v>0.42651394874121129</c:v>
                </c:pt>
                <c:pt idx="67">
                  <c:v>0.42689662946680174</c:v>
                </c:pt>
                <c:pt idx="68">
                  <c:v>0.40190392821971765</c:v>
                </c:pt>
                <c:pt idx="69">
                  <c:v>0.37942700074003599</c:v>
                </c:pt>
                <c:pt idx="70">
                  <c:v>0.34832255456750194</c:v>
                </c:pt>
                <c:pt idx="71">
                  <c:v>0.34196279161334764</c:v>
                </c:pt>
                <c:pt idx="72">
                  <c:v>0.3357425074684397</c:v>
                </c:pt>
                <c:pt idx="73">
                  <c:v>0.31651291512915147</c:v>
                </c:pt>
                <c:pt idx="74">
                  <c:v>0.31913741766669657</c:v>
                </c:pt>
                <c:pt idx="75">
                  <c:v>0.19290987263730019</c:v>
                </c:pt>
                <c:pt idx="76">
                  <c:v>0.19606737045692646</c:v>
                </c:pt>
                <c:pt idx="77">
                  <c:v>0.21418848586756334</c:v>
                </c:pt>
                <c:pt idx="78">
                  <c:v>0.20518324191112169</c:v>
                </c:pt>
                <c:pt idx="79">
                  <c:v>0.22317901722231004</c:v>
                </c:pt>
                <c:pt idx="80">
                  <c:v>0.22236965344989068</c:v>
                </c:pt>
                <c:pt idx="81">
                  <c:v>0.20424586143470247</c:v>
                </c:pt>
                <c:pt idx="82">
                  <c:v>0.20699992505433573</c:v>
                </c:pt>
                <c:pt idx="83">
                  <c:v>0.18455218954008679</c:v>
                </c:pt>
                <c:pt idx="84">
                  <c:v>0.17516773681552555</c:v>
                </c:pt>
                <c:pt idx="85">
                  <c:v>0.16530025926704495</c:v>
                </c:pt>
                <c:pt idx="86">
                  <c:v>0.15547195622435028</c:v>
                </c:pt>
                <c:pt idx="87">
                  <c:v>0.15130907854471265</c:v>
                </c:pt>
                <c:pt idx="88">
                  <c:v>0.16399407087993523</c:v>
                </c:pt>
                <c:pt idx="89">
                  <c:v>0.13828805064626737</c:v>
                </c:pt>
                <c:pt idx="90">
                  <c:v>0.14953825857519787</c:v>
                </c:pt>
                <c:pt idx="91">
                  <c:v>0.15436284957695534</c:v>
                </c:pt>
                <c:pt idx="92">
                  <c:v>0.15088436242896375</c:v>
                </c:pt>
                <c:pt idx="93">
                  <c:v>0.15872207726086685</c:v>
                </c:pt>
                <c:pt idx="94">
                  <c:v>0.14579323191555416</c:v>
                </c:pt>
                <c:pt idx="95">
                  <c:v>0.13418787541024191</c:v>
                </c:pt>
                <c:pt idx="96">
                  <c:v>0.10835533181901869</c:v>
                </c:pt>
                <c:pt idx="97">
                  <c:v>0.10312687913409491</c:v>
                </c:pt>
                <c:pt idx="98">
                  <c:v>9.1635588705380799E-2</c:v>
                </c:pt>
                <c:pt idx="99">
                  <c:v>9.0962787950383817E-2</c:v>
                </c:pt>
                <c:pt idx="100">
                  <c:v>6.6566334799722071E-2</c:v>
                </c:pt>
                <c:pt idx="101">
                  <c:v>5.9266554660796E-2</c:v>
                </c:pt>
                <c:pt idx="102">
                  <c:v>3.6150800482010581E-2</c:v>
                </c:pt>
                <c:pt idx="103">
                  <c:v>2.4058635931292205E-3</c:v>
                </c:pt>
                <c:pt idx="104">
                  <c:v>-1.7254771415889936E-2</c:v>
                </c:pt>
                <c:pt idx="105">
                  <c:v>-9.9741857527324784E-2</c:v>
                </c:pt>
                <c:pt idx="106">
                  <c:v>-0.11867988944886998</c:v>
                </c:pt>
                <c:pt idx="107">
                  <c:v>-0.16231709980345044</c:v>
                </c:pt>
                <c:pt idx="108">
                  <c:v>-0.22781655034895298</c:v>
                </c:pt>
                <c:pt idx="109">
                  <c:v>-0.29174161896974649</c:v>
                </c:pt>
                <c:pt idx="110">
                  <c:v>-0.29846537606420476</c:v>
                </c:pt>
                <c:pt idx="111">
                  <c:v>-0.3149972929074174</c:v>
                </c:pt>
                <c:pt idx="112">
                  <c:v>-0.33186801259090415</c:v>
                </c:pt>
                <c:pt idx="113">
                  <c:v>-0.34396193393130603</c:v>
                </c:pt>
                <c:pt idx="114">
                  <c:v>-0.36766904801462041</c:v>
                </c:pt>
                <c:pt idx="115">
                  <c:v>-0.3704509935253405</c:v>
                </c:pt>
                <c:pt idx="116">
                  <c:v>-0.3863828826285779</c:v>
                </c:pt>
                <c:pt idx="117">
                  <c:v>-0.34884997864681833</c:v>
                </c:pt>
                <c:pt idx="118">
                  <c:v>-0.34975096845600451</c:v>
                </c:pt>
                <c:pt idx="119">
                  <c:v>-0.32966173499315643</c:v>
                </c:pt>
                <c:pt idx="120">
                  <c:v>-0.26848863065777206</c:v>
                </c:pt>
                <c:pt idx="121">
                  <c:v>-0.18071269144924196</c:v>
                </c:pt>
                <c:pt idx="122">
                  <c:v>-0.15606400247352559</c:v>
                </c:pt>
                <c:pt idx="123">
                  <c:v>-0.11808409737590897</c:v>
                </c:pt>
                <c:pt idx="124">
                  <c:v>-7.3755178295833002E-2</c:v>
                </c:pt>
                <c:pt idx="125">
                  <c:v>-4.1684035014589393E-2</c:v>
                </c:pt>
                <c:pt idx="126">
                  <c:v>3.2317393589069932E-2</c:v>
                </c:pt>
                <c:pt idx="127">
                  <c:v>8.6266512988740107E-2</c:v>
                </c:pt>
                <c:pt idx="128">
                  <c:v>0.15309596098997136</c:v>
                </c:pt>
                <c:pt idx="129">
                  <c:v>0.19778881289234529</c:v>
                </c:pt>
                <c:pt idx="130">
                  <c:v>0.24510638297872345</c:v>
                </c:pt>
                <c:pt idx="131">
                  <c:v>0.30947982498784632</c:v>
                </c:pt>
                <c:pt idx="132">
                  <c:v>0.33614434202784849</c:v>
                </c:pt>
                <c:pt idx="133">
                  <c:v>0.29816815406294039</c:v>
                </c:pt>
                <c:pt idx="134">
                  <c:v>0.2857666239237957</c:v>
                </c:pt>
                <c:pt idx="135">
                  <c:v>0.27352572145545806</c:v>
                </c:pt>
                <c:pt idx="136">
                  <c:v>0.26563185126721045</c:v>
                </c:pt>
                <c:pt idx="137">
                  <c:v>0.25976511526750778</c:v>
                </c:pt>
                <c:pt idx="138">
                  <c:v>0.23262916772715703</c:v>
                </c:pt>
                <c:pt idx="139">
                  <c:v>0.17229840026118182</c:v>
                </c:pt>
                <c:pt idx="140">
                  <c:v>0.13452485438442507</c:v>
                </c:pt>
                <c:pt idx="141">
                  <c:v>9.1207759699624358E-2</c:v>
                </c:pt>
                <c:pt idx="142">
                  <c:v>2.3315865421128512E-2</c:v>
                </c:pt>
                <c:pt idx="143">
                  <c:v>-7.1280071280070967E-3</c:v>
                </c:pt>
                <c:pt idx="144">
                  <c:v>-2.0695728753852949E-2</c:v>
                </c:pt>
                <c:pt idx="145">
                  <c:v>-5.6878211158549963E-2</c:v>
                </c:pt>
                <c:pt idx="146">
                  <c:v>-5.9053996295768685E-2</c:v>
                </c:pt>
                <c:pt idx="147">
                  <c:v>-7.5932441942294204E-2</c:v>
                </c:pt>
                <c:pt idx="148">
                  <c:v>-9.2087028824833772E-2</c:v>
                </c:pt>
                <c:pt idx="149">
                  <c:v>-0.10241005455424357</c:v>
                </c:pt>
                <c:pt idx="150">
                  <c:v>-0.11191410282882508</c:v>
                </c:pt>
                <c:pt idx="151">
                  <c:v>-0.11989138759312123</c:v>
                </c:pt>
                <c:pt idx="152">
                  <c:v>-0.1176594697236093</c:v>
                </c:pt>
                <c:pt idx="153">
                  <c:v>-9.5125448028673842E-2</c:v>
                </c:pt>
                <c:pt idx="154">
                  <c:v>-7.2658453317500427E-2</c:v>
                </c:pt>
                <c:pt idx="155">
                  <c:v>-6.8052647322763948E-2</c:v>
                </c:pt>
                <c:pt idx="156">
                  <c:v>-4.6837529976019199E-2</c:v>
                </c:pt>
                <c:pt idx="157">
                  <c:v>-2.9080027622189752E-2</c:v>
                </c:pt>
                <c:pt idx="158">
                  <c:v>-7.4191838897721296E-2</c:v>
                </c:pt>
                <c:pt idx="159">
                  <c:v>-6.98347422130835E-2</c:v>
                </c:pt>
                <c:pt idx="160">
                  <c:v>-4.2356712203312163E-2</c:v>
                </c:pt>
                <c:pt idx="161">
                  <c:v>-3.7775042314202145E-2</c:v>
                </c:pt>
                <c:pt idx="162">
                  <c:v>-3.3790591335348341E-2</c:v>
                </c:pt>
                <c:pt idx="163">
                  <c:v>-2.5077129973894441E-2</c:v>
                </c:pt>
                <c:pt idx="164">
                  <c:v>-2.622349752909281E-2</c:v>
                </c:pt>
                <c:pt idx="165">
                  <c:v>-5.0701101164540852E-2</c:v>
                </c:pt>
                <c:pt idx="166">
                  <c:v>-5.1300520208083289E-2</c:v>
                </c:pt>
                <c:pt idx="167">
                  <c:v>-6.1787835018456083E-2</c:v>
                </c:pt>
                <c:pt idx="168">
                  <c:v>-7.7914930419058059E-2</c:v>
                </c:pt>
                <c:pt idx="169">
                  <c:v>-4.9470523154733659E-2</c:v>
                </c:pt>
                <c:pt idx="170">
                  <c:v>-2.2814620982909428E-2</c:v>
                </c:pt>
                <c:pt idx="171">
                  <c:v>-1.6292778778450923E-2</c:v>
                </c:pt>
                <c:pt idx="172">
                  <c:v>-4.6541281479120178E-2</c:v>
                </c:pt>
                <c:pt idx="173">
                  <c:v>-4.5094746941712671E-2</c:v>
                </c:pt>
                <c:pt idx="174">
                  <c:v>-4.7084302558755065E-2</c:v>
                </c:pt>
                <c:pt idx="175">
                  <c:v>-3.0347289840960801E-2</c:v>
                </c:pt>
                <c:pt idx="176">
                  <c:v>-1.9235491528198478E-2</c:v>
                </c:pt>
                <c:pt idx="177">
                  <c:v>-1.8359342401735868E-3</c:v>
                </c:pt>
                <c:pt idx="178">
                  <c:v>7.0018559136155734E-3</c:v>
                </c:pt>
                <c:pt idx="179">
                  <c:v>1.9671570304481634E-2</c:v>
                </c:pt>
                <c:pt idx="180">
                  <c:v>2.592087312414737E-2</c:v>
                </c:pt>
                <c:pt idx="181">
                  <c:v>-2.3611572996341978E-2</c:v>
                </c:pt>
                <c:pt idx="182">
                  <c:v>-5.5230125523011431E-3</c:v>
                </c:pt>
                <c:pt idx="183">
                  <c:v>2.7465667915105296E-3</c:v>
                </c:pt>
                <c:pt idx="184">
                  <c:v>4.3547308592443823E-2</c:v>
                </c:pt>
                <c:pt idx="185">
                  <c:v>5.5262496860085442E-2</c:v>
                </c:pt>
                <c:pt idx="186">
                  <c:v>7.2390572390572228E-2</c:v>
                </c:pt>
                <c:pt idx="187">
                  <c:v>8.0753138075313702E-2</c:v>
                </c:pt>
                <c:pt idx="188">
                  <c:v>8.0036721749290773E-2</c:v>
                </c:pt>
                <c:pt idx="189">
                  <c:v>8.552796588913969E-2</c:v>
                </c:pt>
                <c:pt idx="190">
                  <c:v>9.0391220574683739E-2</c:v>
                </c:pt>
                <c:pt idx="191">
                  <c:v>9.7215232343566438E-2</c:v>
                </c:pt>
                <c:pt idx="192">
                  <c:v>9.2669547872340496E-2</c:v>
                </c:pt>
                <c:pt idx="193">
                  <c:v>0.10430858310626689</c:v>
                </c:pt>
                <c:pt idx="194">
                  <c:v>8.162234937731383E-2</c:v>
                </c:pt>
                <c:pt idx="195">
                  <c:v>6.905710491367878E-2</c:v>
                </c:pt>
                <c:pt idx="196">
                  <c:v>1.9062875450540862E-2</c:v>
                </c:pt>
                <c:pt idx="197">
                  <c:v>-7.934618741567423E-5</c:v>
                </c:pt>
                <c:pt idx="198">
                  <c:v>-1.0910518053375173E-2</c:v>
                </c:pt>
                <c:pt idx="199">
                  <c:v>-2.2919086333720418E-2</c:v>
                </c:pt>
                <c:pt idx="200">
                  <c:v>-2.5886716637045115E-2</c:v>
                </c:pt>
                <c:pt idx="201">
                  <c:v>-3.0191004313000591E-2</c:v>
                </c:pt>
                <c:pt idx="202">
                  <c:v>-2.7658266748617044E-2</c:v>
                </c:pt>
                <c:pt idx="203">
                  <c:v>-2.805595902453939E-2</c:v>
                </c:pt>
                <c:pt idx="204">
                  <c:v>-2.3959838746481998E-2</c:v>
                </c:pt>
                <c:pt idx="205">
                  <c:v>1.534428251985509E-2</c:v>
                </c:pt>
                <c:pt idx="206">
                  <c:v>3.5241948031741188E-2</c:v>
                </c:pt>
                <c:pt idx="207">
                  <c:v>4.4642857142856984E-2</c:v>
                </c:pt>
                <c:pt idx="208">
                  <c:v>7.1759805077418637E-2</c:v>
                </c:pt>
                <c:pt idx="209">
                  <c:v>0.10172988414537376</c:v>
                </c:pt>
                <c:pt idx="210">
                  <c:v>0.10737243075946346</c:v>
                </c:pt>
                <c:pt idx="211">
                  <c:v>0.11910610983437664</c:v>
                </c:pt>
                <c:pt idx="212">
                  <c:v>0.12962081548468984</c:v>
                </c:pt>
                <c:pt idx="213">
                  <c:v>0.13294155019059706</c:v>
                </c:pt>
                <c:pt idx="214">
                  <c:v>0.13550884955752207</c:v>
                </c:pt>
                <c:pt idx="215">
                  <c:v>0.13607047349378631</c:v>
                </c:pt>
                <c:pt idx="216">
                  <c:v>0.13388403990024944</c:v>
                </c:pt>
                <c:pt idx="217">
                  <c:v>0.12606318347509116</c:v>
                </c:pt>
                <c:pt idx="218">
                  <c:v>0.12647478770571885</c:v>
                </c:pt>
                <c:pt idx="219">
                  <c:v>0.12255667038275719</c:v>
                </c:pt>
                <c:pt idx="220">
                  <c:v>0.11916984452918755</c:v>
                </c:pt>
                <c:pt idx="221">
                  <c:v>0.10033131662345141</c:v>
                </c:pt>
                <c:pt idx="222">
                  <c:v>9.8538053604701137E-2</c:v>
                </c:pt>
                <c:pt idx="223">
                  <c:v>8.8089505735731377E-2</c:v>
                </c:pt>
                <c:pt idx="224">
                  <c:v>8.3988764044943709E-2</c:v>
                </c:pt>
                <c:pt idx="225">
                  <c:v>8.4116080190663078E-2</c:v>
                </c:pt>
                <c:pt idx="226">
                  <c:v>7.4733838981281719E-2</c:v>
                </c:pt>
                <c:pt idx="227">
                  <c:v>6.6463583494876799E-2</c:v>
                </c:pt>
                <c:pt idx="228">
                  <c:v>5.8213058419243957E-2</c:v>
                </c:pt>
                <c:pt idx="229">
                  <c:v>4.8287024548152147E-2</c:v>
                </c:pt>
                <c:pt idx="230">
                  <c:v>3.2154769846564291E-2</c:v>
                </c:pt>
                <c:pt idx="231">
                  <c:v>2.7078919491525522E-2</c:v>
                </c:pt>
                <c:pt idx="232">
                  <c:v>1.8871633575781477E-2</c:v>
                </c:pt>
                <c:pt idx="233">
                  <c:v>1.034234470118478E-2</c:v>
                </c:pt>
                <c:pt idx="234">
                  <c:v>3.0660838932741186E-3</c:v>
                </c:pt>
                <c:pt idx="235">
                  <c:v>-7.093583235715184E-3</c:v>
                </c:pt>
                <c:pt idx="236">
                  <c:v>-1.833376522415131E-2</c:v>
                </c:pt>
                <c:pt idx="237">
                  <c:v>-2.8514160093107366E-2</c:v>
                </c:pt>
                <c:pt idx="238">
                  <c:v>-3.4703787633538319E-2</c:v>
                </c:pt>
                <c:pt idx="239">
                  <c:v>-3.9145676447675859E-2</c:v>
                </c:pt>
                <c:pt idx="240">
                  <c:v>-3.7864519062154933E-2</c:v>
                </c:pt>
                <c:pt idx="241">
                  <c:v>-5.7449819866186358E-2</c:v>
                </c:pt>
                <c:pt idx="242">
                  <c:v>-7.3487590486039256E-2</c:v>
                </c:pt>
                <c:pt idx="243">
                  <c:v>-0.14845613356539666</c:v>
                </c:pt>
                <c:pt idx="244">
                  <c:v>-0.19576821660556942</c:v>
                </c:pt>
                <c:pt idx="245">
                  <c:v>-0.23699384515711053</c:v>
                </c:pt>
                <c:pt idx="246">
                  <c:v>-0.28381893860561913</c:v>
                </c:pt>
                <c:pt idx="247">
                  <c:v>-0.3211640558432195</c:v>
                </c:pt>
                <c:pt idx="248">
                  <c:v>-0.35537517323302314</c:v>
                </c:pt>
                <c:pt idx="249">
                  <c:v>-0.37091514143094839</c:v>
                </c:pt>
                <c:pt idx="250">
                  <c:v>-0.38553893621302571</c:v>
                </c:pt>
                <c:pt idx="251">
                  <c:v>-0.4045672589689886</c:v>
                </c:pt>
                <c:pt idx="252">
                  <c:v>-0.36073984069123799</c:v>
                </c:pt>
                <c:pt idx="253">
                  <c:v>-0.30209542010784252</c:v>
                </c:pt>
                <c:pt idx="254">
                  <c:v>-0.25678409487268927</c:v>
                </c:pt>
                <c:pt idx="255">
                  <c:v>-0.16222558667676013</c:v>
                </c:pt>
                <c:pt idx="256">
                  <c:v>-7.1971211515393874E-2</c:v>
                </c:pt>
                <c:pt idx="257">
                  <c:v>2.3095864821261802E-2</c:v>
                </c:pt>
                <c:pt idx="258">
                  <c:v>0.16109698510715575</c:v>
                </c:pt>
                <c:pt idx="259">
                  <c:v>0.31080428695568219</c:v>
                </c:pt>
                <c:pt idx="260">
                  <c:v>0.45106470106470087</c:v>
                </c:pt>
                <c:pt idx="261">
                  <c:v>0.57035548032162509</c:v>
                </c:pt>
                <c:pt idx="262">
                  <c:v>0.72655823600043679</c:v>
                </c:pt>
                <c:pt idx="263">
                  <c:v>0.86848973107908733</c:v>
                </c:pt>
                <c:pt idx="264">
                  <c:v>0.77222808870116166</c:v>
                </c:pt>
                <c:pt idx="265">
                  <c:v>0.67207823960880209</c:v>
                </c:pt>
                <c:pt idx="266">
                  <c:v>0.62755772479819782</c:v>
                </c:pt>
                <c:pt idx="267">
                  <c:v>0.58597632601427652</c:v>
                </c:pt>
                <c:pt idx="268">
                  <c:v>0.53778543731150363</c:v>
                </c:pt>
                <c:pt idx="269">
                  <c:v>0.49672171964478373</c:v>
                </c:pt>
                <c:pt idx="270">
                  <c:v>0.43625840763334911</c:v>
                </c:pt>
                <c:pt idx="271">
                  <c:v>0.39061579257513257</c:v>
                </c:pt>
                <c:pt idx="272">
                  <c:v>0.35191195146042054</c:v>
                </c:pt>
                <c:pt idx="273">
                  <c:v>0.30276898201172275</c:v>
                </c:pt>
                <c:pt idx="274">
                  <c:v>0.2477081621040651</c:v>
                </c:pt>
                <c:pt idx="275">
                  <c:v>0.23143256209388485</c:v>
                </c:pt>
                <c:pt idx="276">
                  <c:v>0.20288387058332824</c:v>
                </c:pt>
                <c:pt idx="277">
                  <c:v>0.19114464525940211</c:v>
                </c:pt>
                <c:pt idx="278">
                  <c:v>0.17006920415224913</c:v>
                </c:pt>
                <c:pt idx="279">
                  <c:v>0.15417046490428432</c:v>
                </c:pt>
                <c:pt idx="280">
                  <c:v>0.15516082035189949</c:v>
                </c:pt>
                <c:pt idx="281">
                  <c:v>0.13014306310302759</c:v>
                </c:pt>
                <c:pt idx="282">
                  <c:v>0.1174036157699847</c:v>
                </c:pt>
                <c:pt idx="283">
                  <c:v>9.7250913713649911E-2</c:v>
                </c:pt>
                <c:pt idx="284">
                  <c:v>8.5846988832063431E-2</c:v>
                </c:pt>
                <c:pt idx="285">
                  <c:v>7.7312923411077206E-2</c:v>
                </c:pt>
                <c:pt idx="286">
                  <c:v>5.7765391436534141E-2</c:v>
                </c:pt>
                <c:pt idx="287">
                  <c:v>3.6837952460794909E-2</c:v>
                </c:pt>
                <c:pt idx="288">
                  <c:v>4.5373489201505857E-2</c:v>
                </c:pt>
                <c:pt idx="289">
                  <c:v>5.0282347164252394E-2</c:v>
                </c:pt>
                <c:pt idx="290">
                  <c:v>3.7458721474690648E-2</c:v>
                </c:pt>
                <c:pt idx="291">
                  <c:v>4.3291539145029256E-2</c:v>
                </c:pt>
                <c:pt idx="292">
                  <c:v>2.5078826097501894E-2</c:v>
                </c:pt>
                <c:pt idx="293">
                  <c:v>3.5915803935037571E-2</c:v>
                </c:pt>
                <c:pt idx="294">
                  <c:v>2.7875243664717386E-2</c:v>
                </c:pt>
                <c:pt idx="295">
                  <c:v>1.3613323678493883E-2</c:v>
                </c:pt>
                <c:pt idx="296">
                  <c:v>-7.6897198058334393E-4</c:v>
                </c:pt>
                <c:pt idx="297">
                  <c:v>-9.4086021505377371E-3</c:v>
                </c:pt>
                <c:pt idx="298">
                  <c:v>-1.7532934131736511E-2</c:v>
                </c:pt>
                <c:pt idx="299">
                  <c:v>-2.2259215219976203E-2</c:v>
                </c:pt>
                <c:pt idx="300">
                  <c:v>-2.539802880970421E-2</c:v>
                </c:pt>
                <c:pt idx="301">
                  <c:v>-2.2441441862639744E-2</c:v>
                </c:pt>
                <c:pt idx="302">
                  <c:v>1.5202622452372694E-3</c:v>
                </c:pt>
                <c:pt idx="303">
                  <c:v>-2.5076886680861499E-3</c:v>
                </c:pt>
                <c:pt idx="304">
                  <c:v>-5.016089343176322E-3</c:v>
                </c:pt>
                <c:pt idx="305">
                  <c:v>-7.0572632974944538E-3</c:v>
                </c:pt>
                <c:pt idx="306">
                  <c:v>-1.0572728996775971E-2</c:v>
                </c:pt>
                <c:pt idx="307">
                  <c:v>-1.8335952755155538E-2</c:v>
                </c:pt>
                <c:pt idx="308">
                  <c:v>-1.7074695781828741E-2</c:v>
                </c:pt>
                <c:pt idx="309">
                  <c:v>-1.7202946307423916E-2</c:v>
                </c:pt>
                <c:pt idx="312">
                  <c:v>7.0000000000000007E-2</c:v>
                </c:pt>
                <c:pt idx="313">
                  <c:v>0.18</c:v>
                </c:pt>
              </c:numCache>
            </c:numRef>
          </c:val>
          <c:smooth val="0"/>
          <c:extLst>
            <c:ext xmlns:c16="http://schemas.microsoft.com/office/drawing/2014/chart" uri="{C3380CC4-5D6E-409C-BE32-E72D297353CC}">
              <c16:uniqueId val="{00000004-294B-434F-919B-D90734D3D6E9}"/>
            </c:ext>
          </c:extLst>
        </c:ser>
        <c:dLbls>
          <c:showLegendKey val="0"/>
          <c:showVal val="0"/>
          <c:showCatName val="0"/>
          <c:showSerName val="0"/>
          <c:showPercent val="0"/>
          <c:showBubbleSize val="0"/>
        </c:dLbls>
        <c:marker val="1"/>
        <c:smooth val="0"/>
        <c:axId val="1818743039"/>
        <c:axId val="1818723359"/>
      </c:lineChart>
      <c:lineChart>
        <c:grouping val="standard"/>
        <c:varyColors val="0"/>
        <c:ser>
          <c:idx val="0"/>
          <c:order val="1"/>
          <c:tx>
            <c:strRef>
              <c:f>'EMU earnings vs PMIs'!$D$5</c:f>
              <c:strCache>
                <c:ptCount val="1"/>
                <c:pt idx="0">
                  <c:v>Euro area manufacturing PMI (RHS)</c:v>
                </c:pt>
              </c:strCache>
            </c:strRef>
          </c:tx>
          <c:spPr>
            <a:ln w="28575" cap="rnd">
              <a:solidFill>
                <a:srgbClr val="8E8D83"/>
              </a:solidFill>
              <a:round/>
            </a:ln>
            <a:effectLst/>
          </c:spPr>
          <c:marker>
            <c:symbol val="none"/>
          </c:marker>
          <c:cat>
            <c:numRef>
              <c:f>'EMU earnings vs PMIs'!$C$134:$C$447</c:f>
              <c:numCache>
                <c:formatCode>mmm"-"yy</c:formatCode>
                <c:ptCount val="314"/>
                <c:pt idx="0">
                  <c:v>36556</c:v>
                </c:pt>
                <c:pt idx="1">
                  <c:v>36585</c:v>
                </c:pt>
                <c:pt idx="2">
                  <c:v>36616</c:v>
                </c:pt>
                <c:pt idx="3">
                  <c:v>36646</c:v>
                </c:pt>
                <c:pt idx="4">
                  <c:v>36677</c:v>
                </c:pt>
                <c:pt idx="5">
                  <c:v>36707</c:v>
                </c:pt>
                <c:pt idx="6">
                  <c:v>36738</c:v>
                </c:pt>
                <c:pt idx="7">
                  <c:v>36769</c:v>
                </c:pt>
                <c:pt idx="8">
                  <c:v>36799</c:v>
                </c:pt>
                <c:pt idx="9">
                  <c:v>36830</c:v>
                </c:pt>
                <c:pt idx="10">
                  <c:v>36860</c:v>
                </c:pt>
                <c:pt idx="11">
                  <c:v>36891</c:v>
                </c:pt>
                <c:pt idx="12">
                  <c:v>36922</c:v>
                </c:pt>
                <c:pt idx="13">
                  <c:v>36950</c:v>
                </c:pt>
                <c:pt idx="14">
                  <c:v>36981</c:v>
                </c:pt>
                <c:pt idx="15">
                  <c:v>37011</c:v>
                </c:pt>
                <c:pt idx="16">
                  <c:v>37042</c:v>
                </c:pt>
                <c:pt idx="17">
                  <c:v>37072</c:v>
                </c:pt>
                <c:pt idx="18">
                  <c:v>37103</c:v>
                </c:pt>
                <c:pt idx="19">
                  <c:v>37134</c:v>
                </c:pt>
                <c:pt idx="20">
                  <c:v>37164</c:v>
                </c:pt>
                <c:pt idx="21">
                  <c:v>37195</c:v>
                </c:pt>
                <c:pt idx="22">
                  <c:v>37225</c:v>
                </c:pt>
                <c:pt idx="23">
                  <c:v>37256</c:v>
                </c:pt>
                <c:pt idx="24">
                  <c:v>37287</c:v>
                </c:pt>
                <c:pt idx="25">
                  <c:v>37315</c:v>
                </c:pt>
                <c:pt idx="26">
                  <c:v>37346</c:v>
                </c:pt>
                <c:pt idx="27">
                  <c:v>37376</c:v>
                </c:pt>
                <c:pt idx="28">
                  <c:v>37407</c:v>
                </c:pt>
                <c:pt idx="29">
                  <c:v>37437</c:v>
                </c:pt>
                <c:pt idx="30">
                  <c:v>37468</c:v>
                </c:pt>
                <c:pt idx="31">
                  <c:v>37499</c:v>
                </c:pt>
                <c:pt idx="32">
                  <c:v>37529</c:v>
                </c:pt>
                <c:pt idx="33">
                  <c:v>37560</c:v>
                </c:pt>
                <c:pt idx="34">
                  <c:v>37590</c:v>
                </c:pt>
                <c:pt idx="35">
                  <c:v>37621</c:v>
                </c:pt>
                <c:pt idx="36">
                  <c:v>37652</c:v>
                </c:pt>
                <c:pt idx="37">
                  <c:v>37680</c:v>
                </c:pt>
                <c:pt idx="38">
                  <c:v>37711</c:v>
                </c:pt>
                <c:pt idx="39">
                  <c:v>37741</c:v>
                </c:pt>
                <c:pt idx="40">
                  <c:v>37772</c:v>
                </c:pt>
                <c:pt idx="41">
                  <c:v>37802</c:v>
                </c:pt>
                <c:pt idx="42">
                  <c:v>37833</c:v>
                </c:pt>
                <c:pt idx="43">
                  <c:v>37864</c:v>
                </c:pt>
                <c:pt idx="44">
                  <c:v>37894</c:v>
                </c:pt>
                <c:pt idx="45">
                  <c:v>37925</c:v>
                </c:pt>
                <c:pt idx="46">
                  <c:v>37955</c:v>
                </c:pt>
                <c:pt idx="47">
                  <c:v>37986</c:v>
                </c:pt>
                <c:pt idx="48">
                  <c:v>38017</c:v>
                </c:pt>
                <c:pt idx="49">
                  <c:v>38046</c:v>
                </c:pt>
                <c:pt idx="50">
                  <c:v>38077</c:v>
                </c:pt>
                <c:pt idx="51">
                  <c:v>38107</c:v>
                </c:pt>
                <c:pt idx="52">
                  <c:v>38138</c:v>
                </c:pt>
                <c:pt idx="53">
                  <c:v>38168</c:v>
                </c:pt>
                <c:pt idx="54">
                  <c:v>38199</c:v>
                </c:pt>
                <c:pt idx="55">
                  <c:v>38230</c:v>
                </c:pt>
                <c:pt idx="56">
                  <c:v>38260</c:v>
                </c:pt>
                <c:pt idx="57">
                  <c:v>38291</c:v>
                </c:pt>
                <c:pt idx="58">
                  <c:v>38321</c:v>
                </c:pt>
                <c:pt idx="59">
                  <c:v>38352</c:v>
                </c:pt>
                <c:pt idx="60">
                  <c:v>38383</c:v>
                </c:pt>
                <c:pt idx="61">
                  <c:v>38411</c:v>
                </c:pt>
                <c:pt idx="62">
                  <c:v>38442</c:v>
                </c:pt>
                <c:pt idx="63">
                  <c:v>38472</c:v>
                </c:pt>
                <c:pt idx="64">
                  <c:v>38503</c:v>
                </c:pt>
                <c:pt idx="65">
                  <c:v>38533</c:v>
                </c:pt>
                <c:pt idx="66">
                  <c:v>38564</c:v>
                </c:pt>
                <c:pt idx="67">
                  <c:v>38595</c:v>
                </c:pt>
                <c:pt idx="68">
                  <c:v>38625</c:v>
                </c:pt>
                <c:pt idx="69">
                  <c:v>38656</c:v>
                </c:pt>
                <c:pt idx="70">
                  <c:v>38686</c:v>
                </c:pt>
                <c:pt idx="71">
                  <c:v>38717</c:v>
                </c:pt>
                <c:pt idx="72">
                  <c:v>38748</c:v>
                </c:pt>
                <c:pt idx="73">
                  <c:v>38776</c:v>
                </c:pt>
                <c:pt idx="74">
                  <c:v>38807</c:v>
                </c:pt>
                <c:pt idx="75">
                  <c:v>38837</c:v>
                </c:pt>
                <c:pt idx="76">
                  <c:v>38868</c:v>
                </c:pt>
                <c:pt idx="77">
                  <c:v>38898</c:v>
                </c:pt>
                <c:pt idx="78">
                  <c:v>38929</c:v>
                </c:pt>
                <c:pt idx="79">
                  <c:v>38960</c:v>
                </c:pt>
                <c:pt idx="80">
                  <c:v>38990</c:v>
                </c:pt>
                <c:pt idx="81">
                  <c:v>39021</c:v>
                </c:pt>
                <c:pt idx="82">
                  <c:v>39051</c:v>
                </c:pt>
                <c:pt idx="83">
                  <c:v>39082</c:v>
                </c:pt>
                <c:pt idx="84">
                  <c:v>39113</c:v>
                </c:pt>
                <c:pt idx="85">
                  <c:v>39141</c:v>
                </c:pt>
                <c:pt idx="86">
                  <c:v>39172</c:v>
                </c:pt>
                <c:pt idx="87">
                  <c:v>39202</c:v>
                </c:pt>
                <c:pt idx="88">
                  <c:v>39233</c:v>
                </c:pt>
                <c:pt idx="89">
                  <c:v>39263</c:v>
                </c:pt>
                <c:pt idx="90">
                  <c:v>39294</c:v>
                </c:pt>
                <c:pt idx="91">
                  <c:v>39325</c:v>
                </c:pt>
                <c:pt idx="92">
                  <c:v>39355</c:v>
                </c:pt>
                <c:pt idx="93">
                  <c:v>39386</c:v>
                </c:pt>
                <c:pt idx="94">
                  <c:v>39416</c:v>
                </c:pt>
                <c:pt idx="95">
                  <c:v>39447</c:v>
                </c:pt>
                <c:pt idx="96">
                  <c:v>39478</c:v>
                </c:pt>
                <c:pt idx="97">
                  <c:v>39507</c:v>
                </c:pt>
                <c:pt idx="98">
                  <c:v>39538</c:v>
                </c:pt>
                <c:pt idx="99">
                  <c:v>39568</c:v>
                </c:pt>
                <c:pt idx="100">
                  <c:v>39599</c:v>
                </c:pt>
                <c:pt idx="101">
                  <c:v>39629</c:v>
                </c:pt>
                <c:pt idx="102">
                  <c:v>39660</c:v>
                </c:pt>
                <c:pt idx="103">
                  <c:v>39691</c:v>
                </c:pt>
                <c:pt idx="104">
                  <c:v>39721</c:v>
                </c:pt>
                <c:pt idx="105">
                  <c:v>39752</c:v>
                </c:pt>
                <c:pt idx="106">
                  <c:v>39782</c:v>
                </c:pt>
                <c:pt idx="107">
                  <c:v>39813</c:v>
                </c:pt>
                <c:pt idx="108">
                  <c:v>39844</c:v>
                </c:pt>
                <c:pt idx="109">
                  <c:v>39872</c:v>
                </c:pt>
                <c:pt idx="110">
                  <c:v>39903</c:v>
                </c:pt>
                <c:pt idx="111">
                  <c:v>39933</c:v>
                </c:pt>
                <c:pt idx="112">
                  <c:v>39964</c:v>
                </c:pt>
                <c:pt idx="113">
                  <c:v>39994</c:v>
                </c:pt>
                <c:pt idx="114">
                  <c:v>40025</c:v>
                </c:pt>
                <c:pt idx="115">
                  <c:v>40056</c:v>
                </c:pt>
                <c:pt idx="116">
                  <c:v>40086</c:v>
                </c:pt>
                <c:pt idx="117">
                  <c:v>40117</c:v>
                </c:pt>
                <c:pt idx="118">
                  <c:v>40147</c:v>
                </c:pt>
                <c:pt idx="119">
                  <c:v>40178</c:v>
                </c:pt>
                <c:pt idx="120">
                  <c:v>40209</c:v>
                </c:pt>
                <c:pt idx="121">
                  <c:v>40237</c:v>
                </c:pt>
                <c:pt idx="122">
                  <c:v>40268</c:v>
                </c:pt>
                <c:pt idx="123">
                  <c:v>40298</c:v>
                </c:pt>
                <c:pt idx="124">
                  <c:v>40329</c:v>
                </c:pt>
                <c:pt idx="125">
                  <c:v>40359</c:v>
                </c:pt>
                <c:pt idx="126">
                  <c:v>40390</c:v>
                </c:pt>
                <c:pt idx="127">
                  <c:v>40421</c:v>
                </c:pt>
                <c:pt idx="128">
                  <c:v>40451</c:v>
                </c:pt>
                <c:pt idx="129">
                  <c:v>40482</c:v>
                </c:pt>
                <c:pt idx="130">
                  <c:v>40512</c:v>
                </c:pt>
                <c:pt idx="131">
                  <c:v>40543</c:v>
                </c:pt>
                <c:pt idx="132">
                  <c:v>40574</c:v>
                </c:pt>
                <c:pt idx="133">
                  <c:v>40602</c:v>
                </c:pt>
                <c:pt idx="134">
                  <c:v>40633</c:v>
                </c:pt>
                <c:pt idx="135">
                  <c:v>40663</c:v>
                </c:pt>
                <c:pt idx="136">
                  <c:v>40694</c:v>
                </c:pt>
                <c:pt idx="137">
                  <c:v>40724</c:v>
                </c:pt>
                <c:pt idx="138">
                  <c:v>40755</c:v>
                </c:pt>
                <c:pt idx="139">
                  <c:v>40786</c:v>
                </c:pt>
                <c:pt idx="140">
                  <c:v>40816</c:v>
                </c:pt>
                <c:pt idx="141">
                  <c:v>40847</c:v>
                </c:pt>
                <c:pt idx="142">
                  <c:v>40877</c:v>
                </c:pt>
                <c:pt idx="143">
                  <c:v>40908</c:v>
                </c:pt>
                <c:pt idx="144">
                  <c:v>40939</c:v>
                </c:pt>
                <c:pt idx="145">
                  <c:v>40968</c:v>
                </c:pt>
                <c:pt idx="146">
                  <c:v>40999</c:v>
                </c:pt>
                <c:pt idx="147">
                  <c:v>41029</c:v>
                </c:pt>
                <c:pt idx="148">
                  <c:v>41060</c:v>
                </c:pt>
                <c:pt idx="149">
                  <c:v>41090</c:v>
                </c:pt>
                <c:pt idx="150">
                  <c:v>41121</c:v>
                </c:pt>
                <c:pt idx="151">
                  <c:v>41152</c:v>
                </c:pt>
                <c:pt idx="152">
                  <c:v>41182</c:v>
                </c:pt>
                <c:pt idx="153">
                  <c:v>41213</c:v>
                </c:pt>
                <c:pt idx="154">
                  <c:v>41243</c:v>
                </c:pt>
                <c:pt idx="155">
                  <c:v>41274</c:v>
                </c:pt>
                <c:pt idx="156">
                  <c:v>41305</c:v>
                </c:pt>
                <c:pt idx="157">
                  <c:v>41333</c:v>
                </c:pt>
                <c:pt idx="158">
                  <c:v>41364</c:v>
                </c:pt>
                <c:pt idx="159">
                  <c:v>41394</c:v>
                </c:pt>
                <c:pt idx="160">
                  <c:v>41425</c:v>
                </c:pt>
                <c:pt idx="161">
                  <c:v>41455</c:v>
                </c:pt>
                <c:pt idx="162">
                  <c:v>41486</c:v>
                </c:pt>
                <c:pt idx="163">
                  <c:v>41517</c:v>
                </c:pt>
                <c:pt idx="164">
                  <c:v>41547</c:v>
                </c:pt>
                <c:pt idx="165">
                  <c:v>41578</c:v>
                </c:pt>
                <c:pt idx="166">
                  <c:v>41608</c:v>
                </c:pt>
                <c:pt idx="167">
                  <c:v>41639</c:v>
                </c:pt>
                <c:pt idx="168">
                  <c:v>41670</c:v>
                </c:pt>
                <c:pt idx="169">
                  <c:v>41698</c:v>
                </c:pt>
                <c:pt idx="170">
                  <c:v>41729</c:v>
                </c:pt>
                <c:pt idx="171">
                  <c:v>41759</c:v>
                </c:pt>
                <c:pt idx="172">
                  <c:v>41790</c:v>
                </c:pt>
                <c:pt idx="173">
                  <c:v>41820</c:v>
                </c:pt>
                <c:pt idx="174">
                  <c:v>41851</c:v>
                </c:pt>
                <c:pt idx="175">
                  <c:v>41882</c:v>
                </c:pt>
                <c:pt idx="176">
                  <c:v>41912</c:v>
                </c:pt>
                <c:pt idx="177">
                  <c:v>41943</c:v>
                </c:pt>
                <c:pt idx="178">
                  <c:v>41973</c:v>
                </c:pt>
                <c:pt idx="179">
                  <c:v>42004</c:v>
                </c:pt>
                <c:pt idx="180">
                  <c:v>42035</c:v>
                </c:pt>
                <c:pt idx="181">
                  <c:v>42063</c:v>
                </c:pt>
                <c:pt idx="182">
                  <c:v>42094</c:v>
                </c:pt>
                <c:pt idx="183">
                  <c:v>42124</c:v>
                </c:pt>
                <c:pt idx="184">
                  <c:v>42155</c:v>
                </c:pt>
                <c:pt idx="185">
                  <c:v>42185</c:v>
                </c:pt>
                <c:pt idx="186">
                  <c:v>42216</c:v>
                </c:pt>
                <c:pt idx="187">
                  <c:v>42247</c:v>
                </c:pt>
                <c:pt idx="188">
                  <c:v>42277</c:v>
                </c:pt>
                <c:pt idx="189">
                  <c:v>42308</c:v>
                </c:pt>
                <c:pt idx="190">
                  <c:v>42338</c:v>
                </c:pt>
                <c:pt idx="191">
                  <c:v>42369</c:v>
                </c:pt>
                <c:pt idx="192">
                  <c:v>42400</c:v>
                </c:pt>
                <c:pt idx="193">
                  <c:v>42429</c:v>
                </c:pt>
                <c:pt idx="194">
                  <c:v>42460</c:v>
                </c:pt>
                <c:pt idx="195">
                  <c:v>42490</c:v>
                </c:pt>
                <c:pt idx="196">
                  <c:v>42521</c:v>
                </c:pt>
                <c:pt idx="197">
                  <c:v>42551</c:v>
                </c:pt>
                <c:pt idx="198">
                  <c:v>42582</c:v>
                </c:pt>
                <c:pt idx="199">
                  <c:v>42613</c:v>
                </c:pt>
                <c:pt idx="200">
                  <c:v>42643</c:v>
                </c:pt>
                <c:pt idx="201">
                  <c:v>42674</c:v>
                </c:pt>
                <c:pt idx="202">
                  <c:v>42704</c:v>
                </c:pt>
                <c:pt idx="203">
                  <c:v>42735</c:v>
                </c:pt>
                <c:pt idx="204">
                  <c:v>42766</c:v>
                </c:pt>
                <c:pt idx="205">
                  <c:v>42794</c:v>
                </c:pt>
                <c:pt idx="206">
                  <c:v>42825</c:v>
                </c:pt>
                <c:pt idx="207">
                  <c:v>42855</c:v>
                </c:pt>
                <c:pt idx="208">
                  <c:v>42886</c:v>
                </c:pt>
                <c:pt idx="209">
                  <c:v>42916</c:v>
                </c:pt>
                <c:pt idx="210">
                  <c:v>42947</c:v>
                </c:pt>
                <c:pt idx="211">
                  <c:v>42978</c:v>
                </c:pt>
                <c:pt idx="212">
                  <c:v>43008</c:v>
                </c:pt>
                <c:pt idx="213">
                  <c:v>43039</c:v>
                </c:pt>
                <c:pt idx="214">
                  <c:v>43069</c:v>
                </c:pt>
                <c:pt idx="215">
                  <c:v>43100</c:v>
                </c:pt>
                <c:pt idx="216">
                  <c:v>43131</c:v>
                </c:pt>
                <c:pt idx="217">
                  <c:v>43159</c:v>
                </c:pt>
                <c:pt idx="218">
                  <c:v>43190</c:v>
                </c:pt>
                <c:pt idx="219">
                  <c:v>43220</c:v>
                </c:pt>
                <c:pt idx="220">
                  <c:v>43251</c:v>
                </c:pt>
                <c:pt idx="221">
                  <c:v>43281</c:v>
                </c:pt>
                <c:pt idx="222">
                  <c:v>43312</c:v>
                </c:pt>
                <c:pt idx="223">
                  <c:v>43343</c:v>
                </c:pt>
                <c:pt idx="224">
                  <c:v>43373</c:v>
                </c:pt>
                <c:pt idx="225">
                  <c:v>43404</c:v>
                </c:pt>
                <c:pt idx="226">
                  <c:v>43434</c:v>
                </c:pt>
                <c:pt idx="227">
                  <c:v>43465</c:v>
                </c:pt>
                <c:pt idx="228">
                  <c:v>43496</c:v>
                </c:pt>
                <c:pt idx="229">
                  <c:v>43524</c:v>
                </c:pt>
                <c:pt idx="230">
                  <c:v>43555</c:v>
                </c:pt>
                <c:pt idx="231">
                  <c:v>43585</c:v>
                </c:pt>
                <c:pt idx="232">
                  <c:v>43616</c:v>
                </c:pt>
                <c:pt idx="233">
                  <c:v>43646</c:v>
                </c:pt>
                <c:pt idx="234">
                  <c:v>43677</c:v>
                </c:pt>
                <c:pt idx="235">
                  <c:v>43708</c:v>
                </c:pt>
                <c:pt idx="236">
                  <c:v>43738</c:v>
                </c:pt>
                <c:pt idx="237">
                  <c:v>43769</c:v>
                </c:pt>
                <c:pt idx="238">
                  <c:v>43799</c:v>
                </c:pt>
                <c:pt idx="239">
                  <c:v>43830</c:v>
                </c:pt>
                <c:pt idx="240">
                  <c:v>43861</c:v>
                </c:pt>
                <c:pt idx="241">
                  <c:v>43890</c:v>
                </c:pt>
                <c:pt idx="242">
                  <c:v>43921</c:v>
                </c:pt>
                <c:pt idx="243">
                  <c:v>43951</c:v>
                </c:pt>
                <c:pt idx="244">
                  <c:v>43982</c:v>
                </c:pt>
                <c:pt idx="245">
                  <c:v>44012</c:v>
                </c:pt>
                <c:pt idx="246">
                  <c:v>44043</c:v>
                </c:pt>
                <c:pt idx="247">
                  <c:v>44074</c:v>
                </c:pt>
                <c:pt idx="248">
                  <c:v>44104</c:v>
                </c:pt>
                <c:pt idx="249">
                  <c:v>44135</c:v>
                </c:pt>
                <c:pt idx="250">
                  <c:v>44165</c:v>
                </c:pt>
                <c:pt idx="251">
                  <c:v>44196</c:v>
                </c:pt>
                <c:pt idx="252">
                  <c:v>44227</c:v>
                </c:pt>
                <c:pt idx="253">
                  <c:v>44255</c:v>
                </c:pt>
                <c:pt idx="254">
                  <c:v>44286</c:v>
                </c:pt>
                <c:pt idx="255">
                  <c:v>44316</c:v>
                </c:pt>
                <c:pt idx="256">
                  <c:v>44347</c:v>
                </c:pt>
                <c:pt idx="257">
                  <c:v>44377</c:v>
                </c:pt>
                <c:pt idx="258">
                  <c:v>44408</c:v>
                </c:pt>
                <c:pt idx="259">
                  <c:v>44439</c:v>
                </c:pt>
                <c:pt idx="260">
                  <c:v>44469</c:v>
                </c:pt>
                <c:pt idx="261">
                  <c:v>44500</c:v>
                </c:pt>
                <c:pt idx="262">
                  <c:v>44530</c:v>
                </c:pt>
                <c:pt idx="263">
                  <c:v>44561</c:v>
                </c:pt>
                <c:pt idx="264">
                  <c:v>44592</c:v>
                </c:pt>
                <c:pt idx="265">
                  <c:v>44620</c:v>
                </c:pt>
                <c:pt idx="266">
                  <c:v>44651</c:v>
                </c:pt>
                <c:pt idx="267">
                  <c:v>44681</c:v>
                </c:pt>
                <c:pt idx="268">
                  <c:v>44712</c:v>
                </c:pt>
                <c:pt idx="269">
                  <c:v>44742</c:v>
                </c:pt>
                <c:pt idx="270">
                  <c:v>44773</c:v>
                </c:pt>
                <c:pt idx="271">
                  <c:v>44804</c:v>
                </c:pt>
                <c:pt idx="272">
                  <c:v>44834</c:v>
                </c:pt>
                <c:pt idx="273">
                  <c:v>44865</c:v>
                </c:pt>
                <c:pt idx="274">
                  <c:v>44895</c:v>
                </c:pt>
                <c:pt idx="275">
                  <c:v>44926</c:v>
                </c:pt>
                <c:pt idx="276">
                  <c:v>44957</c:v>
                </c:pt>
                <c:pt idx="277">
                  <c:v>44985</c:v>
                </c:pt>
                <c:pt idx="278">
                  <c:v>45016</c:v>
                </c:pt>
                <c:pt idx="279">
                  <c:v>45046</c:v>
                </c:pt>
                <c:pt idx="280">
                  <c:v>45077</c:v>
                </c:pt>
                <c:pt idx="281">
                  <c:v>45107</c:v>
                </c:pt>
                <c:pt idx="282">
                  <c:v>45138</c:v>
                </c:pt>
                <c:pt idx="283">
                  <c:v>45169</c:v>
                </c:pt>
                <c:pt idx="284">
                  <c:v>45199</c:v>
                </c:pt>
                <c:pt idx="285">
                  <c:v>45230</c:v>
                </c:pt>
                <c:pt idx="286">
                  <c:v>45260</c:v>
                </c:pt>
                <c:pt idx="287">
                  <c:v>45291</c:v>
                </c:pt>
                <c:pt idx="288">
                  <c:v>45322</c:v>
                </c:pt>
                <c:pt idx="289">
                  <c:v>45351</c:v>
                </c:pt>
                <c:pt idx="290">
                  <c:v>45382</c:v>
                </c:pt>
                <c:pt idx="291">
                  <c:v>45412</c:v>
                </c:pt>
                <c:pt idx="292">
                  <c:v>45443</c:v>
                </c:pt>
                <c:pt idx="293">
                  <c:v>45473</c:v>
                </c:pt>
                <c:pt idx="294">
                  <c:v>45504</c:v>
                </c:pt>
                <c:pt idx="295">
                  <c:v>45535</c:v>
                </c:pt>
                <c:pt idx="296">
                  <c:v>45565</c:v>
                </c:pt>
                <c:pt idx="297">
                  <c:v>45596</c:v>
                </c:pt>
                <c:pt idx="298">
                  <c:v>45626</c:v>
                </c:pt>
                <c:pt idx="299">
                  <c:v>45657</c:v>
                </c:pt>
                <c:pt idx="300">
                  <c:v>45688</c:v>
                </c:pt>
                <c:pt idx="301">
                  <c:v>45716</c:v>
                </c:pt>
                <c:pt idx="302">
                  <c:v>45747</c:v>
                </c:pt>
                <c:pt idx="303">
                  <c:v>45777</c:v>
                </c:pt>
                <c:pt idx="304">
                  <c:v>45808</c:v>
                </c:pt>
                <c:pt idx="305">
                  <c:v>45838</c:v>
                </c:pt>
                <c:pt idx="306">
                  <c:v>45869</c:v>
                </c:pt>
                <c:pt idx="307">
                  <c:v>45900</c:v>
                </c:pt>
                <c:pt idx="308">
                  <c:v>45930</c:v>
                </c:pt>
                <c:pt idx="309">
                  <c:v>45961</c:v>
                </c:pt>
                <c:pt idx="312">
                  <c:v>46387</c:v>
                </c:pt>
                <c:pt idx="313">
                  <c:v>46752</c:v>
                </c:pt>
              </c:numCache>
            </c:numRef>
          </c:cat>
          <c:val>
            <c:numRef>
              <c:f>'EMU earnings vs PMIs'!$D$134:$D$447</c:f>
              <c:numCache>
                <c:formatCode>0.0000</c:formatCode>
                <c:ptCount val="314"/>
                <c:pt idx="0">
                  <c:v>55.685899999999997</c:v>
                </c:pt>
                <c:pt idx="1">
                  <c:v>57.057299999999998</c:v>
                </c:pt>
                <c:pt idx="2">
                  <c:v>59.092500000000001</c:v>
                </c:pt>
                <c:pt idx="3">
                  <c:v>60.473599999999998</c:v>
                </c:pt>
                <c:pt idx="4">
                  <c:v>59.674100000000003</c:v>
                </c:pt>
                <c:pt idx="5">
                  <c:v>59.370800000000003</c:v>
                </c:pt>
                <c:pt idx="6">
                  <c:v>58.7973</c:v>
                </c:pt>
                <c:pt idx="7">
                  <c:v>58.195999999999998</c:v>
                </c:pt>
                <c:pt idx="8">
                  <c:v>56.890099999999997</c:v>
                </c:pt>
                <c:pt idx="9">
                  <c:v>55.5334</c:v>
                </c:pt>
                <c:pt idx="10">
                  <c:v>54.581600000000002</c:v>
                </c:pt>
                <c:pt idx="11">
                  <c:v>53.456299999999999</c:v>
                </c:pt>
                <c:pt idx="12">
                  <c:v>52.931399999999996</c:v>
                </c:pt>
                <c:pt idx="13">
                  <c:v>52.323900000000002</c:v>
                </c:pt>
                <c:pt idx="14">
                  <c:v>51.192999999999998</c:v>
                </c:pt>
                <c:pt idx="15">
                  <c:v>49.234400000000001</c:v>
                </c:pt>
                <c:pt idx="16">
                  <c:v>48.511400000000002</c:v>
                </c:pt>
                <c:pt idx="17">
                  <c:v>47.826099999999997</c:v>
                </c:pt>
                <c:pt idx="18">
                  <c:v>47.273200000000003</c:v>
                </c:pt>
                <c:pt idx="19">
                  <c:v>47.508200000000002</c:v>
                </c:pt>
                <c:pt idx="20">
                  <c:v>45.948399999999999</c:v>
                </c:pt>
                <c:pt idx="21">
                  <c:v>42.937399999999997</c:v>
                </c:pt>
                <c:pt idx="22">
                  <c:v>43.6021</c:v>
                </c:pt>
                <c:pt idx="23">
                  <c:v>44.121099999999998</c:v>
                </c:pt>
                <c:pt idx="24">
                  <c:v>46.305599999999998</c:v>
                </c:pt>
                <c:pt idx="25">
                  <c:v>48.563099999999999</c:v>
                </c:pt>
                <c:pt idx="26">
                  <c:v>49.953099999999999</c:v>
                </c:pt>
                <c:pt idx="27">
                  <c:v>50.746600000000001</c:v>
                </c:pt>
                <c:pt idx="28">
                  <c:v>51.677700000000002</c:v>
                </c:pt>
                <c:pt idx="29">
                  <c:v>51.784799999999997</c:v>
                </c:pt>
                <c:pt idx="30">
                  <c:v>51.586300000000001</c:v>
                </c:pt>
                <c:pt idx="31">
                  <c:v>50.826700000000002</c:v>
                </c:pt>
                <c:pt idx="32">
                  <c:v>48.901899999999998</c:v>
                </c:pt>
                <c:pt idx="33">
                  <c:v>49.152500000000003</c:v>
                </c:pt>
                <c:pt idx="34">
                  <c:v>49.420999999999999</c:v>
                </c:pt>
                <c:pt idx="35">
                  <c:v>48.4176</c:v>
                </c:pt>
                <c:pt idx="36">
                  <c:v>49.346699999999998</c:v>
                </c:pt>
                <c:pt idx="37">
                  <c:v>50.102899999999998</c:v>
                </c:pt>
                <c:pt idx="38">
                  <c:v>48.4161</c:v>
                </c:pt>
                <c:pt idx="39">
                  <c:v>47.839599999999997</c:v>
                </c:pt>
                <c:pt idx="40">
                  <c:v>46.8645</c:v>
                </c:pt>
                <c:pt idx="41">
                  <c:v>46.660499999999999</c:v>
                </c:pt>
                <c:pt idx="42">
                  <c:v>48.048499999999997</c:v>
                </c:pt>
                <c:pt idx="43">
                  <c:v>49.139299999999999</c:v>
                </c:pt>
                <c:pt idx="44">
                  <c:v>50.092100000000002</c:v>
                </c:pt>
                <c:pt idx="45">
                  <c:v>51.316499999999998</c:v>
                </c:pt>
                <c:pt idx="46">
                  <c:v>52.154000000000003</c:v>
                </c:pt>
                <c:pt idx="47">
                  <c:v>52.406399999999998</c:v>
                </c:pt>
                <c:pt idx="48">
                  <c:v>52.537500000000001</c:v>
                </c:pt>
                <c:pt idx="49">
                  <c:v>52.4679</c:v>
                </c:pt>
                <c:pt idx="50">
                  <c:v>53.259799999999998</c:v>
                </c:pt>
                <c:pt idx="51">
                  <c:v>53.950499999999998</c:v>
                </c:pt>
                <c:pt idx="52">
                  <c:v>54.713799999999999</c:v>
                </c:pt>
                <c:pt idx="53">
                  <c:v>54.441699999999997</c:v>
                </c:pt>
                <c:pt idx="54">
                  <c:v>54.6539</c:v>
                </c:pt>
                <c:pt idx="55">
                  <c:v>53.8506</c:v>
                </c:pt>
                <c:pt idx="56">
                  <c:v>53.128900000000002</c:v>
                </c:pt>
                <c:pt idx="57">
                  <c:v>52.378999999999998</c:v>
                </c:pt>
                <c:pt idx="58">
                  <c:v>50.432499999999997</c:v>
                </c:pt>
                <c:pt idx="59">
                  <c:v>51.437100000000001</c:v>
                </c:pt>
                <c:pt idx="60">
                  <c:v>51.874000000000002</c:v>
                </c:pt>
                <c:pt idx="61">
                  <c:v>51.895400000000002</c:v>
                </c:pt>
                <c:pt idx="62">
                  <c:v>50.3977</c:v>
                </c:pt>
                <c:pt idx="63">
                  <c:v>49.192100000000003</c:v>
                </c:pt>
                <c:pt idx="64">
                  <c:v>48.698300000000003</c:v>
                </c:pt>
                <c:pt idx="65">
                  <c:v>49.908299999999997</c:v>
                </c:pt>
                <c:pt idx="66">
                  <c:v>50.812600000000003</c:v>
                </c:pt>
                <c:pt idx="67">
                  <c:v>50.432499999999997</c:v>
                </c:pt>
                <c:pt idx="68">
                  <c:v>51.739199999999997</c:v>
                </c:pt>
                <c:pt idx="69">
                  <c:v>52.693300000000001</c:v>
                </c:pt>
                <c:pt idx="70">
                  <c:v>52.760599999999997</c:v>
                </c:pt>
                <c:pt idx="71">
                  <c:v>53.576599999999999</c:v>
                </c:pt>
                <c:pt idx="72">
                  <c:v>53.490600000000001</c:v>
                </c:pt>
                <c:pt idx="73">
                  <c:v>54.464799999999997</c:v>
                </c:pt>
                <c:pt idx="74">
                  <c:v>56.078699999999998</c:v>
                </c:pt>
                <c:pt idx="75">
                  <c:v>56.732799999999997</c:v>
                </c:pt>
                <c:pt idx="76">
                  <c:v>57.017099999999999</c:v>
                </c:pt>
                <c:pt idx="77">
                  <c:v>57.676299999999998</c:v>
                </c:pt>
                <c:pt idx="78">
                  <c:v>57.383699999999997</c:v>
                </c:pt>
                <c:pt idx="79">
                  <c:v>56.535299999999999</c:v>
                </c:pt>
                <c:pt idx="80">
                  <c:v>56.641199999999998</c:v>
                </c:pt>
                <c:pt idx="81">
                  <c:v>57.003</c:v>
                </c:pt>
                <c:pt idx="82">
                  <c:v>56.556100000000001</c:v>
                </c:pt>
                <c:pt idx="83">
                  <c:v>56.516199999999998</c:v>
                </c:pt>
                <c:pt idx="84">
                  <c:v>55.502499999999998</c:v>
                </c:pt>
                <c:pt idx="85">
                  <c:v>55.615299999999998</c:v>
                </c:pt>
                <c:pt idx="86">
                  <c:v>55.406700000000001</c:v>
                </c:pt>
                <c:pt idx="87">
                  <c:v>55.381700000000002</c:v>
                </c:pt>
                <c:pt idx="88">
                  <c:v>55.007199999999997</c:v>
                </c:pt>
                <c:pt idx="89">
                  <c:v>55.556899999999999</c:v>
                </c:pt>
                <c:pt idx="90">
                  <c:v>54.900700000000001</c:v>
                </c:pt>
                <c:pt idx="91">
                  <c:v>54.344200000000001</c:v>
                </c:pt>
                <c:pt idx="92">
                  <c:v>53.210700000000003</c:v>
                </c:pt>
                <c:pt idx="93">
                  <c:v>51.520899999999997</c:v>
                </c:pt>
                <c:pt idx="94">
                  <c:v>52.796199999999999</c:v>
                </c:pt>
                <c:pt idx="95">
                  <c:v>52.557699999999997</c:v>
                </c:pt>
                <c:pt idx="96">
                  <c:v>52.772100000000002</c:v>
                </c:pt>
                <c:pt idx="97">
                  <c:v>52.3446</c:v>
                </c:pt>
                <c:pt idx="98">
                  <c:v>52.034700000000001</c:v>
                </c:pt>
                <c:pt idx="99">
                  <c:v>50.735300000000002</c:v>
                </c:pt>
                <c:pt idx="100">
                  <c:v>50.6038</c:v>
                </c:pt>
                <c:pt idx="101">
                  <c:v>49.163499999999999</c:v>
                </c:pt>
                <c:pt idx="102">
                  <c:v>47.379399999999997</c:v>
                </c:pt>
                <c:pt idx="103">
                  <c:v>47.551400000000001</c:v>
                </c:pt>
                <c:pt idx="104">
                  <c:v>44.968200000000003</c:v>
                </c:pt>
                <c:pt idx="105">
                  <c:v>41.101999999999997</c:v>
                </c:pt>
                <c:pt idx="106">
                  <c:v>35.58</c:v>
                </c:pt>
                <c:pt idx="107">
                  <c:v>33.865699999999997</c:v>
                </c:pt>
                <c:pt idx="108">
                  <c:v>34.420299999999997</c:v>
                </c:pt>
                <c:pt idx="109">
                  <c:v>33.549399999999999</c:v>
                </c:pt>
                <c:pt idx="110">
                  <c:v>33.9285</c:v>
                </c:pt>
                <c:pt idx="111">
                  <c:v>36.834200000000003</c:v>
                </c:pt>
                <c:pt idx="112">
                  <c:v>40.676099999999998</c:v>
                </c:pt>
                <c:pt idx="113">
                  <c:v>42.616599999999998</c:v>
                </c:pt>
                <c:pt idx="114">
                  <c:v>46.246299999999998</c:v>
                </c:pt>
                <c:pt idx="115">
                  <c:v>48.239100000000001</c:v>
                </c:pt>
                <c:pt idx="116">
                  <c:v>49.294699999999999</c:v>
                </c:pt>
                <c:pt idx="117">
                  <c:v>50.733199999999997</c:v>
                </c:pt>
                <c:pt idx="118">
                  <c:v>51.195099999999996</c:v>
                </c:pt>
                <c:pt idx="119">
                  <c:v>51.591099999999997</c:v>
                </c:pt>
                <c:pt idx="120">
                  <c:v>52.39</c:v>
                </c:pt>
                <c:pt idx="121">
                  <c:v>54.231200000000001</c:v>
                </c:pt>
                <c:pt idx="122">
                  <c:v>56.648299999999999</c:v>
                </c:pt>
                <c:pt idx="123">
                  <c:v>57.5745</c:v>
                </c:pt>
                <c:pt idx="124">
                  <c:v>55.841099999999997</c:v>
                </c:pt>
                <c:pt idx="125">
                  <c:v>55.642099999999999</c:v>
                </c:pt>
                <c:pt idx="126">
                  <c:v>56.689399999999999</c:v>
                </c:pt>
                <c:pt idx="127">
                  <c:v>55.097900000000003</c:v>
                </c:pt>
                <c:pt idx="128">
                  <c:v>53.662799999999997</c:v>
                </c:pt>
                <c:pt idx="129">
                  <c:v>54.601300000000002</c:v>
                </c:pt>
                <c:pt idx="130">
                  <c:v>55.327399999999997</c:v>
                </c:pt>
                <c:pt idx="131">
                  <c:v>57.1081</c:v>
                </c:pt>
                <c:pt idx="132">
                  <c:v>57.292099999999998</c:v>
                </c:pt>
                <c:pt idx="133">
                  <c:v>59.024900000000002</c:v>
                </c:pt>
                <c:pt idx="134">
                  <c:v>57.497599999999998</c:v>
                </c:pt>
                <c:pt idx="135">
                  <c:v>57.952599999999997</c:v>
                </c:pt>
                <c:pt idx="136">
                  <c:v>54.643300000000004</c:v>
                </c:pt>
                <c:pt idx="137">
                  <c:v>52.043799999999997</c:v>
                </c:pt>
                <c:pt idx="138">
                  <c:v>50.362900000000003</c:v>
                </c:pt>
                <c:pt idx="139">
                  <c:v>48.9938</c:v>
                </c:pt>
                <c:pt idx="140">
                  <c:v>48.514499999999998</c:v>
                </c:pt>
                <c:pt idx="141">
                  <c:v>47.089399999999998</c:v>
                </c:pt>
                <c:pt idx="142">
                  <c:v>46.365900000000003</c:v>
                </c:pt>
                <c:pt idx="143">
                  <c:v>46.940800000000003</c:v>
                </c:pt>
                <c:pt idx="144">
                  <c:v>48.776400000000002</c:v>
                </c:pt>
                <c:pt idx="145">
                  <c:v>48.957799999999999</c:v>
                </c:pt>
                <c:pt idx="146">
                  <c:v>47.716900000000003</c:v>
                </c:pt>
                <c:pt idx="147">
                  <c:v>45.892600000000002</c:v>
                </c:pt>
                <c:pt idx="148">
                  <c:v>45.1267</c:v>
                </c:pt>
                <c:pt idx="149">
                  <c:v>45.073900000000002</c:v>
                </c:pt>
                <c:pt idx="150">
                  <c:v>43.997199999999999</c:v>
                </c:pt>
                <c:pt idx="151">
                  <c:v>45.082900000000002</c:v>
                </c:pt>
                <c:pt idx="152">
                  <c:v>46.1417</c:v>
                </c:pt>
                <c:pt idx="153">
                  <c:v>45.448300000000003</c:v>
                </c:pt>
                <c:pt idx="154">
                  <c:v>46.160400000000003</c:v>
                </c:pt>
                <c:pt idx="155">
                  <c:v>46.098100000000002</c:v>
                </c:pt>
                <c:pt idx="156">
                  <c:v>47.922699999999999</c:v>
                </c:pt>
                <c:pt idx="157">
                  <c:v>47.933599999999998</c:v>
                </c:pt>
                <c:pt idx="158">
                  <c:v>46.752899999999997</c:v>
                </c:pt>
                <c:pt idx="159">
                  <c:v>46.686</c:v>
                </c:pt>
                <c:pt idx="160">
                  <c:v>48.319000000000003</c:v>
                </c:pt>
                <c:pt idx="161">
                  <c:v>48.824399999999997</c:v>
                </c:pt>
                <c:pt idx="162">
                  <c:v>50.287799999999997</c:v>
                </c:pt>
                <c:pt idx="163">
                  <c:v>51.381799999999998</c:v>
                </c:pt>
                <c:pt idx="164">
                  <c:v>51.103099999999998</c:v>
                </c:pt>
                <c:pt idx="165">
                  <c:v>51.298000000000002</c:v>
                </c:pt>
                <c:pt idx="166">
                  <c:v>51.620399999999997</c:v>
                </c:pt>
                <c:pt idx="167">
                  <c:v>52.684800000000003</c:v>
                </c:pt>
                <c:pt idx="168">
                  <c:v>54.005000000000003</c:v>
                </c:pt>
                <c:pt idx="169">
                  <c:v>53.173699999999997</c:v>
                </c:pt>
                <c:pt idx="170">
                  <c:v>53.030200000000001</c:v>
                </c:pt>
                <c:pt idx="171">
                  <c:v>53.359699999999997</c:v>
                </c:pt>
                <c:pt idx="172">
                  <c:v>52.1706</c:v>
                </c:pt>
                <c:pt idx="173">
                  <c:v>51.786799999999999</c:v>
                </c:pt>
                <c:pt idx="174">
                  <c:v>51.7759</c:v>
                </c:pt>
                <c:pt idx="175">
                  <c:v>50.685099999999998</c:v>
                </c:pt>
                <c:pt idx="176">
                  <c:v>50.327300000000001</c:v>
                </c:pt>
                <c:pt idx="177">
                  <c:v>50.636000000000003</c:v>
                </c:pt>
                <c:pt idx="178">
                  <c:v>50.093899999999998</c:v>
                </c:pt>
                <c:pt idx="179">
                  <c:v>50.550600000000003</c:v>
                </c:pt>
                <c:pt idx="180">
                  <c:v>50.960500000000003</c:v>
                </c:pt>
                <c:pt idx="181">
                  <c:v>51.0488</c:v>
                </c:pt>
                <c:pt idx="182">
                  <c:v>52.197699999999998</c:v>
                </c:pt>
                <c:pt idx="183">
                  <c:v>52.014600000000002</c:v>
                </c:pt>
                <c:pt idx="184">
                  <c:v>52.248699999999999</c:v>
                </c:pt>
                <c:pt idx="185">
                  <c:v>52.542900000000003</c:v>
                </c:pt>
                <c:pt idx="186">
                  <c:v>52.395000000000003</c:v>
                </c:pt>
                <c:pt idx="187">
                  <c:v>52.333599999999997</c:v>
                </c:pt>
                <c:pt idx="188">
                  <c:v>52.0306</c:v>
                </c:pt>
                <c:pt idx="189">
                  <c:v>52.265500000000003</c:v>
                </c:pt>
                <c:pt idx="190">
                  <c:v>52.829099999999997</c:v>
                </c:pt>
                <c:pt idx="191">
                  <c:v>53.192500000000003</c:v>
                </c:pt>
                <c:pt idx="192">
                  <c:v>52.339500000000001</c:v>
                </c:pt>
                <c:pt idx="193">
                  <c:v>51.234299999999998</c:v>
                </c:pt>
                <c:pt idx="194">
                  <c:v>51.572699999999998</c:v>
                </c:pt>
                <c:pt idx="195">
                  <c:v>51.710599999999999</c:v>
                </c:pt>
                <c:pt idx="196">
                  <c:v>51.460099999999997</c:v>
                </c:pt>
                <c:pt idx="197">
                  <c:v>52.817599999999999</c:v>
                </c:pt>
                <c:pt idx="198">
                  <c:v>52.017200000000003</c:v>
                </c:pt>
                <c:pt idx="199">
                  <c:v>51.6875</c:v>
                </c:pt>
                <c:pt idx="200">
                  <c:v>52.587200000000003</c:v>
                </c:pt>
                <c:pt idx="201">
                  <c:v>53.469799999999999</c:v>
                </c:pt>
                <c:pt idx="202">
                  <c:v>53.672499999999999</c:v>
                </c:pt>
                <c:pt idx="203">
                  <c:v>54.8767</c:v>
                </c:pt>
                <c:pt idx="204">
                  <c:v>55.2438</c:v>
                </c:pt>
                <c:pt idx="205">
                  <c:v>55.417999999999999</c:v>
                </c:pt>
                <c:pt idx="206">
                  <c:v>56.235799999999998</c:v>
                </c:pt>
                <c:pt idx="207">
                  <c:v>56.738100000000003</c:v>
                </c:pt>
                <c:pt idx="208">
                  <c:v>57.024099999999997</c:v>
                </c:pt>
                <c:pt idx="209">
                  <c:v>57.351199999999999</c:v>
                </c:pt>
                <c:pt idx="210">
                  <c:v>56.587299999999999</c:v>
                </c:pt>
                <c:pt idx="211">
                  <c:v>57.429699999999997</c:v>
                </c:pt>
                <c:pt idx="212">
                  <c:v>58.141500000000001</c:v>
                </c:pt>
                <c:pt idx="213">
                  <c:v>58.511000000000003</c:v>
                </c:pt>
                <c:pt idx="214">
                  <c:v>60.070700000000002</c:v>
                </c:pt>
                <c:pt idx="215">
                  <c:v>60.579099999999997</c:v>
                </c:pt>
                <c:pt idx="216">
                  <c:v>59.578299999999999</c:v>
                </c:pt>
                <c:pt idx="217">
                  <c:v>58.582099999999997</c:v>
                </c:pt>
                <c:pt idx="218">
                  <c:v>56.557400000000001</c:v>
                </c:pt>
                <c:pt idx="219">
                  <c:v>56.234999999999999</c:v>
                </c:pt>
                <c:pt idx="220">
                  <c:v>55.548299999999998</c:v>
                </c:pt>
                <c:pt idx="221">
                  <c:v>54.948599999999999</c:v>
                </c:pt>
                <c:pt idx="222">
                  <c:v>55.073099999999997</c:v>
                </c:pt>
                <c:pt idx="223">
                  <c:v>54.553100000000001</c:v>
                </c:pt>
                <c:pt idx="224">
                  <c:v>53.173999999999999</c:v>
                </c:pt>
                <c:pt idx="225">
                  <c:v>51.966099999999997</c:v>
                </c:pt>
                <c:pt idx="226">
                  <c:v>51.775300000000001</c:v>
                </c:pt>
                <c:pt idx="227">
                  <c:v>51.389099999999999</c:v>
                </c:pt>
                <c:pt idx="228">
                  <c:v>50.469799999999999</c:v>
                </c:pt>
                <c:pt idx="229">
                  <c:v>49.278799999999997</c:v>
                </c:pt>
                <c:pt idx="230">
                  <c:v>47.467799999999997</c:v>
                </c:pt>
                <c:pt idx="231">
                  <c:v>47.895299999999999</c:v>
                </c:pt>
                <c:pt idx="232">
                  <c:v>47.697600000000001</c:v>
                </c:pt>
                <c:pt idx="233">
                  <c:v>47.597799999999999</c:v>
                </c:pt>
                <c:pt idx="234">
                  <c:v>46.483699999999999</c:v>
                </c:pt>
                <c:pt idx="235">
                  <c:v>47.015799999999999</c:v>
                </c:pt>
                <c:pt idx="236">
                  <c:v>45.695500000000003</c:v>
                </c:pt>
                <c:pt idx="237">
                  <c:v>45.880800000000001</c:v>
                </c:pt>
                <c:pt idx="238">
                  <c:v>46.914999999999999</c:v>
                </c:pt>
                <c:pt idx="239">
                  <c:v>46.257100000000001</c:v>
                </c:pt>
                <c:pt idx="240">
                  <c:v>47.929900000000004</c:v>
                </c:pt>
                <c:pt idx="241">
                  <c:v>49.2376</c:v>
                </c:pt>
                <c:pt idx="242">
                  <c:v>44.456299999999999</c:v>
                </c:pt>
                <c:pt idx="243">
                  <c:v>33.435400000000001</c:v>
                </c:pt>
                <c:pt idx="244">
                  <c:v>39.448999999999998</c:v>
                </c:pt>
                <c:pt idx="245">
                  <c:v>47.443300000000001</c:v>
                </c:pt>
                <c:pt idx="246">
                  <c:v>51.8172</c:v>
                </c:pt>
                <c:pt idx="247">
                  <c:v>51.718899999999998</c:v>
                </c:pt>
                <c:pt idx="248">
                  <c:v>53.715499999999999</c:v>
                </c:pt>
                <c:pt idx="249">
                  <c:v>54.760399999999997</c:v>
                </c:pt>
                <c:pt idx="250">
                  <c:v>53.843600000000002</c:v>
                </c:pt>
                <c:pt idx="251">
                  <c:v>55.210799999999999</c:v>
                </c:pt>
                <c:pt idx="252">
                  <c:v>54.814700000000002</c:v>
                </c:pt>
                <c:pt idx="253">
                  <c:v>57.867600000000003</c:v>
                </c:pt>
                <c:pt idx="254">
                  <c:v>62.492899999999999</c:v>
                </c:pt>
                <c:pt idx="255">
                  <c:v>62.9375</c:v>
                </c:pt>
                <c:pt idx="256">
                  <c:v>63.079599999999999</c:v>
                </c:pt>
                <c:pt idx="257">
                  <c:v>63.365900000000003</c:v>
                </c:pt>
                <c:pt idx="258">
                  <c:v>62.843000000000004</c:v>
                </c:pt>
                <c:pt idx="259">
                  <c:v>61.350099999999998</c:v>
                </c:pt>
                <c:pt idx="260">
                  <c:v>58.578400000000002</c:v>
                </c:pt>
                <c:pt idx="261">
                  <c:v>58.3108</c:v>
                </c:pt>
                <c:pt idx="262">
                  <c:v>58.439700000000002</c:v>
                </c:pt>
                <c:pt idx="263">
                  <c:v>57.953899999999997</c:v>
                </c:pt>
                <c:pt idx="264">
                  <c:v>58.665900000000001</c:v>
                </c:pt>
                <c:pt idx="265">
                  <c:v>58.177300000000002</c:v>
                </c:pt>
                <c:pt idx="266">
                  <c:v>56.541899999999998</c:v>
                </c:pt>
                <c:pt idx="267">
                  <c:v>55.495899999999999</c:v>
                </c:pt>
                <c:pt idx="268">
                  <c:v>54.621000000000002</c:v>
                </c:pt>
                <c:pt idx="269">
                  <c:v>52.077100000000002</c:v>
                </c:pt>
                <c:pt idx="270">
                  <c:v>49.791800000000002</c:v>
                </c:pt>
                <c:pt idx="271">
                  <c:v>49.596699999999998</c:v>
                </c:pt>
                <c:pt idx="272">
                  <c:v>48.444400000000002</c:v>
                </c:pt>
                <c:pt idx="273">
                  <c:v>46.444099999999999</c:v>
                </c:pt>
                <c:pt idx="274">
                  <c:v>47.096600000000002</c:v>
                </c:pt>
                <c:pt idx="275">
                  <c:v>47.7928</c:v>
                </c:pt>
                <c:pt idx="276">
                  <c:v>48.823900000000002</c:v>
                </c:pt>
                <c:pt idx="277">
                  <c:v>48.454599999999999</c:v>
                </c:pt>
                <c:pt idx="278">
                  <c:v>47.3063</c:v>
                </c:pt>
                <c:pt idx="279">
                  <c:v>45.806100000000001</c:v>
                </c:pt>
                <c:pt idx="280">
                  <c:v>44.840800000000002</c:v>
                </c:pt>
                <c:pt idx="281">
                  <c:v>43.386899999999997</c:v>
                </c:pt>
                <c:pt idx="282">
                  <c:v>42.685000000000002</c:v>
                </c:pt>
                <c:pt idx="283">
                  <c:v>43.451599999999999</c:v>
                </c:pt>
                <c:pt idx="284">
                  <c:v>43.411499999999997</c:v>
                </c:pt>
                <c:pt idx="285">
                  <c:v>43.146999999999998</c:v>
                </c:pt>
                <c:pt idx="286">
                  <c:v>44.178600000000003</c:v>
                </c:pt>
                <c:pt idx="287">
                  <c:v>44.360500000000002</c:v>
                </c:pt>
                <c:pt idx="288">
                  <c:v>46.613399999999999</c:v>
                </c:pt>
                <c:pt idx="289">
                  <c:v>46.516199999999998</c:v>
                </c:pt>
                <c:pt idx="290">
                  <c:v>46.0901</c:v>
                </c:pt>
                <c:pt idx="291">
                  <c:v>45.670299999999997</c:v>
                </c:pt>
                <c:pt idx="292">
                  <c:v>47.2836</c:v>
                </c:pt>
                <c:pt idx="293">
                  <c:v>45.788200000000003</c:v>
                </c:pt>
                <c:pt idx="294">
                  <c:v>45.837400000000002</c:v>
                </c:pt>
                <c:pt idx="295">
                  <c:v>45.7699</c:v>
                </c:pt>
                <c:pt idx="296">
                  <c:v>44.985799999999998</c:v>
                </c:pt>
                <c:pt idx="297">
                  <c:v>46.0167</c:v>
                </c:pt>
                <c:pt idx="298">
                  <c:v>45.198799999999999</c:v>
                </c:pt>
                <c:pt idx="299">
                  <c:v>45.111800000000002</c:v>
                </c:pt>
                <c:pt idx="300">
                  <c:v>46.597499999999997</c:v>
                </c:pt>
                <c:pt idx="301">
                  <c:v>47.578000000000003</c:v>
                </c:pt>
                <c:pt idx="302">
                  <c:v>48.5627</c:v>
                </c:pt>
                <c:pt idx="303">
                  <c:v>49.000500000000002</c:v>
                </c:pt>
                <c:pt idx="304">
                  <c:v>49.366500000000002</c:v>
                </c:pt>
                <c:pt idx="305">
                  <c:v>49.473100000000002</c:v>
                </c:pt>
                <c:pt idx="306">
                  <c:v>49.832599999999999</c:v>
                </c:pt>
                <c:pt idx="307">
                  <c:v>50.654299999999999</c:v>
                </c:pt>
                <c:pt idx="308">
                  <c:v>49.815899999999999</c:v>
                </c:pt>
                <c:pt idx="309">
                  <c:v>50.0062</c:v>
                </c:pt>
              </c:numCache>
            </c:numRef>
          </c:val>
          <c:smooth val="0"/>
          <c:extLst>
            <c:ext xmlns:c16="http://schemas.microsoft.com/office/drawing/2014/chart" uri="{C3380CC4-5D6E-409C-BE32-E72D297353CC}">
              <c16:uniqueId val="{00000005-294B-434F-919B-D90734D3D6E9}"/>
            </c:ext>
          </c:extLst>
        </c:ser>
        <c:dLbls>
          <c:showLegendKey val="0"/>
          <c:showVal val="0"/>
          <c:showCatName val="0"/>
          <c:showSerName val="0"/>
          <c:showPercent val="0"/>
          <c:showBubbleSize val="0"/>
        </c:dLbls>
        <c:marker val="1"/>
        <c:smooth val="0"/>
        <c:axId val="1818750719"/>
        <c:axId val="1818767999"/>
      </c:lineChart>
      <c:dateAx>
        <c:axId val="1818743039"/>
        <c:scaling>
          <c:orientation val="minMax"/>
        </c:scaling>
        <c:delete val="0"/>
        <c:axPos val="b"/>
        <c:numFmt formatCode="yyyy" sourceLinked="0"/>
        <c:majorTickMark val="out"/>
        <c:minorTickMark val="none"/>
        <c:tickLblPos val="low"/>
        <c:spPr>
          <a:noFill/>
          <a:ln w="6350" cap="flat" cmpd="sng" algn="ctr">
            <a:solidFill>
              <a:srgbClr val="ECEBE4"/>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818723359"/>
        <c:crosses val="autoZero"/>
        <c:auto val="1"/>
        <c:lblOffset val="100"/>
        <c:baseTimeUnit val="months"/>
        <c:majorUnit val="36"/>
        <c:majorTimeUnit val="months"/>
      </c:dateAx>
      <c:valAx>
        <c:axId val="1818723359"/>
        <c:scaling>
          <c:orientation val="minMax"/>
          <c:max val="0.8"/>
          <c:min val="-0.60000000000000009"/>
        </c:scaling>
        <c:delete val="0"/>
        <c:axPos val="l"/>
        <c:majorGridlines>
          <c:spPr>
            <a:ln w="9525" cap="flat" cmpd="sng" algn="ctr">
              <a:solidFill>
                <a:schemeClr val="bg1">
                  <a:lumMod val="9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818743039"/>
        <c:crosses val="autoZero"/>
        <c:crossBetween val="between"/>
      </c:valAx>
      <c:valAx>
        <c:axId val="1818767999"/>
        <c:scaling>
          <c:orientation val="minMax"/>
          <c:max val="75"/>
          <c:min val="3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818750719"/>
        <c:crosses val="max"/>
        <c:crossBetween val="between"/>
      </c:valAx>
      <c:dateAx>
        <c:axId val="1818750719"/>
        <c:scaling>
          <c:orientation val="minMax"/>
        </c:scaling>
        <c:delete val="1"/>
        <c:axPos val="b"/>
        <c:numFmt formatCode="mmm&quot;-&quot;yy" sourceLinked="1"/>
        <c:majorTickMark val="out"/>
        <c:minorTickMark val="none"/>
        <c:tickLblPos val="nextTo"/>
        <c:crossAx val="1818767999"/>
        <c:crosses val="autoZero"/>
        <c:auto val="1"/>
        <c:lblOffset val="100"/>
        <c:baseTimeUnit val="months"/>
        <c:majorUnit val="1"/>
        <c:minorUnit val="1"/>
      </c:dateAx>
      <c:spPr>
        <a:noFill/>
        <a:ln>
          <a:noFill/>
        </a:ln>
        <a:effectLst/>
      </c:spPr>
    </c:plotArea>
    <c:legend>
      <c:legendPos val="b"/>
      <c:layout>
        <c:manualLayout>
          <c:xMode val="edge"/>
          <c:yMode val="edge"/>
          <c:x val="9.0027533763598121E-4"/>
          <c:y val="0.82915317831671198"/>
          <c:w val="0.99909972466236407"/>
          <c:h val="0.1597891318871848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400">
          <a:latin typeface="Frutiger 45 Light" panose="020B0603020202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Field3</c:v>
          </c:tx>
          <c:spPr>
            <a:solidFill>
              <a:schemeClr val="accent1"/>
            </a:solidFill>
            <a:ln>
              <a:noFill/>
            </a:ln>
            <a:effectLst/>
          </c:spPr>
          <c:invertIfNegative val="0"/>
          <c:dPt>
            <c:idx val="0"/>
            <c:invertIfNegative val="0"/>
            <c:bubble3D val="0"/>
            <c:spPr>
              <a:solidFill>
                <a:srgbClr val="BFBFBF"/>
              </a:solidFill>
              <a:ln>
                <a:noFill/>
              </a:ln>
              <a:effectLst/>
            </c:spPr>
            <c:extLst>
              <c:ext xmlns:c16="http://schemas.microsoft.com/office/drawing/2014/chart" uri="{C3380CC4-5D6E-409C-BE32-E72D297353CC}">
                <c16:uniqueId val="{00000001-67E8-45DC-9F6D-83465BF04ADD}"/>
              </c:ext>
            </c:extLst>
          </c:dPt>
          <c:dPt>
            <c:idx val="1"/>
            <c:invertIfNegative val="0"/>
            <c:bubble3D val="0"/>
            <c:spPr>
              <a:solidFill>
                <a:srgbClr val="BFBFBF"/>
              </a:solidFill>
              <a:ln>
                <a:noFill/>
              </a:ln>
              <a:effectLst/>
            </c:spPr>
            <c:extLst>
              <c:ext xmlns:c16="http://schemas.microsoft.com/office/drawing/2014/chart" uri="{C3380CC4-5D6E-409C-BE32-E72D297353CC}">
                <c16:uniqueId val="{00000003-67E8-45DC-9F6D-83465BF04ADD}"/>
              </c:ext>
            </c:extLst>
          </c:dPt>
          <c:dPt>
            <c:idx val="2"/>
            <c:invertIfNegative val="0"/>
            <c:bubble3D val="0"/>
            <c:spPr>
              <a:solidFill>
                <a:srgbClr val="BFBFBF"/>
              </a:solidFill>
              <a:ln>
                <a:noFill/>
              </a:ln>
              <a:effectLst/>
            </c:spPr>
            <c:extLst>
              <c:ext xmlns:c16="http://schemas.microsoft.com/office/drawing/2014/chart" uri="{C3380CC4-5D6E-409C-BE32-E72D297353CC}">
                <c16:uniqueId val="{00000005-67E8-45DC-9F6D-83465BF04ADD}"/>
              </c:ext>
            </c:extLst>
          </c:dPt>
          <c:dPt>
            <c:idx val="3"/>
            <c:invertIfNegative val="0"/>
            <c:bubble3D val="0"/>
            <c:spPr>
              <a:solidFill>
                <a:srgbClr val="BFBFBF"/>
              </a:solidFill>
              <a:ln>
                <a:noFill/>
              </a:ln>
              <a:effectLst/>
            </c:spPr>
            <c:extLst>
              <c:ext xmlns:c16="http://schemas.microsoft.com/office/drawing/2014/chart" uri="{C3380CC4-5D6E-409C-BE32-E72D297353CC}">
                <c16:uniqueId val="{00000007-67E8-45DC-9F6D-83465BF04ADD}"/>
              </c:ext>
            </c:extLst>
          </c:dPt>
          <c:dPt>
            <c:idx val="4"/>
            <c:invertIfNegative val="0"/>
            <c:bubble3D val="0"/>
            <c:spPr>
              <a:solidFill>
                <a:srgbClr val="BFBFBF"/>
              </a:solidFill>
              <a:ln>
                <a:noFill/>
              </a:ln>
              <a:effectLst/>
            </c:spPr>
            <c:extLst>
              <c:ext xmlns:c16="http://schemas.microsoft.com/office/drawing/2014/chart" uri="{C3380CC4-5D6E-409C-BE32-E72D297353CC}">
                <c16:uniqueId val="{00000009-67E8-45DC-9F6D-83465BF04ADD}"/>
              </c:ext>
            </c:extLst>
          </c:dPt>
          <c:dPt>
            <c:idx val="5"/>
            <c:invertIfNegative val="0"/>
            <c:bubble3D val="0"/>
            <c:spPr>
              <a:solidFill>
                <a:srgbClr val="BFBFBF"/>
              </a:solidFill>
              <a:ln>
                <a:noFill/>
              </a:ln>
              <a:effectLst/>
            </c:spPr>
            <c:extLst>
              <c:ext xmlns:c16="http://schemas.microsoft.com/office/drawing/2014/chart" uri="{C3380CC4-5D6E-409C-BE32-E72D297353CC}">
                <c16:uniqueId val="{0000000B-67E8-45DC-9F6D-83465BF04ADD}"/>
              </c:ext>
            </c:extLst>
          </c:dPt>
          <c:dPt>
            <c:idx val="6"/>
            <c:invertIfNegative val="0"/>
            <c:bubble3D val="0"/>
            <c:spPr>
              <a:solidFill>
                <a:srgbClr val="BFBFBF"/>
              </a:solidFill>
              <a:ln>
                <a:noFill/>
              </a:ln>
              <a:effectLst/>
            </c:spPr>
            <c:extLst>
              <c:ext xmlns:c16="http://schemas.microsoft.com/office/drawing/2014/chart" uri="{C3380CC4-5D6E-409C-BE32-E72D297353CC}">
                <c16:uniqueId val="{0000000D-67E8-45DC-9F6D-83465BF04ADD}"/>
              </c:ext>
            </c:extLst>
          </c:dPt>
          <c:dPt>
            <c:idx val="7"/>
            <c:invertIfNegative val="0"/>
            <c:bubble3D val="0"/>
            <c:spPr>
              <a:solidFill>
                <a:srgbClr val="BFBFBF"/>
              </a:solidFill>
              <a:ln>
                <a:noFill/>
              </a:ln>
              <a:effectLst/>
            </c:spPr>
            <c:extLst>
              <c:ext xmlns:c16="http://schemas.microsoft.com/office/drawing/2014/chart" uri="{C3380CC4-5D6E-409C-BE32-E72D297353CC}">
                <c16:uniqueId val="{0000000F-67E8-45DC-9F6D-83465BF04ADD}"/>
              </c:ext>
            </c:extLst>
          </c:dPt>
          <c:dPt>
            <c:idx val="8"/>
            <c:invertIfNegative val="0"/>
            <c:bubble3D val="0"/>
            <c:spPr>
              <a:solidFill>
                <a:srgbClr val="C00000"/>
              </a:solidFill>
              <a:ln>
                <a:noFill/>
              </a:ln>
              <a:effectLst/>
            </c:spPr>
            <c:extLst>
              <c:ext xmlns:c16="http://schemas.microsoft.com/office/drawing/2014/chart" uri="{C3380CC4-5D6E-409C-BE32-E72D297353CC}">
                <c16:uniqueId val="{00000011-67E8-45DC-9F6D-83465BF04ADD}"/>
              </c:ext>
            </c:extLst>
          </c:dPt>
          <c:dPt>
            <c:idx val="9"/>
            <c:invertIfNegative val="0"/>
            <c:bubble3D val="0"/>
            <c:spPr>
              <a:solidFill>
                <a:srgbClr val="BD000C"/>
              </a:solidFill>
              <a:ln>
                <a:noFill/>
              </a:ln>
              <a:effectLst/>
            </c:spPr>
            <c:extLst>
              <c:ext xmlns:c16="http://schemas.microsoft.com/office/drawing/2014/chart" uri="{C3380CC4-5D6E-409C-BE32-E72D297353CC}">
                <c16:uniqueId val="{00000013-67E8-45DC-9F6D-83465BF04ADD}"/>
              </c:ext>
            </c:extLst>
          </c:dPt>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U!$C$4:$C$13</c:f>
              <c:strCache>
                <c:ptCount val="10"/>
                <c:pt idx="0">
                  <c:v>2018</c:v>
                </c:pt>
                <c:pt idx="1">
                  <c:v>2019</c:v>
                </c:pt>
                <c:pt idx="2">
                  <c:v>2020</c:v>
                </c:pt>
                <c:pt idx="3">
                  <c:v>2021</c:v>
                </c:pt>
                <c:pt idx="4">
                  <c:v>2022</c:v>
                </c:pt>
                <c:pt idx="5">
                  <c:v>2023</c:v>
                </c:pt>
                <c:pt idx="6">
                  <c:v>2024</c:v>
                </c:pt>
                <c:pt idx="7">
                  <c:v>2025E</c:v>
                </c:pt>
                <c:pt idx="8">
                  <c:v>2026E</c:v>
                </c:pt>
                <c:pt idx="9">
                  <c:v>2027E</c:v>
                </c:pt>
              </c:strCache>
            </c:strRef>
          </c:cat>
          <c:val>
            <c:numRef>
              <c:f>EMU!$D$4:$D$13</c:f>
              <c:numCache>
                <c:formatCode>0</c:formatCode>
                <c:ptCount val="10"/>
                <c:pt idx="0">
                  <c:v>235.36099999999999</c:v>
                </c:pt>
                <c:pt idx="1">
                  <c:v>212.34899999999999</c:v>
                </c:pt>
                <c:pt idx="2">
                  <c:v>165.447</c:v>
                </c:pt>
                <c:pt idx="3">
                  <c:v>269.31400000000002</c:v>
                </c:pt>
                <c:pt idx="4" formatCode="General">
                  <c:v>338</c:v>
                </c:pt>
                <c:pt idx="5" formatCode="General">
                  <c:v>350</c:v>
                </c:pt>
                <c:pt idx="6" formatCode="General">
                  <c:v>320</c:v>
                </c:pt>
                <c:pt idx="7" formatCode="General">
                  <c:v>318</c:v>
                </c:pt>
                <c:pt idx="8" formatCode="General">
                  <c:v>340</c:v>
                </c:pt>
                <c:pt idx="9" formatCode="General">
                  <c:v>400</c:v>
                </c:pt>
              </c:numCache>
            </c:numRef>
          </c:val>
          <c:extLst>
            <c:ext xmlns:c16="http://schemas.microsoft.com/office/drawing/2014/chart" uri="{C3380CC4-5D6E-409C-BE32-E72D297353CC}">
              <c16:uniqueId val="{00000014-67E8-45DC-9F6D-83465BF04ADD}"/>
            </c:ext>
          </c:extLst>
        </c:ser>
        <c:dLbls>
          <c:showLegendKey val="0"/>
          <c:showVal val="0"/>
          <c:showCatName val="0"/>
          <c:showSerName val="0"/>
          <c:showPercent val="0"/>
          <c:showBubbleSize val="0"/>
        </c:dLbls>
        <c:gapWidth val="33"/>
        <c:overlap val="-30"/>
        <c:axId val="83280392"/>
        <c:axId val="83282440"/>
      </c:barChart>
      <c:catAx>
        <c:axId val="83280392"/>
        <c:scaling>
          <c:orientation val="minMax"/>
        </c:scaling>
        <c:delete val="0"/>
        <c:axPos val="b"/>
        <c:numFmt formatCode="General" sourceLinked="1"/>
        <c:majorTickMark val="none"/>
        <c:minorTickMark val="none"/>
        <c:tickLblPos val="nextTo"/>
        <c:spPr>
          <a:noFill/>
          <a:ln w="6350" cap="flat" cmpd="sng" algn="ctr">
            <a:solidFill>
              <a:srgbClr val="ECEBE4"/>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3282440"/>
        <c:crosses val="autoZero"/>
        <c:auto val="1"/>
        <c:lblAlgn val="ctr"/>
        <c:lblOffset val="100"/>
        <c:noMultiLvlLbl val="0"/>
      </c:catAx>
      <c:valAx>
        <c:axId val="83282440"/>
        <c:scaling>
          <c:orientation val="minMax"/>
        </c:scaling>
        <c:delete val="0"/>
        <c:axPos val="l"/>
        <c:majorGridlines>
          <c:spPr>
            <a:ln w="6350" cap="flat" cmpd="sng" algn="ctr">
              <a:solidFill>
                <a:srgbClr val="ECEBE4"/>
              </a:solidFill>
              <a:prstDash val="solid"/>
              <a:round/>
              <a:headEnd type="none" w="med" len="med"/>
              <a:tailEnd type="none" w="med" len="me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3280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54028542045671"/>
          <c:y val="5.7142857142857141E-2"/>
          <c:w val="0.74795270320823526"/>
          <c:h val="0.66033745781777275"/>
        </c:manualLayout>
      </c:layout>
      <c:barChart>
        <c:barDir val="col"/>
        <c:grouping val="clustered"/>
        <c:varyColors val="0"/>
        <c:ser>
          <c:idx val="0"/>
          <c:order val="0"/>
          <c:tx>
            <c:strRef>
              <c:f>QRTRS!$B$45</c:f>
              <c:strCache>
                <c:ptCount val="1"/>
                <c:pt idx="0">
                  <c:v>12m trailing EBIT margin</c:v>
                </c:pt>
              </c:strCache>
            </c:strRef>
          </c:tx>
          <c:spPr>
            <a:solidFill>
              <a:srgbClr val="8E8D83"/>
            </a:solidFill>
            <a:ln>
              <a:noFill/>
            </a:ln>
            <a:effectLst/>
          </c:spPr>
          <c:invertIfNegative val="0"/>
          <c:cat>
            <c:strRef>
              <c:f>QRTRS!$L$98:$CL$98</c:f>
              <c:strCache>
                <c:ptCount val="79"/>
                <c:pt idx="0">
                  <c:v>Q1 2006</c:v>
                </c:pt>
                <c:pt idx="1">
                  <c:v>Q2 2006</c:v>
                </c:pt>
                <c:pt idx="2">
                  <c:v>Q3 2006</c:v>
                </c:pt>
                <c:pt idx="3">
                  <c:v>Q4 2006</c:v>
                </c:pt>
                <c:pt idx="4">
                  <c:v>Q1 2007</c:v>
                </c:pt>
                <c:pt idx="5">
                  <c:v>Q2 2007</c:v>
                </c:pt>
                <c:pt idx="6">
                  <c:v>Q3 2007</c:v>
                </c:pt>
                <c:pt idx="7">
                  <c:v>Q4 2007</c:v>
                </c:pt>
                <c:pt idx="8">
                  <c:v>Q1 2008</c:v>
                </c:pt>
                <c:pt idx="9">
                  <c:v>Q2 2008</c:v>
                </c:pt>
                <c:pt idx="10">
                  <c:v>Q3 2008</c:v>
                </c:pt>
                <c:pt idx="11">
                  <c:v>Q4 2008</c:v>
                </c:pt>
                <c:pt idx="12">
                  <c:v>Q1 2009</c:v>
                </c:pt>
                <c:pt idx="13">
                  <c:v>Q2 2009</c:v>
                </c:pt>
                <c:pt idx="14">
                  <c:v>Q3 2009</c:v>
                </c:pt>
                <c:pt idx="15">
                  <c:v>Q4 2009</c:v>
                </c:pt>
                <c:pt idx="16">
                  <c:v>Q1 2010</c:v>
                </c:pt>
                <c:pt idx="17">
                  <c:v>Q2 2010</c:v>
                </c:pt>
                <c:pt idx="18">
                  <c:v>Q3 2010</c:v>
                </c:pt>
                <c:pt idx="19">
                  <c:v>Q4 2010</c:v>
                </c:pt>
                <c:pt idx="20">
                  <c:v>Q1 2011</c:v>
                </c:pt>
                <c:pt idx="21">
                  <c:v>Q2 2011</c:v>
                </c:pt>
                <c:pt idx="22">
                  <c:v>Q3 2011</c:v>
                </c:pt>
                <c:pt idx="23">
                  <c:v>Q4 2011</c:v>
                </c:pt>
                <c:pt idx="24">
                  <c:v>Q1 2012</c:v>
                </c:pt>
                <c:pt idx="25">
                  <c:v>Q2 2012</c:v>
                </c:pt>
                <c:pt idx="26">
                  <c:v>Q3 2012</c:v>
                </c:pt>
                <c:pt idx="27">
                  <c:v>Q4 2012</c:v>
                </c:pt>
                <c:pt idx="28">
                  <c:v>Q1 2013</c:v>
                </c:pt>
                <c:pt idx="29">
                  <c:v>Q2 2013</c:v>
                </c:pt>
                <c:pt idx="30">
                  <c:v>Q3 2013</c:v>
                </c:pt>
                <c:pt idx="31">
                  <c:v>Q4 2013</c:v>
                </c:pt>
                <c:pt idx="32">
                  <c:v>Q1 2014</c:v>
                </c:pt>
                <c:pt idx="33">
                  <c:v>Q2 2014</c:v>
                </c:pt>
                <c:pt idx="34">
                  <c:v>Q3 2014</c:v>
                </c:pt>
                <c:pt idx="35">
                  <c:v>Q4 2014</c:v>
                </c:pt>
                <c:pt idx="36">
                  <c:v>Q1 2015</c:v>
                </c:pt>
                <c:pt idx="37">
                  <c:v>Q2 2015</c:v>
                </c:pt>
                <c:pt idx="38">
                  <c:v>Q3 2015</c:v>
                </c:pt>
                <c:pt idx="39">
                  <c:v>Q4 2015</c:v>
                </c:pt>
                <c:pt idx="40">
                  <c:v>Q1 2016</c:v>
                </c:pt>
                <c:pt idx="41">
                  <c:v>Q2 2016</c:v>
                </c:pt>
                <c:pt idx="42">
                  <c:v>Q3 2016</c:v>
                </c:pt>
                <c:pt idx="43">
                  <c:v>Q4 2016</c:v>
                </c:pt>
                <c:pt idx="44">
                  <c:v>Q1 2017</c:v>
                </c:pt>
                <c:pt idx="45">
                  <c:v>Q2 2017</c:v>
                </c:pt>
                <c:pt idx="46">
                  <c:v>Q3 2017</c:v>
                </c:pt>
                <c:pt idx="47">
                  <c:v>Q4 2017</c:v>
                </c:pt>
                <c:pt idx="48">
                  <c:v>Q1 2018</c:v>
                </c:pt>
                <c:pt idx="49">
                  <c:v>Q2 2018</c:v>
                </c:pt>
                <c:pt idx="50">
                  <c:v>Q3 2018</c:v>
                </c:pt>
                <c:pt idx="51">
                  <c:v>Q4 2018</c:v>
                </c:pt>
                <c:pt idx="52">
                  <c:v>Q1 2019</c:v>
                </c:pt>
                <c:pt idx="53">
                  <c:v>Q2 2019</c:v>
                </c:pt>
                <c:pt idx="54">
                  <c:v>Q3 2019</c:v>
                </c:pt>
                <c:pt idx="55">
                  <c:v>Q4 2019</c:v>
                </c:pt>
                <c:pt idx="56">
                  <c:v>Q1 2020</c:v>
                </c:pt>
                <c:pt idx="57">
                  <c:v>Q2 2020</c:v>
                </c:pt>
                <c:pt idx="58">
                  <c:v>Q3 2020</c:v>
                </c:pt>
                <c:pt idx="59">
                  <c:v>Q4 2020</c:v>
                </c:pt>
                <c:pt idx="60">
                  <c:v>Q1 2021</c:v>
                </c:pt>
                <c:pt idx="61">
                  <c:v>Q2 2021</c:v>
                </c:pt>
                <c:pt idx="62">
                  <c:v>Q3 2021</c:v>
                </c:pt>
                <c:pt idx="63">
                  <c:v>Q4 2021</c:v>
                </c:pt>
                <c:pt idx="64">
                  <c:v>Q1 2022</c:v>
                </c:pt>
                <c:pt idx="65">
                  <c:v>Q2 2022</c:v>
                </c:pt>
                <c:pt idx="66">
                  <c:v>Q3 2022</c:v>
                </c:pt>
                <c:pt idx="67">
                  <c:v>Q4 2022</c:v>
                </c:pt>
                <c:pt idx="68">
                  <c:v>Q1 2023</c:v>
                </c:pt>
                <c:pt idx="69">
                  <c:v>Q2 2023</c:v>
                </c:pt>
                <c:pt idx="70">
                  <c:v>Q3 2023</c:v>
                </c:pt>
                <c:pt idx="71">
                  <c:v>Q4 2023</c:v>
                </c:pt>
                <c:pt idx="72">
                  <c:v>Q1 2024</c:v>
                </c:pt>
                <c:pt idx="73">
                  <c:v>Q2 2024</c:v>
                </c:pt>
                <c:pt idx="74">
                  <c:v>Q3 2024</c:v>
                </c:pt>
                <c:pt idx="75">
                  <c:v>Q4 2024</c:v>
                </c:pt>
                <c:pt idx="76">
                  <c:v>Q1 2025</c:v>
                </c:pt>
                <c:pt idx="77">
                  <c:v>Q2 2025</c:v>
                </c:pt>
                <c:pt idx="78">
                  <c:v>Q3 2025</c:v>
                </c:pt>
              </c:strCache>
            </c:strRef>
          </c:cat>
          <c:val>
            <c:numRef>
              <c:f>QRTRS!$L$45:$CL$45</c:f>
              <c:numCache>
                <c:formatCode>0.0%</c:formatCode>
                <c:ptCount val="79"/>
                <c:pt idx="0">
                  <c:v>8.7186662132270387E-2</c:v>
                </c:pt>
                <c:pt idx="1">
                  <c:v>8.6799613215125318E-2</c:v>
                </c:pt>
                <c:pt idx="2">
                  <c:v>8.5346939435777064E-2</c:v>
                </c:pt>
                <c:pt idx="3">
                  <c:v>8.5758634963740629E-2</c:v>
                </c:pt>
                <c:pt idx="4">
                  <c:v>8.9885726634323759E-2</c:v>
                </c:pt>
                <c:pt idx="5">
                  <c:v>9.2997303354009186E-2</c:v>
                </c:pt>
                <c:pt idx="6">
                  <c:v>9.9503388970276441E-2</c:v>
                </c:pt>
                <c:pt idx="7">
                  <c:v>0.10641481850327555</c:v>
                </c:pt>
                <c:pt idx="8">
                  <c:v>0.10692276834166811</c:v>
                </c:pt>
                <c:pt idx="9">
                  <c:v>0.10840198424312578</c:v>
                </c:pt>
                <c:pt idx="10">
                  <c:v>0.10573885410383173</c:v>
                </c:pt>
                <c:pt idx="11">
                  <c:v>9.936934491466963E-2</c:v>
                </c:pt>
                <c:pt idx="12">
                  <c:v>9.1485378037241938E-2</c:v>
                </c:pt>
                <c:pt idx="13">
                  <c:v>8.5449800844720328E-2</c:v>
                </c:pt>
                <c:pt idx="14">
                  <c:v>8.2753459367996968E-2</c:v>
                </c:pt>
                <c:pt idx="15">
                  <c:v>8.5727685211403476E-2</c:v>
                </c:pt>
                <c:pt idx="16">
                  <c:v>9.0410714939310993E-2</c:v>
                </c:pt>
                <c:pt idx="17">
                  <c:v>9.543225285997016E-2</c:v>
                </c:pt>
                <c:pt idx="18">
                  <c:v>9.8906125461800415E-2</c:v>
                </c:pt>
                <c:pt idx="19">
                  <c:v>0.10088308308113358</c:v>
                </c:pt>
                <c:pt idx="20">
                  <c:v>0.10376867295425328</c:v>
                </c:pt>
                <c:pt idx="21">
                  <c:v>0.10350612983065245</c:v>
                </c:pt>
                <c:pt idx="22">
                  <c:v>0.10452711437153331</c:v>
                </c:pt>
                <c:pt idx="23">
                  <c:v>0.10152272563349786</c:v>
                </c:pt>
                <c:pt idx="24">
                  <c:v>9.9255636709166165E-2</c:v>
                </c:pt>
                <c:pt idx="25">
                  <c:v>9.7382463823737164E-2</c:v>
                </c:pt>
                <c:pt idx="26">
                  <c:v>9.5725869473626685E-2</c:v>
                </c:pt>
                <c:pt idx="27">
                  <c:v>9.6898165572831513E-2</c:v>
                </c:pt>
                <c:pt idx="28">
                  <c:v>9.5120675968117713E-2</c:v>
                </c:pt>
                <c:pt idx="29">
                  <c:v>9.4068669744367062E-2</c:v>
                </c:pt>
                <c:pt idx="30">
                  <c:v>9.3306937170205106E-2</c:v>
                </c:pt>
                <c:pt idx="31">
                  <c:v>9.2694380313404851E-2</c:v>
                </c:pt>
                <c:pt idx="32">
                  <c:v>9.3429312126451988E-2</c:v>
                </c:pt>
                <c:pt idx="33">
                  <c:v>9.5203104277830547E-2</c:v>
                </c:pt>
                <c:pt idx="34">
                  <c:v>9.6534720676761263E-2</c:v>
                </c:pt>
                <c:pt idx="35">
                  <c:v>9.7217218223194596E-2</c:v>
                </c:pt>
                <c:pt idx="36">
                  <c:v>9.7474476355017214E-2</c:v>
                </c:pt>
                <c:pt idx="37">
                  <c:v>9.6714689999997522E-2</c:v>
                </c:pt>
                <c:pt idx="38">
                  <c:v>9.7202764084985516E-2</c:v>
                </c:pt>
                <c:pt idx="39">
                  <c:v>9.8902034733739819E-2</c:v>
                </c:pt>
                <c:pt idx="40">
                  <c:v>0.10040576930463464</c:v>
                </c:pt>
                <c:pt idx="41">
                  <c:v>0.10039823832989125</c:v>
                </c:pt>
                <c:pt idx="42">
                  <c:v>0.10221345891118849</c:v>
                </c:pt>
                <c:pt idx="43">
                  <c:v>0.10214705287128348</c:v>
                </c:pt>
                <c:pt idx="44">
                  <c:v>0.10396137475933606</c:v>
                </c:pt>
                <c:pt idx="45">
                  <c:v>0.10713496929839064</c:v>
                </c:pt>
                <c:pt idx="46">
                  <c:v>0.10573064584695434</c:v>
                </c:pt>
                <c:pt idx="47">
                  <c:v>0.104868006677846</c:v>
                </c:pt>
                <c:pt idx="48">
                  <c:v>0.10406345328213168</c:v>
                </c:pt>
                <c:pt idx="49">
                  <c:v>0.10317037786481401</c:v>
                </c:pt>
                <c:pt idx="50">
                  <c:v>0.10252829468945818</c:v>
                </c:pt>
                <c:pt idx="51">
                  <c:v>0.10370553656933257</c:v>
                </c:pt>
                <c:pt idx="52">
                  <c:v>0.10229638731073062</c:v>
                </c:pt>
                <c:pt idx="53">
                  <c:v>0.10146366796125941</c:v>
                </c:pt>
                <c:pt idx="54">
                  <c:v>0.1018077695049342</c:v>
                </c:pt>
                <c:pt idx="55">
                  <c:v>0.10111049664265739</c:v>
                </c:pt>
                <c:pt idx="56">
                  <c:v>9.346313227550776E-2</c:v>
                </c:pt>
                <c:pt idx="57">
                  <c:v>7.9279569430636701E-2</c:v>
                </c:pt>
                <c:pt idx="58">
                  <c:v>7.724328466936356E-2</c:v>
                </c:pt>
                <c:pt idx="59">
                  <c:v>8.0506647705337081E-2</c:v>
                </c:pt>
                <c:pt idx="60">
                  <c:v>9.1871860893252513E-2</c:v>
                </c:pt>
                <c:pt idx="61">
                  <c:v>0.11021357137580076</c:v>
                </c:pt>
                <c:pt idx="62">
                  <c:v>0.11407340345983352</c:v>
                </c:pt>
                <c:pt idx="63">
                  <c:v>0.11323258429912336</c:v>
                </c:pt>
                <c:pt idx="64">
                  <c:v>0.11422906273203401</c:v>
                </c:pt>
                <c:pt idx="65">
                  <c:v>0.11188846494995522</c:v>
                </c:pt>
                <c:pt idx="66">
                  <c:v>0.11040977582073752</c:v>
                </c:pt>
                <c:pt idx="67">
                  <c:v>0.11116368718229636</c:v>
                </c:pt>
                <c:pt idx="68">
                  <c:v>0.11057057179716653</c:v>
                </c:pt>
                <c:pt idx="69">
                  <c:v>0.11167206750133307</c:v>
                </c:pt>
                <c:pt idx="70">
                  <c:v>0.11468854241575697</c:v>
                </c:pt>
                <c:pt idx="71">
                  <c:v>0.11422116474198393</c:v>
                </c:pt>
                <c:pt idx="72">
                  <c:v>0.11302836017414115</c:v>
                </c:pt>
                <c:pt idx="73">
                  <c:v>0.1123760975221012</c:v>
                </c:pt>
                <c:pt idx="74">
                  <c:v>0.10913846306822245</c:v>
                </c:pt>
                <c:pt idx="75">
                  <c:v>0.10738851515813899</c:v>
                </c:pt>
                <c:pt idx="76">
                  <c:v>0.10428201014679143</c:v>
                </c:pt>
                <c:pt idx="77">
                  <c:v>0.10174925277350744</c:v>
                </c:pt>
                <c:pt idx="78">
                  <c:v>9.8891820210686793E-2</c:v>
                </c:pt>
              </c:numCache>
            </c:numRef>
          </c:val>
          <c:extLst>
            <c:ext xmlns:c16="http://schemas.microsoft.com/office/drawing/2014/chart" uri="{C3380CC4-5D6E-409C-BE32-E72D297353CC}">
              <c16:uniqueId val="{00000000-7B7B-42F3-A3DC-004A53B2577C}"/>
            </c:ext>
          </c:extLst>
        </c:ser>
        <c:dLbls>
          <c:showLegendKey val="0"/>
          <c:showVal val="0"/>
          <c:showCatName val="0"/>
          <c:showSerName val="0"/>
          <c:showPercent val="0"/>
          <c:showBubbleSize val="0"/>
        </c:dLbls>
        <c:gapWidth val="70"/>
        <c:axId val="1547894144"/>
        <c:axId val="639216336"/>
      </c:barChart>
      <c:catAx>
        <c:axId val="1547894144"/>
        <c:scaling>
          <c:orientation val="minMax"/>
        </c:scaling>
        <c:delete val="0"/>
        <c:axPos val="b"/>
        <c:numFmt formatCode="General" sourceLinked="1"/>
        <c:majorTickMark val="none"/>
        <c:minorTickMark val="none"/>
        <c:tickLblPos val="low"/>
        <c:spPr>
          <a:noFill/>
          <a:ln w="6350" cap="flat" cmpd="sng" algn="ctr">
            <a:solidFill>
              <a:srgbClr val="ECEBE4"/>
            </a:solidFill>
            <a:prstDash val="solid"/>
            <a:round/>
            <a:headEnd type="none" w="med" len="med"/>
            <a:tailEnd type="none" w="med" len="me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39216336"/>
        <c:crosses val="autoZero"/>
        <c:auto val="1"/>
        <c:lblAlgn val="ctr"/>
        <c:lblOffset val="100"/>
        <c:tickLblSkip val="12"/>
        <c:noMultiLvlLbl val="0"/>
      </c:catAx>
      <c:valAx>
        <c:axId val="639216336"/>
        <c:scaling>
          <c:orientation val="minMax"/>
          <c:min val="6.0000000000000012E-2"/>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478941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200"/>
      </a:pPr>
      <a:endParaRPr lang="en-US"/>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EMU!$TZ$3</c:f>
          <c:strCache>
            <c:ptCount val="1"/>
            <c:pt idx="0">
              <c:v>P/E ratio</c:v>
            </c:pt>
          </c:strCache>
        </c:strRef>
      </c:tx>
      <c:layout>
        <c:manualLayout>
          <c:xMode val="edge"/>
          <c:yMode val="edge"/>
          <c:x val="3.0445336320507284E-4"/>
          <c:y val="0"/>
        </c:manualLayout>
      </c:layout>
      <c:overlay val="0"/>
      <c:txPr>
        <a:bodyPr/>
        <a:lstStyle/>
        <a:p>
          <a:pPr>
            <a:defRPr>
              <a:solidFill>
                <a:schemeClr val="tx1">
                  <a:lumMod val="65000"/>
                  <a:lumOff val="35000"/>
                </a:schemeClr>
              </a:solidFill>
              <a:latin typeface="+mj-lt"/>
            </a:defRPr>
          </a:pPr>
          <a:endParaRPr lang="en-US"/>
        </a:p>
      </c:txPr>
    </c:title>
    <c:autoTitleDeleted val="0"/>
    <c:plotArea>
      <c:layout>
        <c:manualLayout>
          <c:layoutTarget val="inner"/>
          <c:xMode val="edge"/>
          <c:yMode val="edge"/>
          <c:x val="6.1124176082862532E-2"/>
          <c:y val="9.0421698872785825E-2"/>
          <c:w val="0.87999246704331435"/>
          <c:h val="0.66883010559088907"/>
        </c:manualLayout>
      </c:layout>
      <c:lineChart>
        <c:grouping val="standard"/>
        <c:varyColors val="0"/>
        <c:ser>
          <c:idx val="5"/>
          <c:order val="0"/>
          <c:tx>
            <c:strRef>
              <c:f>EMU!$DQ$8</c:f>
              <c:strCache>
                <c:ptCount val="1"/>
                <c:pt idx="0">
                  <c:v>EMU fwd P/E</c:v>
                </c:pt>
              </c:strCache>
            </c:strRef>
          </c:tx>
          <c:spPr>
            <a:ln w="19050" cap="rnd" cmpd="sng" algn="ctr">
              <a:solidFill>
                <a:srgbClr val="BD000C"/>
              </a:solidFill>
              <a:prstDash val="solid"/>
              <a:round/>
              <a:headEnd type="none" w="med" len="med"/>
              <a:tailEnd type="none" w="med" len="med"/>
            </a:ln>
            <a:effectLst/>
          </c:spPr>
          <c:marker>
            <c:symbol val="none"/>
          </c:marker>
          <c:cat>
            <c:numRef>
              <c:f>EMU!$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EMU!$DQ$9:$DQ$901</c:f>
              <c:numCache>
                <c:formatCode>0.00</c:formatCode>
                <c:ptCount val="893"/>
                <c:pt idx="0">
                  <c:v>12.700242027334852</c:v>
                </c:pt>
                <c:pt idx="1">
                  <c:v>12.229866858582223</c:v>
                </c:pt>
                <c:pt idx="2">
                  <c:v>12.858062183658713</c:v>
                </c:pt>
                <c:pt idx="3">
                  <c:v>13.160183232749217</c:v>
                </c:pt>
                <c:pt idx="4">
                  <c:v>13.534320809248555</c:v>
                </c:pt>
                <c:pt idx="5">
                  <c:v>13.745314543077146</c:v>
                </c:pt>
                <c:pt idx="6">
                  <c:v>13.81005179079437</c:v>
                </c:pt>
                <c:pt idx="7">
                  <c:v>13.600879120879119</c:v>
                </c:pt>
                <c:pt idx="8">
                  <c:v>13.541801351748456</c:v>
                </c:pt>
                <c:pt idx="9">
                  <c:v>13.288538702852556</c:v>
                </c:pt>
                <c:pt idx="10">
                  <c:v>13.87163348946136</c:v>
                </c:pt>
                <c:pt idx="11">
                  <c:v>14.174639220569921</c:v>
                </c:pt>
                <c:pt idx="12">
                  <c:v>13.83531658586749</c:v>
                </c:pt>
                <c:pt idx="13">
                  <c:v>13.402396259497369</c:v>
                </c:pt>
                <c:pt idx="14">
                  <c:v>13.468884826325411</c:v>
                </c:pt>
                <c:pt idx="15">
                  <c:v>13.542088282739405</c:v>
                </c:pt>
                <c:pt idx="16">
                  <c:v>13.986962572328425</c:v>
                </c:pt>
                <c:pt idx="17">
                  <c:v>13.560176798782697</c:v>
                </c:pt>
                <c:pt idx="18">
                  <c:v>13.280962800875272</c:v>
                </c:pt>
                <c:pt idx="19">
                  <c:v>12.97628256586149</c:v>
                </c:pt>
                <c:pt idx="20">
                  <c:v>12.762427703345779</c:v>
                </c:pt>
                <c:pt idx="21">
                  <c:v>13.230537381459971</c:v>
                </c:pt>
                <c:pt idx="22">
                  <c:v>12.926387976946085</c:v>
                </c:pt>
                <c:pt idx="23">
                  <c:v>13.459198596080727</c:v>
                </c:pt>
                <c:pt idx="24">
                  <c:v>13.592831488675511</c:v>
                </c:pt>
                <c:pt idx="25">
                  <c:v>13.72145316047755</c:v>
                </c:pt>
                <c:pt idx="26">
                  <c:v>13.563849116941638</c:v>
                </c:pt>
                <c:pt idx="27">
                  <c:v>13.86208396780509</c:v>
                </c:pt>
                <c:pt idx="28">
                  <c:v>13.609791530471419</c:v>
                </c:pt>
                <c:pt idx="29">
                  <c:v>13.772439857547788</c:v>
                </c:pt>
                <c:pt idx="30">
                  <c:v>13.934126984126985</c:v>
                </c:pt>
                <c:pt idx="31">
                  <c:v>13.74253650816488</c:v>
                </c:pt>
                <c:pt idx="32">
                  <c:v>13.347481444116164</c:v>
                </c:pt>
                <c:pt idx="33">
                  <c:v>13.757224183901418</c:v>
                </c:pt>
                <c:pt idx="34">
                  <c:v>13.685452446240438</c:v>
                </c:pt>
                <c:pt idx="35">
                  <c:v>13.460742326909351</c:v>
                </c:pt>
                <c:pt idx="36">
                  <c:v>13.584238353815376</c:v>
                </c:pt>
                <c:pt idx="37">
                  <c:v>13.813599313599314</c:v>
                </c:pt>
                <c:pt idx="38">
                  <c:v>13.814828054622149</c:v>
                </c:pt>
                <c:pt idx="39">
                  <c:v>13.161230856494612</c:v>
                </c:pt>
                <c:pt idx="40">
                  <c:v>13.425572654421671</c:v>
                </c:pt>
                <c:pt idx="41">
                  <c:v>13.395808256036252</c:v>
                </c:pt>
                <c:pt idx="42">
                  <c:v>13.511641072818625</c:v>
                </c:pt>
                <c:pt idx="43">
                  <c:v>13.2468815697267</c:v>
                </c:pt>
                <c:pt idx="44">
                  <c:v>14.013064550115894</c:v>
                </c:pt>
                <c:pt idx="45">
                  <c:v>14.236825485930813</c:v>
                </c:pt>
                <c:pt idx="46">
                  <c:v>14.306332842415316</c:v>
                </c:pt>
                <c:pt idx="47">
                  <c:v>14.339882121807467</c:v>
                </c:pt>
                <c:pt idx="48">
                  <c:v>14.35229956926497</c:v>
                </c:pt>
                <c:pt idx="49">
                  <c:v>14.376007784264665</c:v>
                </c:pt>
                <c:pt idx="50">
                  <c:v>14.286389216980476</c:v>
                </c:pt>
                <c:pt idx="51">
                  <c:v>14.350670092354697</c:v>
                </c:pt>
                <c:pt idx="52">
                  <c:v>14.144049096676319</c:v>
                </c:pt>
                <c:pt idx="53">
                  <c:v>14.145320366921855</c:v>
                </c:pt>
                <c:pt idx="54">
                  <c:v>14.249742214889666</c:v>
                </c:pt>
                <c:pt idx="55">
                  <c:v>14.176082927164137</c:v>
                </c:pt>
                <c:pt idx="56">
                  <c:v>14.415606503843799</c:v>
                </c:pt>
                <c:pt idx="57">
                  <c:v>14.464961219213498</c:v>
                </c:pt>
                <c:pt idx="58">
                  <c:v>14.623946151754147</c:v>
                </c:pt>
                <c:pt idx="59">
                  <c:v>14.618499863871495</c:v>
                </c:pt>
                <c:pt idx="60">
                  <c:v>14.814141277057747</c:v>
                </c:pt>
                <c:pt idx="61">
                  <c:v>14.685414424111947</c:v>
                </c:pt>
                <c:pt idx="62">
                  <c:v>14.488019330156387</c:v>
                </c:pt>
                <c:pt idx="63">
                  <c:v>14.453130242233108</c:v>
                </c:pt>
                <c:pt idx="64">
                  <c:v>14.894493878370241</c:v>
                </c:pt>
                <c:pt idx="65">
                  <c:v>15.140296335494112</c:v>
                </c:pt>
                <c:pt idx="66">
                  <c:v>15.048348745046233</c:v>
                </c:pt>
                <c:pt idx="67">
                  <c:v>14.847679936725546</c:v>
                </c:pt>
                <c:pt idx="68">
                  <c:v>14.839304531085354</c:v>
                </c:pt>
                <c:pt idx="69">
                  <c:v>14.80132017515195</c:v>
                </c:pt>
                <c:pt idx="70">
                  <c:v>14.809938457509494</c:v>
                </c:pt>
                <c:pt idx="71">
                  <c:v>14.671788166067342</c:v>
                </c:pt>
                <c:pt idx="72">
                  <c:v>14.618415893347276</c:v>
                </c:pt>
                <c:pt idx="73">
                  <c:v>14.254694144586196</c:v>
                </c:pt>
                <c:pt idx="74">
                  <c:v>14.232946063477641</c:v>
                </c:pt>
                <c:pt idx="75">
                  <c:v>14.542697214267116</c:v>
                </c:pt>
                <c:pt idx="76">
                  <c:v>14.274677272134568</c:v>
                </c:pt>
                <c:pt idx="77">
                  <c:v>14.328109696376103</c:v>
                </c:pt>
                <c:pt idx="78">
                  <c:v>14.386827278026033</c:v>
                </c:pt>
                <c:pt idx="79">
                  <c:v>13.972997416020672</c:v>
                </c:pt>
                <c:pt idx="80">
                  <c:v>14.13238144463109</c:v>
                </c:pt>
                <c:pt idx="81">
                  <c:v>14.106572739610934</c:v>
                </c:pt>
                <c:pt idx="82">
                  <c:v>14.161896127444631</c:v>
                </c:pt>
                <c:pt idx="83">
                  <c:v>14.093011272141707</c:v>
                </c:pt>
                <c:pt idx="84">
                  <c:v>14.330799948473528</c:v>
                </c:pt>
                <c:pt idx="85">
                  <c:v>14.436041263700838</c:v>
                </c:pt>
                <c:pt idx="86">
                  <c:v>14.616826644334214</c:v>
                </c:pt>
                <c:pt idx="87">
                  <c:v>14.55358628191183</c:v>
                </c:pt>
                <c:pt idx="88">
                  <c:v>14.618153865863814</c:v>
                </c:pt>
                <c:pt idx="89">
                  <c:v>14.646440025657473</c:v>
                </c:pt>
                <c:pt idx="90">
                  <c:v>14.822718234879098</c:v>
                </c:pt>
                <c:pt idx="91">
                  <c:v>14.889420317581788</c:v>
                </c:pt>
                <c:pt idx="92">
                  <c:v>14.578933929141398</c:v>
                </c:pt>
                <c:pt idx="93">
                  <c:v>14.403932082216263</c:v>
                </c:pt>
                <c:pt idx="94">
                  <c:v>14.534585169572717</c:v>
                </c:pt>
                <c:pt idx="95">
                  <c:v>14.326181077295303</c:v>
                </c:pt>
                <c:pt idx="96">
                  <c:v>14.548108657019547</c:v>
                </c:pt>
                <c:pt idx="97">
                  <c:v>14.400583127337264</c:v>
                </c:pt>
                <c:pt idx="98">
                  <c:v>14.417078423919929</c:v>
                </c:pt>
                <c:pt idx="99">
                  <c:v>14.273205347525819</c:v>
                </c:pt>
                <c:pt idx="100">
                  <c:v>14.614934206384184</c:v>
                </c:pt>
                <c:pt idx="101">
                  <c:v>14.650968309859154</c:v>
                </c:pt>
                <c:pt idx="102">
                  <c:v>14.799974847513047</c:v>
                </c:pt>
                <c:pt idx="103">
                  <c:v>14.74985862393968</c:v>
                </c:pt>
                <c:pt idx="104">
                  <c:v>14.178244346146657</c:v>
                </c:pt>
                <c:pt idx="105">
                  <c:v>13.458863126402393</c:v>
                </c:pt>
                <c:pt idx="106">
                  <c:v>13.884445275026474</c:v>
                </c:pt>
                <c:pt idx="107">
                  <c:v>13.914788995394002</c:v>
                </c:pt>
                <c:pt idx="108">
                  <c:v>13.342350688654193</c:v>
                </c:pt>
                <c:pt idx="109">
                  <c:v>13.780231335436381</c:v>
                </c:pt>
                <c:pt idx="110">
                  <c:v>13.784278557733934</c:v>
                </c:pt>
                <c:pt idx="111">
                  <c:v>13.316154179298398</c:v>
                </c:pt>
                <c:pt idx="112">
                  <c:v>13.529874311188161</c:v>
                </c:pt>
                <c:pt idx="113">
                  <c:v>13.593553942674376</c:v>
                </c:pt>
                <c:pt idx="114">
                  <c:v>13.76296341914029</c:v>
                </c:pt>
                <c:pt idx="115">
                  <c:v>13.91539929807278</c:v>
                </c:pt>
                <c:pt idx="116">
                  <c:v>13.998274799753544</c:v>
                </c:pt>
                <c:pt idx="117">
                  <c:v>13.965687469527058</c:v>
                </c:pt>
                <c:pt idx="118">
                  <c:v>14.042901478731819</c:v>
                </c:pt>
                <c:pt idx="119">
                  <c:v>14.01577000060654</c:v>
                </c:pt>
                <c:pt idx="120">
                  <c:v>13.825009092011152</c:v>
                </c:pt>
                <c:pt idx="121">
                  <c:v>13.626113838879796</c:v>
                </c:pt>
                <c:pt idx="122">
                  <c:v>13.559246285783308</c:v>
                </c:pt>
                <c:pt idx="123">
                  <c:v>13.73867406647765</c:v>
                </c:pt>
                <c:pt idx="124">
                  <c:v>13.467483108108107</c:v>
                </c:pt>
                <c:pt idx="125">
                  <c:v>13.270912490199626</c:v>
                </c:pt>
                <c:pt idx="126">
                  <c:v>13.336563771237136</c:v>
                </c:pt>
                <c:pt idx="127">
                  <c:v>13.447104710471049</c:v>
                </c:pt>
                <c:pt idx="128">
                  <c:v>13.459410811783764</c:v>
                </c:pt>
                <c:pt idx="129">
                  <c:v>13.670365261200745</c:v>
                </c:pt>
                <c:pt idx="130">
                  <c:v>13.418321245987398</c:v>
                </c:pt>
                <c:pt idx="131">
                  <c:v>13.253884159771415</c:v>
                </c:pt>
                <c:pt idx="132">
                  <c:v>13.057552672300917</c:v>
                </c:pt>
                <c:pt idx="133">
                  <c:v>13.273480827717814</c:v>
                </c:pt>
                <c:pt idx="134">
                  <c:v>13.223815498595926</c:v>
                </c:pt>
                <c:pt idx="135">
                  <c:v>12.775611779344672</c:v>
                </c:pt>
                <c:pt idx="136">
                  <c:v>12.931330218252794</c:v>
                </c:pt>
                <c:pt idx="137">
                  <c:v>13.215803492157443</c:v>
                </c:pt>
                <c:pt idx="138">
                  <c:v>13.074510966212211</c:v>
                </c:pt>
                <c:pt idx="139">
                  <c:v>12.752337822737164</c:v>
                </c:pt>
                <c:pt idx="140">
                  <c:v>12.131531002057008</c:v>
                </c:pt>
                <c:pt idx="141">
                  <c:v>12.190204273856478</c:v>
                </c:pt>
                <c:pt idx="142">
                  <c:v>11.915800661313179</c:v>
                </c:pt>
                <c:pt idx="143">
                  <c:v>12.220186718337152</c:v>
                </c:pt>
                <c:pt idx="144">
                  <c:v>12.268974857210152</c:v>
                </c:pt>
                <c:pt idx="145">
                  <c:v>12.10961889615362</c:v>
                </c:pt>
                <c:pt idx="146">
                  <c:v>11.927623429481509</c:v>
                </c:pt>
                <c:pt idx="147">
                  <c:v>12.080120624408705</c:v>
                </c:pt>
                <c:pt idx="148">
                  <c:v>11.590341578327443</c:v>
                </c:pt>
                <c:pt idx="149">
                  <c:v>11.743796268877702</c:v>
                </c:pt>
                <c:pt idx="150">
                  <c:v>11.380116265274648</c:v>
                </c:pt>
                <c:pt idx="151">
                  <c:v>11.350924110061211</c:v>
                </c:pt>
                <c:pt idx="152">
                  <c:v>11.499911509645449</c:v>
                </c:pt>
                <c:pt idx="153">
                  <c:v>11.720668404835267</c:v>
                </c:pt>
                <c:pt idx="154">
                  <c:v>12.029863176680548</c:v>
                </c:pt>
                <c:pt idx="155">
                  <c:v>12.208457770875642</c:v>
                </c:pt>
                <c:pt idx="156">
                  <c:v>12.240592042186002</c:v>
                </c:pt>
                <c:pt idx="157">
                  <c:v>12.057013087910118</c:v>
                </c:pt>
                <c:pt idx="158">
                  <c:v>12.535896665665366</c:v>
                </c:pt>
                <c:pt idx="159">
                  <c:v>12.654496240601503</c:v>
                </c:pt>
                <c:pt idx="160">
                  <c:v>12.870321178459308</c:v>
                </c:pt>
                <c:pt idx="161">
                  <c:v>12.658869512928444</c:v>
                </c:pt>
                <c:pt idx="162">
                  <c:v>13.057876650388859</c:v>
                </c:pt>
                <c:pt idx="163">
                  <c:v>12.838750680951517</c:v>
                </c:pt>
                <c:pt idx="164">
                  <c:v>12.940444551824111</c:v>
                </c:pt>
                <c:pt idx="165">
                  <c:v>13.258335836587564</c:v>
                </c:pt>
                <c:pt idx="166">
                  <c:v>13.292225362275268</c:v>
                </c:pt>
                <c:pt idx="167">
                  <c:v>13.470344080846971</c:v>
                </c:pt>
                <c:pt idx="168">
                  <c:v>13.454030947076884</c:v>
                </c:pt>
                <c:pt idx="169">
                  <c:v>13.364403735632184</c:v>
                </c:pt>
                <c:pt idx="170">
                  <c:v>12.888582228355432</c:v>
                </c:pt>
                <c:pt idx="171">
                  <c:v>13.076247745039087</c:v>
                </c:pt>
                <c:pt idx="172">
                  <c:v>12.789324998497326</c:v>
                </c:pt>
                <c:pt idx="173">
                  <c:v>12.549221240002405</c:v>
                </c:pt>
                <c:pt idx="174">
                  <c:v>12.814343967378269</c:v>
                </c:pt>
                <c:pt idx="175">
                  <c:v>12.852955309947141</c:v>
                </c:pt>
                <c:pt idx="176">
                  <c:v>13.149858680618197</c:v>
                </c:pt>
                <c:pt idx="177">
                  <c:v>13.214397779386919</c:v>
                </c:pt>
                <c:pt idx="178">
                  <c:v>13.332753762215962</c:v>
                </c:pt>
                <c:pt idx="179">
                  <c:v>13.267677679484864</c:v>
                </c:pt>
                <c:pt idx="180">
                  <c:v>13.274282260501661</c:v>
                </c:pt>
                <c:pt idx="181">
                  <c:v>13.503210953592632</c:v>
                </c:pt>
                <c:pt idx="182">
                  <c:v>12.933675316837659</c:v>
                </c:pt>
                <c:pt idx="183">
                  <c:v>12.815246419033747</c:v>
                </c:pt>
                <c:pt idx="184">
                  <c:v>12.758228387175274</c:v>
                </c:pt>
                <c:pt idx="185">
                  <c:v>12.821191245503872</c:v>
                </c:pt>
                <c:pt idx="186">
                  <c:v>13.16190881976992</c:v>
                </c:pt>
                <c:pt idx="187">
                  <c:v>13.359721802237678</c:v>
                </c:pt>
                <c:pt idx="188">
                  <c:v>13.568921699140748</c:v>
                </c:pt>
                <c:pt idx="189">
                  <c:v>13.575198208557769</c:v>
                </c:pt>
                <c:pt idx="190">
                  <c:v>13.561462198163129</c:v>
                </c:pt>
                <c:pt idx="191">
                  <c:v>13.120723981900452</c:v>
                </c:pt>
                <c:pt idx="192">
                  <c:v>13.562344969447638</c:v>
                </c:pt>
                <c:pt idx="193">
                  <c:v>13.634578079534434</c:v>
                </c:pt>
                <c:pt idx="194">
                  <c:v>13.8171768707483</c:v>
                </c:pt>
                <c:pt idx="195">
                  <c:v>13.949468410118538</c:v>
                </c:pt>
                <c:pt idx="196">
                  <c:v>14.137446808510639</c:v>
                </c:pt>
                <c:pt idx="197">
                  <c:v>14.182360460161911</c:v>
                </c:pt>
                <c:pt idx="198">
                  <c:v>14.130190522716168</c:v>
                </c:pt>
                <c:pt idx="199">
                  <c:v>14.224873065394259</c:v>
                </c:pt>
                <c:pt idx="200">
                  <c:v>14.14649021162408</c:v>
                </c:pt>
                <c:pt idx="201">
                  <c:v>14.275335775335776</c:v>
                </c:pt>
                <c:pt idx="202">
                  <c:v>14.494834647594596</c:v>
                </c:pt>
                <c:pt idx="203">
                  <c:v>14.543705972434916</c:v>
                </c:pt>
                <c:pt idx="204">
                  <c:v>14.417148420860464</c:v>
                </c:pt>
                <c:pt idx="205">
                  <c:v>14.51331911002743</c:v>
                </c:pt>
                <c:pt idx="206">
                  <c:v>14.641078838174272</c:v>
                </c:pt>
                <c:pt idx="207">
                  <c:v>14.597150021405419</c:v>
                </c:pt>
                <c:pt idx="208">
                  <c:v>14.138245742986646</c:v>
                </c:pt>
                <c:pt idx="209">
                  <c:v>14.60874330248417</c:v>
                </c:pt>
                <c:pt idx="210">
                  <c:v>14.862111117902328</c:v>
                </c:pt>
                <c:pt idx="211">
                  <c:v>14.768994910161281</c:v>
                </c:pt>
                <c:pt idx="212">
                  <c:v>13.065965171374069</c:v>
                </c:pt>
                <c:pt idx="213">
                  <c:v>12.686233446258086</c:v>
                </c:pt>
                <c:pt idx="214">
                  <c:v>10.275784613464777</c:v>
                </c:pt>
                <c:pt idx="215">
                  <c:v>10.369187351677249</c:v>
                </c:pt>
                <c:pt idx="216">
                  <c:v>11.471700625915568</c:v>
                </c:pt>
                <c:pt idx="217">
                  <c:v>11.70351304347826</c:v>
                </c:pt>
                <c:pt idx="218">
                  <c:v>13.351954492415402</c:v>
                </c:pt>
                <c:pt idx="219">
                  <c:v>13.755449950969298</c:v>
                </c:pt>
                <c:pt idx="220">
                  <c:v>14.074309978768577</c:v>
                </c:pt>
                <c:pt idx="221">
                  <c:v>15.133582210680085</c:v>
                </c:pt>
                <c:pt idx="222">
                  <c:v>15.174468777985835</c:v>
                </c:pt>
                <c:pt idx="223">
                  <c:v>14.754291400613651</c:v>
                </c:pt>
                <c:pt idx="224">
                  <c:v>15.678737233054783</c:v>
                </c:pt>
                <c:pt idx="225">
                  <c:v>16.528806934058462</c:v>
                </c:pt>
                <c:pt idx="226">
                  <c:v>17.975063398140321</c:v>
                </c:pt>
                <c:pt idx="227">
                  <c:v>16.998720245712821</c:v>
                </c:pt>
                <c:pt idx="228">
                  <c:v>17.607044909153242</c:v>
                </c:pt>
                <c:pt idx="229">
                  <c:v>17.358661044660526</c:v>
                </c:pt>
                <c:pt idx="230">
                  <c:v>17.489307750824107</c:v>
                </c:pt>
                <c:pt idx="231">
                  <c:v>17.622800306044375</c:v>
                </c:pt>
                <c:pt idx="232">
                  <c:v>18.020769230769233</c:v>
                </c:pt>
                <c:pt idx="233">
                  <c:v>17.868292264102344</c:v>
                </c:pt>
                <c:pt idx="234">
                  <c:v>17.398626922742679</c:v>
                </c:pt>
                <c:pt idx="235">
                  <c:v>17.41801189464741</c:v>
                </c:pt>
                <c:pt idx="236">
                  <c:v>17.747740835464622</c:v>
                </c:pt>
                <c:pt idx="237">
                  <c:v>17.566512978142079</c:v>
                </c:pt>
                <c:pt idx="238">
                  <c:v>17.86858509094014</c:v>
                </c:pt>
                <c:pt idx="239">
                  <c:v>17.084164174144234</c:v>
                </c:pt>
                <c:pt idx="240">
                  <c:v>17.402194696150968</c:v>
                </c:pt>
                <c:pt idx="241">
                  <c:v>17.392165051787504</c:v>
                </c:pt>
                <c:pt idx="242">
                  <c:v>16.665441790546183</c:v>
                </c:pt>
                <c:pt idx="243">
                  <c:v>16.494129079277673</c:v>
                </c:pt>
                <c:pt idx="244">
                  <c:v>17.03392450374227</c:v>
                </c:pt>
                <c:pt idx="245">
                  <c:v>16.962751650501264</c:v>
                </c:pt>
                <c:pt idx="246">
                  <c:v>16.747555410691003</c:v>
                </c:pt>
                <c:pt idx="247">
                  <c:v>15.635206786850476</c:v>
                </c:pt>
                <c:pt idx="248">
                  <c:v>16.321145304568525</c:v>
                </c:pt>
                <c:pt idx="249">
                  <c:v>17.413716462930623</c:v>
                </c:pt>
                <c:pt idx="250">
                  <c:v>17.676150361598982</c:v>
                </c:pt>
                <c:pt idx="251">
                  <c:v>17.98261352810416</c:v>
                </c:pt>
                <c:pt idx="252">
                  <c:v>17.598667389788485</c:v>
                </c:pt>
                <c:pt idx="253">
                  <c:v>17.350863604678182</c:v>
                </c:pt>
                <c:pt idx="254">
                  <c:v>17.609307359307362</c:v>
                </c:pt>
                <c:pt idx="255">
                  <c:v>17.6018539976825</c:v>
                </c:pt>
                <c:pt idx="256">
                  <c:v>17.654160876949206</c:v>
                </c:pt>
                <c:pt idx="257">
                  <c:v>17.876415596260546</c:v>
                </c:pt>
                <c:pt idx="258">
                  <c:v>17.617035800970875</c:v>
                </c:pt>
                <c:pt idx="259">
                  <c:v>17.51148256908365</c:v>
                </c:pt>
                <c:pt idx="260">
                  <c:v>16.950390859891762</c:v>
                </c:pt>
                <c:pt idx="261">
                  <c:v>17.386026973247844</c:v>
                </c:pt>
                <c:pt idx="262">
                  <c:v>17.460996033494929</c:v>
                </c:pt>
                <c:pt idx="263">
                  <c:v>17.446902006737954</c:v>
                </c:pt>
                <c:pt idx="264">
                  <c:v>17.082979657544268</c:v>
                </c:pt>
                <c:pt idx="265">
                  <c:v>16.947113997113998</c:v>
                </c:pt>
                <c:pt idx="266">
                  <c:v>17.63331889706944</c:v>
                </c:pt>
                <c:pt idx="267">
                  <c:v>17.585665971072892</c:v>
                </c:pt>
                <c:pt idx="268">
                  <c:v>17.649100164910017</c:v>
                </c:pt>
                <c:pt idx="269">
                  <c:v>17.698791775595282</c:v>
                </c:pt>
                <c:pt idx="270">
                  <c:v>17.804838482155454</c:v>
                </c:pt>
                <c:pt idx="271">
                  <c:v>17.954583742804999</c:v>
                </c:pt>
                <c:pt idx="272">
                  <c:v>17.712635680489843</c:v>
                </c:pt>
                <c:pt idx="273">
                  <c:v>17.383732912001101</c:v>
                </c:pt>
                <c:pt idx="274">
                  <c:v>17.278450363196125</c:v>
                </c:pt>
                <c:pt idx="275">
                  <c:v>17.063984520950093</c:v>
                </c:pt>
                <c:pt idx="276">
                  <c:v>17.015658174097663</c:v>
                </c:pt>
                <c:pt idx="277">
                  <c:v>17.173331567796613</c:v>
                </c:pt>
                <c:pt idx="278">
                  <c:v>17.115258462345839</c:v>
                </c:pt>
                <c:pt idx="279">
                  <c:v>17.243963091420717</c:v>
                </c:pt>
                <c:pt idx="280">
                  <c:v>17.00091377847399</c:v>
                </c:pt>
                <c:pt idx="281">
                  <c:v>17.166579838499612</c:v>
                </c:pt>
                <c:pt idx="282">
                  <c:v>16.807561460941013</c:v>
                </c:pt>
                <c:pt idx="283">
                  <c:v>16.720383999999999</c:v>
                </c:pt>
                <c:pt idx="284">
                  <c:v>16.521190491364475</c:v>
                </c:pt>
                <c:pt idx="285">
                  <c:v>16.751665926255001</c:v>
                </c:pt>
                <c:pt idx="286">
                  <c:v>16.555807080425076</c:v>
                </c:pt>
                <c:pt idx="287">
                  <c:v>16.506656850113504</c:v>
                </c:pt>
                <c:pt idx="288">
                  <c:v>16.59124665205746</c:v>
                </c:pt>
                <c:pt idx="289">
                  <c:v>16.234908295882423</c:v>
                </c:pt>
                <c:pt idx="290">
                  <c:v>16.392236666261692</c:v>
                </c:pt>
                <c:pt idx="291">
                  <c:v>16.281274468469551</c:v>
                </c:pt>
                <c:pt idx="292">
                  <c:v>16.131159376692136</c:v>
                </c:pt>
                <c:pt idx="293">
                  <c:v>15.936798511493908</c:v>
                </c:pt>
                <c:pt idx="294">
                  <c:v>15.91477814885496</c:v>
                </c:pt>
                <c:pt idx="295">
                  <c:v>15.508214349722204</c:v>
                </c:pt>
                <c:pt idx="296">
                  <c:v>15.468524434978109</c:v>
                </c:pt>
                <c:pt idx="297">
                  <c:v>15.754266211604095</c:v>
                </c:pt>
                <c:pt idx="298">
                  <c:v>15.791311504320733</c:v>
                </c:pt>
                <c:pt idx="299">
                  <c:v>15.870703285120335</c:v>
                </c:pt>
                <c:pt idx="300">
                  <c:v>16.005592389737679</c:v>
                </c:pt>
                <c:pt idx="301">
                  <c:v>15.953607065030395</c:v>
                </c:pt>
                <c:pt idx="302">
                  <c:v>15.818648124928758</c:v>
                </c:pt>
                <c:pt idx="303">
                  <c:v>14.979051630898844</c:v>
                </c:pt>
                <c:pt idx="304">
                  <c:v>14.808336161067754</c:v>
                </c:pt>
                <c:pt idx="305">
                  <c:v>15.217238645373202</c:v>
                </c:pt>
                <c:pt idx="306">
                  <c:v>15.019799187725631</c:v>
                </c:pt>
                <c:pt idx="307">
                  <c:v>15.362353206865404</c:v>
                </c:pt>
                <c:pt idx="308">
                  <c:v>15.521640863374392</c:v>
                </c:pt>
                <c:pt idx="309">
                  <c:v>15.39991035912376</c:v>
                </c:pt>
                <c:pt idx="310">
                  <c:v>15.264424422183669</c:v>
                </c:pt>
                <c:pt idx="311">
                  <c:v>14.96856012040805</c:v>
                </c:pt>
                <c:pt idx="312">
                  <c:v>14.594306049822062</c:v>
                </c:pt>
                <c:pt idx="313">
                  <c:v>14.382202410434209</c:v>
                </c:pt>
                <c:pt idx="314">
                  <c:v>14.502381343406144</c:v>
                </c:pt>
                <c:pt idx="315">
                  <c:v>14.138459865129432</c:v>
                </c:pt>
                <c:pt idx="316">
                  <c:v>13.68964770820932</c:v>
                </c:pt>
                <c:pt idx="317">
                  <c:v>12.183286818376985</c:v>
                </c:pt>
                <c:pt idx="318">
                  <c:v>12.568904593639575</c:v>
                </c:pt>
                <c:pt idx="319">
                  <c:v>13.325084364454442</c:v>
                </c:pt>
                <c:pt idx="320">
                  <c:v>13.138344982126663</c:v>
                </c:pt>
                <c:pt idx="321">
                  <c:v>13.326950770707771</c:v>
                </c:pt>
                <c:pt idx="322">
                  <c:v>13.000685437097964</c:v>
                </c:pt>
                <c:pt idx="323">
                  <c:v>12.946681404284437</c:v>
                </c:pt>
                <c:pt idx="324">
                  <c:v>12.972110712021975</c:v>
                </c:pt>
                <c:pt idx="325">
                  <c:v>12.748963635409561</c:v>
                </c:pt>
                <c:pt idx="326">
                  <c:v>12.062726613488035</c:v>
                </c:pt>
                <c:pt idx="327">
                  <c:v>12.158775951779917</c:v>
                </c:pt>
                <c:pt idx="328">
                  <c:v>12.010668855149776</c:v>
                </c:pt>
                <c:pt idx="329">
                  <c:v>12.466125635625867</c:v>
                </c:pt>
                <c:pt idx="330">
                  <c:v>12.296859841715598</c:v>
                </c:pt>
                <c:pt idx="331">
                  <c:v>11.771150895140664</c:v>
                </c:pt>
                <c:pt idx="332">
                  <c:v>11.19953111462209</c:v>
                </c:pt>
                <c:pt idx="333">
                  <c:v>11.390904003662817</c:v>
                </c:pt>
                <c:pt idx="334">
                  <c:v>11.154378114512356</c:v>
                </c:pt>
                <c:pt idx="335">
                  <c:v>11.230455985118898</c:v>
                </c:pt>
                <c:pt idx="336">
                  <c:v>11.104927099044746</c:v>
                </c:pt>
                <c:pt idx="337">
                  <c:v>11.499092741935483</c:v>
                </c:pt>
                <c:pt idx="338">
                  <c:v>11.805731523378581</c:v>
                </c:pt>
                <c:pt idx="339">
                  <c:v>11.682494790116106</c:v>
                </c:pt>
                <c:pt idx="340">
                  <c:v>11.82513120110902</c:v>
                </c:pt>
                <c:pt idx="341">
                  <c:v>11.664637465973771</c:v>
                </c:pt>
                <c:pt idx="342">
                  <c:v>11.227389288884506</c:v>
                </c:pt>
                <c:pt idx="343">
                  <c:v>11.035194651985844</c:v>
                </c:pt>
                <c:pt idx="344">
                  <c:v>11.166789922595276</c:v>
                </c:pt>
                <c:pt idx="345">
                  <c:v>10.876592395848704</c:v>
                </c:pt>
                <c:pt idx="346">
                  <c:v>10.343690178176999</c:v>
                </c:pt>
                <c:pt idx="347">
                  <c:v>10.21857093883148</c:v>
                </c:pt>
                <c:pt idx="348">
                  <c:v>10.375386427204475</c:v>
                </c:pt>
                <c:pt idx="349">
                  <c:v>10.32688739134681</c:v>
                </c:pt>
                <c:pt idx="350">
                  <c:v>10.605580029368575</c:v>
                </c:pt>
                <c:pt idx="351">
                  <c:v>11.060638873849486</c:v>
                </c:pt>
                <c:pt idx="352">
                  <c:v>11.172121923773179</c:v>
                </c:pt>
                <c:pt idx="353">
                  <c:v>11.683866243592872</c:v>
                </c:pt>
                <c:pt idx="354">
                  <c:v>11.841147621383032</c:v>
                </c:pt>
                <c:pt idx="355">
                  <c:v>11.951823745410037</c:v>
                </c:pt>
                <c:pt idx="356">
                  <c:v>11.967889908256881</c:v>
                </c:pt>
                <c:pt idx="357">
                  <c:v>11.875685199686767</c:v>
                </c:pt>
                <c:pt idx="358">
                  <c:v>11.517462964779751</c:v>
                </c:pt>
                <c:pt idx="359">
                  <c:v>11.582789579551589</c:v>
                </c:pt>
                <c:pt idx="360">
                  <c:v>11.498138714733543</c:v>
                </c:pt>
                <c:pt idx="361">
                  <c:v>12.073251348855296</c:v>
                </c:pt>
                <c:pt idx="362">
                  <c:v>12.452640810758137</c:v>
                </c:pt>
                <c:pt idx="363">
                  <c:v>12.400975371860524</c:v>
                </c:pt>
                <c:pt idx="364">
                  <c:v>12.631138310893512</c:v>
                </c:pt>
                <c:pt idx="365">
                  <c:v>12.793091721725613</c:v>
                </c:pt>
                <c:pt idx="366">
                  <c:v>12.529522704192662</c:v>
                </c:pt>
                <c:pt idx="367">
                  <c:v>12.766590942046497</c:v>
                </c:pt>
                <c:pt idx="368">
                  <c:v>12.414124891754065</c:v>
                </c:pt>
                <c:pt idx="369">
                  <c:v>12.611668098921033</c:v>
                </c:pt>
                <c:pt idx="370">
                  <c:v>12.367189361803536</c:v>
                </c:pt>
                <c:pt idx="371">
                  <c:v>11.937134362712191</c:v>
                </c:pt>
                <c:pt idx="372">
                  <c:v>11.997903464049175</c:v>
                </c:pt>
                <c:pt idx="373">
                  <c:v>12.535680213699676</c:v>
                </c:pt>
                <c:pt idx="374">
                  <c:v>12.472813688212929</c:v>
                </c:pt>
                <c:pt idx="375">
                  <c:v>12.663009925440472</c:v>
                </c:pt>
                <c:pt idx="376">
                  <c:v>12.676524953789279</c:v>
                </c:pt>
                <c:pt idx="377">
                  <c:v>12.612915497646108</c:v>
                </c:pt>
                <c:pt idx="378">
                  <c:v>12.438713020538909</c:v>
                </c:pt>
                <c:pt idx="379">
                  <c:v>12.333130214680791</c:v>
                </c:pt>
                <c:pt idx="380">
                  <c:v>12.453007430948265</c:v>
                </c:pt>
                <c:pt idx="381">
                  <c:v>12.231170768083521</c:v>
                </c:pt>
                <c:pt idx="382">
                  <c:v>12.132356340437335</c:v>
                </c:pt>
                <c:pt idx="383">
                  <c:v>12.077343460540941</c:v>
                </c:pt>
                <c:pt idx="384">
                  <c:v>12.368399052528911</c:v>
                </c:pt>
                <c:pt idx="385">
                  <c:v>11.989040586978733</c:v>
                </c:pt>
                <c:pt idx="386">
                  <c:v>12.382049727107338</c:v>
                </c:pt>
                <c:pt idx="387">
                  <c:v>11.881422559311842</c:v>
                </c:pt>
                <c:pt idx="388">
                  <c:v>12.300638475062458</c:v>
                </c:pt>
                <c:pt idx="389">
                  <c:v>12.375324675324677</c:v>
                </c:pt>
                <c:pt idx="390">
                  <c:v>12.508996715851797</c:v>
                </c:pt>
                <c:pt idx="391">
                  <c:v>12.042303818331657</c:v>
                </c:pt>
                <c:pt idx="392">
                  <c:v>11.971309790305634</c:v>
                </c:pt>
                <c:pt idx="393">
                  <c:v>11.689785854527189</c:v>
                </c:pt>
                <c:pt idx="394">
                  <c:v>11.745793625461674</c:v>
                </c:pt>
                <c:pt idx="395">
                  <c:v>11.89746044772717</c:v>
                </c:pt>
                <c:pt idx="396">
                  <c:v>11.712513631406761</c:v>
                </c:pt>
                <c:pt idx="397">
                  <c:v>11.841539229477696</c:v>
                </c:pt>
                <c:pt idx="398">
                  <c:v>11.609880130766436</c:v>
                </c:pt>
                <c:pt idx="399">
                  <c:v>11.485733726468586</c:v>
                </c:pt>
                <c:pt idx="400">
                  <c:v>11.26875084463264</c:v>
                </c:pt>
                <c:pt idx="401">
                  <c:v>11.276841772437779</c:v>
                </c:pt>
                <c:pt idx="402">
                  <c:v>10.955890992904596</c:v>
                </c:pt>
                <c:pt idx="403">
                  <c:v>10.949408940622311</c:v>
                </c:pt>
                <c:pt idx="404">
                  <c:v>11.38504630675401</c:v>
                </c:pt>
                <c:pt idx="405">
                  <c:v>11.436557191392978</c:v>
                </c:pt>
                <c:pt idx="406">
                  <c:v>11.83962606643674</c:v>
                </c:pt>
                <c:pt idx="407">
                  <c:v>11.92339807587584</c:v>
                </c:pt>
                <c:pt idx="408">
                  <c:v>12.092876301313815</c:v>
                </c:pt>
                <c:pt idx="409">
                  <c:v>12.263669227293267</c:v>
                </c:pt>
                <c:pt idx="410">
                  <c:v>12.406115320056255</c:v>
                </c:pt>
                <c:pt idx="411">
                  <c:v>12.375272727272726</c:v>
                </c:pt>
                <c:pt idx="412">
                  <c:v>12.382698080596741</c:v>
                </c:pt>
                <c:pt idx="413">
                  <c:v>12.14861756348383</c:v>
                </c:pt>
                <c:pt idx="414">
                  <c:v>12.206125491258978</c:v>
                </c:pt>
                <c:pt idx="415">
                  <c:v>12.151299378656628</c:v>
                </c:pt>
                <c:pt idx="416">
                  <c:v>12.636599699330327</c:v>
                </c:pt>
                <c:pt idx="417">
                  <c:v>12.513501309491557</c:v>
                </c:pt>
                <c:pt idx="418">
                  <c:v>12.637268654690258</c:v>
                </c:pt>
                <c:pt idx="419">
                  <c:v>12.7795482323118</c:v>
                </c:pt>
                <c:pt idx="420">
                  <c:v>13.017986589343966</c:v>
                </c:pt>
                <c:pt idx="421">
                  <c:v>13.042884284809555</c:v>
                </c:pt>
                <c:pt idx="422">
                  <c:v>13.187200361827228</c:v>
                </c:pt>
                <c:pt idx="423">
                  <c:v>13.261820652173915</c:v>
                </c:pt>
                <c:pt idx="424">
                  <c:v>13.431684334511187</c:v>
                </c:pt>
                <c:pt idx="425">
                  <c:v>13.563420492137579</c:v>
                </c:pt>
                <c:pt idx="426">
                  <c:v>13.281376336357919</c:v>
                </c:pt>
                <c:pt idx="427">
                  <c:v>13.143754768636956</c:v>
                </c:pt>
                <c:pt idx="428">
                  <c:v>12.979281335302277</c:v>
                </c:pt>
                <c:pt idx="429">
                  <c:v>13.227975097415685</c:v>
                </c:pt>
                <c:pt idx="430">
                  <c:v>13.004179635393509</c:v>
                </c:pt>
                <c:pt idx="431">
                  <c:v>13.395805562960987</c:v>
                </c:pt>
                <c:pt idx="432">
                  <c:v>13.386001509032003</c:v>
                </c:pt>
                <c:pt idx="433">
                  <c:v>13.322658019810774</c:v>
                </c:pt>
                <c:pt idx="434">
                  <c:v>13.171052047743711</c:v>
                </c:pt>
                <c:pt idx="435">
                  <c:v>13.218194646558189</c:v>
                </c:pt>
                <c:pt idx="436">
                  <c:v>12.667827083241528</c:v>
                </c:pt>
                <c:pt idx="437">
                  <c:v>12.808619398052262</c:v>
                </c:pt>
                <c:pt idx="438">
                  <c:v>12.760704511344576</c:v>
                </c:pt>
                <c:pt idx="439">
                  <c:v>12.90517921304005</c:v>
                </c:pt>
                <c:pt idx="440">
                  <c:v>13.101071773697621</c:v>
                </c:pt>
                <c:pt idx="441">
                  <c:v>12.657740843336413</c:v>
                </c:pt>
                <c:pt idx="442">
                  <c:v>12.713210371087731</c:v>
                </c:pt>
                <c:pt idx="443">
                  <c:v>12.13319600280505</c:v>
                </c:pt>
                <c:pt idx="444">
                  <c:v>12.250957095709571</c:v>
                </c:pt>
                <c:pt idx="445">
                  <c:v>12.637741168179014</c:v>
                </c:pt>
                <c:pt idx="446">
                  <c:v>12.846561079984117</c:v>
                </c:pt>
                <c:pt idx="447">
                  <c:v>13.004502516111945</c:v>
                </c:pt>
                <c:pt idx="448">
                  <c:v>12.473723558643739</c:v>
                </c:pt>
                <c:pt idx="449">
                  <c:v>12.761355125776467</c:v>
                </c:pt>
                <c:pt idx="450">
                  <c:v>12.822589191098553</c:v>
                </c:pt>
                <c:pt idx="451">
                  <c:v>13.365832001420706</c:v>
                </c:pt>
                <c:pt idx="452">
                  <c:v>13.095096252167341</c:v>
                </c:pt>
                <c:pt idx="453">
                  <c:v>13.243105756358769</c:v>
                </c:pt>
                <c:pt idx="454">
                  <c:v>13.361062424160712</c:v>
                </c:pt>
                <c:pt idx="455">
                  <c:v>13.226673268218033</c:v>
                </c:pt>
                <c:pt idx="456">
                  <c:v>13.120430691277598</c:v>
                </c:pt>
                <c:pt idx="457">
                  <c:v>12.919926099495314</c:v>
                </c:pt>
                <c:pt idx="458">
                  <c:v>12.928119349005426</c:v>
                </c:pt>
                <c:pt idx="459">
                  <c:v>12.944436903307542</c:v>
                </c:pt>
                <c:pt idx="460">
                  <c:v>13.006662738521507</c:v>
                </c:pt>
                <c:pt idx="461">
                  <c:v>13.324765512265513</c:v>
                </c:pt>
                <c:pt idx="462">
                  <c:v>13.294149488023818</c:v>
                </c:pt>
                <c:pt idx="463">
                  <c:v>13.013080739738385</c:v>
                </c:pt>
                <c:pt idx="464">
                  <c:v>13.107464839523981</c:v>
                </c:pt>
                <c:pt idx="465">
                  <c:v>12.938002501340003</c:v>
                </c:pt>
                <c:pt idx="466">
                  <c:v>13.16569793436466</c:v>
                </c:pt>
                <c:pt idx="467">
                  <c:v>13.662018711766821</c:v>
                </c:pt>
                <c:pt idx="468">
                  <c:v>13.785554261134509</c:v>
                </c:pt>
                <c:pt idx="469">
                  <c:v>13.955542621776505</c:v>
                </c:pt>
                <c:pt idx="470">
                  <c:v>13.863097345132742</c:v>
                </c:pt>
                <c:pt idx="471">
                  <c:v>14.260796534500287</c:v>
                </c:pt>
                <c:pt idx="472">
                  <c:v>14.225255519667272</c:v>
                </c:pt>
                <c:pt idx="473">
                  <c:v>14.258141592920353</c:v>
                </c:pt>
                <c:pt idx="474">
                  <c:v>14.243238488939706</c:v>
                </c:pt>
                <c:pt idx="475">
                  <c:v>14.146010485967309</c:v>
                </c:pt>
                <c:pt idx="476">
                  <c:v>14.208329656754611</c:v>
                </c:pt>
                <c:pt idx="477">
                  <c:v>13.97229941334745</c:v>
                </c:pt>
                <c:pt idx="478">
                  <c:v>12.774914541151722</c:v>
                </c:pt>
                <c:pt idx="479">
                  <c:v>12.658025834325267</c:v>
                </c:pt>
                <c:pt idx="480">
                  <c:v>13.237063403781978</c:v>
                </c:pt>
                <c:pt idx="481">
                  <c:v>13.820940955280003</c:v>
                </c:pt>
                <c:pt idx="482">
                  <c:v>14.185180222430658</c:v>
                </c:pt>
                <c:pt idx="483">
                  <c:v>14.339175257731959</c:v>
                </c:pt>
                <c:pt idx="484">
                  <c:v>14.620220291931584</c:v>
                </c:pt>
                <c:pt idx="485">
                  <c:v>14.415365340731128</c:v>
                </c:pt>
                <c:pt idx="486">
                  <c:v>14.555978674790556</c:v>
                </c:pt>
                <c:pt idx="487">
                  <c:v>14.58522373454319</c:v>
                </c:pt>
                <c:pt idx="488">
                  <c:v>14.283659199216141</c:v>
                </c:pt>
                <c:pt idx="489">
                  <c:v>14.144073463201533</c:v>
                </c:pt>
                <c:pt idx="490">
                  <c:v>14.428769079710792</c:v>
                </c:pt>
                <c:pt idx="491">
                  <c:v>14.269326351291383</c:v>
                </c:pt>
                <c:pt idx="492">
                  <c:v>14.481581750399432</c:v>
                </c:pt>
                <c:pt idx="493">
                  <c:v>14.462567201315146</c:v>
                </c:pt>
                <c:pt idx="494">
                  <c:v>14.553167773864196</c:v>
                </c:pt>
                <c:pt idx="495">
                  <c:v>14.155458242101972</c:v>
                </c:pt>
                <c:pt idx="496">
                  <c:v>14.452395685997173</c:v>
                </c:pt>
                <c:pt idx="497">
                  <c:v>14.779829166295933</c:v>
                </c:pt>
                <c:pt idx="498">
                  <c:v>14.896617712505563</c:v>
                </c:pt>
                <c:pt idx="499">
                  <c:v>14.525959568973194</c:v>
                </c:pt>
                <c:pt idx="500">
                  <c:v>14.312770276233342</c:v>
                </c:pt>
                <c:pt idx="501">
                  <c:v>14.551878038002654</c:v>
                </c:pt>
                <c:pt idx="502">
                  <c:v>14.665028556249169</c:v>
                </c:pt>
                <c:pt idx="503">
                  <c:v>14.775964523281596</c:v>
                </c:pt>
                <c:pt idx="504">
                  <c:v>15.02595976456119</c:v>
                </c:pt>
                <c:pt idx="505">
                  <c:v>14.794954209228603</c:v>
                </c:pt>
                <c:pt idx="506">
                  <c:v>14.945932845686086</c:v>
                </c:pt>
                <c:pt idx="507">
                  <c:v>15.162736368845595</c:v>
                </c:pt>
                <c:pt idx="508">
                  <c:v>15.097939959503478</c:v>
                </c:pt>
                <c:pt idx="509">
                  <c:v>14.65367251258899</c:v>
                </c:pt>
                <c:pt idx="510">
                  <c:v>14.956555705047522</c:v>
                </c:pt>
                <c:pt idx="511">
                  <c:v>14.524810071630128</c:v>
                </c:pt>
                <c:pt idx="512">
                  <c:v>14.978459928490452</c:v>
                </c:pt>
                <c:pt idx="513">
                  <c:v>14.915560344827586</c:v>
                </c:pt>
                <c:pt idx="514">
                  <c:v>14.908808826064472</c:v>
                </c:pt>
                <c:pt idx="515">
                  <c:v>15.044235982615431</c:v>
                </c:pt>
                <c:pt idx="516">
                  <c:v>15.007056191377677</c:v>
                </c:pt>
                <c:pt idx="517">
                  <c:v>15.093345813478557</c:v>
                </c:pt>
                <c:pt idx="518">
                  <c:v>15.451967296882984</c:v>
                </c:pt>
                <c:pt idx="519">
                  <c:v>15.543320838302947</c:v>
                </c:pt>
                <c:pt idx="520">
                  <c:v>15.344987650114982</c:v>
                </c:pt>
                <c:pt idx="521">
                  <c:v>15.376506152339594</c:v>
                </c:pt>
                <c:pt idx="522">
                  <c:v>15.517988674585942</c:v>
                </c:pt>
                <c:pt idx="523">
                  <c:v>15.47389712144438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val>
          <c:smooth val="0"/>
          <c:extLst>
            <c:ext xmlns:c16="http://schemas.microsoft.com/office/drawing/2014/chart" uri="{C3380CC4-5D6E-409C-BE32-E72D297353CC}">
              <c16:uniqueId val="{00000000-484C-4F9E-91BA-8A726FFABB09}"/>
            </c:ext>
          </c:extLst>
        </c:ser>
        <c:ser>
          <c:idx val="0"/>
          <c:order val="1"/>
          <c:tx>
            <c:strRef>
              <c:f>EMU!$DY$8</c:f>
              <c:strCache>
                <c:ptCount val="1"/>
                <c:pt idx="0">
                  <c:v>Avg</c:v>
                </c:pt>
              </c:strCache>
            </c:strRef>
          </c:tx>
          <c:spPr>
            <a:ln w="19050" cap="rnd" cmpd="sng" algn="ctr">
              <a:solidFill>
                <a:srgbClr val="5A5D5C"/>
              </a:solidFill>
              <a:prstDash val="solid"/>
              <a:round/>
              <a:headEnd type="none" w="med" len="med"/>
              <a:tailEnd type="none" w="med" len="med"/>
            </a:ln>
            <a:effectLst/>
          </c:spPr>
          <c:marker>
            <c:symbol val="none"/>
          </c:marker>
          <c:cat>
            <c:numRef>
              <c:f>EMU!$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EMU!$DY$9:$DY$901</c:f>
              <c:numCache>
                <c:formatCode>0.00</c:formatCode>
                <c:ptCount val="893"/>
                <c:pt idx="0">
                  <c:v>13.881670472364869</c:v>
                </c:pt>
                <c:pt idx="1">
                  <c:v>13.881670472364869</c:v>
                </c:pt>
                <c:pt idx="2">
                  <c:v>13.881670472364869</c:v>
                </c:pt>
                <c:pt idx="3">
                  <c:v>13.881670472364869</c:v>
                </c:pt>
                <c:pt idx="4">
                  <c:v>13.881670472364869</c:v>
                </c:pt>
                <c:pt idx="5">
                  <c:v>13.881670472364869</c:v>
                </c:pt>
                <c:pt idx="6">
                  <c:v>13.881670472364869</c:v>
                </c:pt>
                <c:pt idx="7">
                  <c:v>13.881670472364869</c:v>
                </c:pt>
                <c:pt idx="8">
                  <c:v>13.881670472364869</c:v>
                </c:pt>
                <c:pt idx="9">
                  <c:v>13.881670472364869</c:v>
                </c:pt>
                <c:pt idx="10">
                  <c:v>13.881670472364869</c:v>
                </c:pt>
                <c:pt idx="11">
                  <c:v>13.881670472364869</c:v>
                </c:pt>
                <c:pt idx="12">
                  <c:v>13.881670472364869</c:v>
                </c:pt>
                <c:pt idx="13">
                  <c:v>13.881670472364869</c:v>
                </c:pt>
                <c:pt idx="14">
                  <c:v>13.881670472364869</c:v>
                </c:pt>
                <c:pt idx="15">
                  <c:v>13.881670472364869</c:v>
                </c:pt>
                <c:pt idx="16">
                  <c:v>13.881670472364869</c:v>
                </c:pt>
                <c:pt idx="17">
                  <c:v>13.881670472364869</c:v>
                </c:pt>
                <c:pt idx="18">
                  <c:v>13.881670472364869</c:v>
                </c:pt>
                <c:pt idx="19">
                  <c:v>13.881670472364869</c:v>
                </c:pt>
                <c:pt idx="20">
                  <c:v>13.881670472364869</c:v>
                </c:pt>
                <c:pt idx="21">
                  <c:v>13.881670472364869</c:v>
                </c:pt>
                <c:pt idx="22">
                  <c:v>13.881670472364869</c:v>
                </c:pt>
                <c:pt idx="23">
                  <c:v>13.881670472364869</c:v>
                </c:pt>
                <c:pt idx="24">
                  <c:v>13.881670472364869</c:v>
                </c:pt>
                <c:pt idx="25">
                  <c:v>13.881670472364869</c:v>
                </c:pt>
                <c:pt idx="26">
                  <c:v>13.881670472364869</c:v>
                </c:pt>
                <c:pt idx="27">
                  <c:v>13.881670472364869</c:v>
                </c:pt>
                <c:pt idx="28">
                  <c:v>13.881670472364869</c:v>
                </c:pt>
                <c:pt idx="29">
                  <c:v>13.881670472364869</c:v>
                </c:pt>
                <c:pt idx="30">
                  <c:v>13.881670472364869</c:v>
                </c:pt>
                <c:pt idx="31">
                  <c:v>13.881670472364869</c:v>
                </c:pt>
                <c:pt idx="32">
                  <c:v>13.881670472364869</c:v>
                </c:pt>
                <c:pt idx="33">
                  <c:v>13.881670472364869</c:v>
                </c:pt>
                <c:pt idx="34">
                  <c:v>13.881670472364869</c:v>
                </c:pt>
                <c:pt idx="35">
                  <c:v>13.881670472364869</c:v>
                </c:pt>
                <c:pt idx="36">
                  <c:v>13.881670472364869</c:v>
                </c:pt>
                <c:pt idx="37">
                  <c:v>13.881670472364869</c:v>
                </c:pt>
                <c:pt idx="38">
                  <c:v>13.881670472364869</c:v>
                </c:pt>
                <c:pt idx="39">
                  <c:v>13.881670472364869</c:v>
                </c:pt>
                <c:pt idx="40">
                  <c:v>13.881670472364869</c:v>
                </c:pt>
                <c:pt idx="41">
                  <c:v>13.881670472364869</c:v>
                </c:pt>
                <c:pt idx="42">
                  <c:v>13.881670472364869</c:v>
                </c:pt>
                <c:pt idx="43">
                  <c:v>13.881670472364869</c:v>
                </c:pt>
                <c:pt idx="44">
                  <c:v>13.881670472364869</c:v>
                </c:pt>
                <c:pt idx="45">
                  <c:v>13.881670472364869</c:v>
                </c:pt>
                <c:pt idx="46">
                  <c:v>13.881670472364869</c:v>
                </c:pt>
                <c:pt idx="47">
                  <c:v>13.881670472364869</c:v>
                </c:pt>
                <c:pt idx="48">
                  <c:v>13.881670472364869</c:v>
                </c:pt>
                <c:pt idx="49">
                  <c:v>13.881670472364869</c:v>
                </c:pt>
                <c:pt idx="50">
                  <c:v>13.881670472364869</c:v>
                </c:pt>
                <c:pt idx="51">
                  <c:v>13.881670472364869</c:v>
                </c:pt>
                <c:pt idx="52">
                  <c:v>13.881670472364869</c:v>
                </c:pt>
                <c:pt idx="53">
                  <c:v>13.881670472364869</c:v>
                </c:pt>
                <c:pt idx="54">
                  <c:v>13.881670472364869</c:v>
                </c:pt>
                <c:pt idx="55">
                  <c:v>13.881670472364869</c:v>
                </c:pt>
                <c:pt idx="56">
                  <c:v>13.881670472364869</c:v>
                </c:pt>
                <c:pt idx="57">
                  <c:v>13.881670472364869</c:v>
                </c:pt>
                <c:pt idx="58">
                  <c:v>13.881670472364869</c:v>
                </c:pt>
                <c:pt idx="59">
                  <c:v>13.881670472364869</c:v>
                </c:pt>
                <c:pt idx="60">
                  <c:v>13.881670472364869</c:v>
                </c:pt>
                <c:pt idx="61">
                  <c:v>13.881670472364869</c:v>
                </c:pt>
                <c:pt idx="62">
                  <c:v>13.881670472364869</c:v>
                </c:pt>
                <c:pt idx="63">
                  <c:v>13.881670472364869</c:v>
                </c:pt>
                <c:pt idx="64">
                  <c:v>13.881670472364869</c:v>
                </c:pt>
                <c:pt idx="65">
                  <c:v>13.881670472364869</c:v>
                </c:pt>
                <c:pt idx="66">
                  <c:v>13.881670472364869</c:v>
                </c:pt>
                <c:pt idx="67">
                  <c:v>13.881670472364869</c:v>
                </c:pt>
                <c:pt idx="68">
                  <c:v>13.881670472364869</c:v>
                </c:pt>
                <c:pt idx="69">
                  <c:v>13.881670472364869</c:v>
                </c:pt>
                <c:pt idx="70">
                  <c:v>13.881670472364869</c:v>
                </c:pt>
                <c:pt idx="71">
                  <c:v>13.881670472364869</c:v>
                </c:pt>
                <c:pt idx="72">
                  <c:v>13.881670472364869</c:v>
                </c:pt>
                <c:pt idx="73">
                  <c:v>13.881670472364869</c:v>
                </c:pt>
                <c:pt idx="74">
                  <c:v>13.881670472364869</c:v>
                </c:pt>
                <c:pt idx="75">
                  <c:v>13.881670472364869</c:v>
                </c:pt>
                <c:pt idx="76">
                  <c:v>13.881670472364869</c:v>
                </c:pt>
                <c:pt idx="77">
                  <c:v>13.881670472364869</c:v>
                </c:pt>
                <c:pt idx="78">
                  <c:v>13.881670472364869</c:v>
                </c:pt>
                <c:pt idx="79">
                  <c:v>13.881670472364869</c:v>
                </c:pt>
                <c:pt idx="80">
                  <c:v>13.881670472364869</c:v>
                </c:pt>
                <c:pt idx="81">
                  <c:v>13.881670472364869</c:v>
                </c:pt>
                <c:pt idx="82">
                  <c:v>13.881670472364869</c:v>
                </c:pt>
                <c:pt idx="83">
                  <c:v>13.881670472364869</c:v>
                </c:pt>
                <c:pt idx="84">
                  <c:v>13.881670472364869</c:v>
                </c:pt>
                <c:pt idx="85">
                  <c:v>13.881670472364869</c:v>
                </c:pt>
                <c:pt idx="86">
                  <c:v>13.881670472364869</c:v>
                </c:pt>
                <c:pt idx="87">
                  <c:v>13.881670472364869</c:v>
                </c:pt>
                <c:pt idx="88">
                  <c:v>13.881670472364869</c:v>
                </c:pt>
                <c:pt idx="89">
                  <c:v>13.881670472364869</c:v>
                </c:pt>
                <c:pt idx="90">
                  <c:v>13.881670472364869</c:v>
                </c:pt>
                <c:pt idx="91">
                  <c:v>13.881670472364869</c:v>
                </c:pt>
                <c:pt idx="92">
                  <c:v>13.881670472364869</c:v>
                </c:pt>
                <c:pt idx="93">
                  <c:v>13.881670472364869</c:v>
                </c:pt>
                <c:pt idx="94">
                  <c:v>13.881670472364869</c:v>
                </c:pt>
                <c:pt idx="95">
                  <c:v>13.881670472364869</c:v>
                </c:pt>
                <c:pt idx="96">
                  <c:v>13.881670472364869</c:v>
                </c:pt>
                <c:pt idx="97">
                  <c:v>13.881670472364869</c:v>
                </c:pt>
                <c:pt idx="98">
                  <c:v>13.881670472364869</c:v>
                </c:pt>
                <c:pt idx="99">
                  <c:v>13.881670472364869</c:v>
                </c:pt>
                <c:pt idx="100">
                  <c:v>13.881670472364869</c:v>
                </c:pt>
                <c:pt idx="101">
                  <c:v>13.881670472364869</c:v>
                </c:pt>
                <c:pt idx="102">
                  <c:v>13.881670472364869</c:v>
                </c:pt>
                <c:pt idx="103">
                  <c:v>13.881670472364869</c:v>
                </c:pt>
                <c:pt idx="104">
                  <c:v>13.881670472364869</c:v>
                </c:pt>
                <c:pt idx="105">
                  <c:v>13.881670472364869</c:v>
                </c:pt>
                <c:pt idx="106">
                  <c:v>13.881670472364869</c:v>
                </c:pt>
                <c:pt idx="107">
                  <c:v>13.881670472364869</c:v>
                </c:pt>
                <c:pt idx="108">
                  <c:v>13.881670472364869</c:v>
                </c:pt>
                <c:pt idx="109">
                  <c:v>13.881670472364869</c:v>
                </c:pt>
                <c:pt idx="110">
                  <c:v>13.881670472364869</c:v>
                </c:pt>
                <c:pt idx="111">
                  <c:v>13.881670472364869</c:v>
                </c:pt>
                <c:pt idx="112">
                  <c:v>13.881670472364869</c:v>
                </c:pt>
                <c:pt idx="113">
                  <c:v>13.881670472364869</c:v>
                </c:pt>
                <c:pt idx="114">
                  <c:v>13.881670472364869</c:v>
                </c:pt>
                <c:pt idx="115">
                  <c:v>13.881670472364869</c:v>
                </c:pt>
                <c:pt idx="116">
                  <c:v>13.881670472364869</c:v>
                </c:pt>
                <c:pt idx="117">
                  <c:v>13.881670472364869</c:v>
                </c:pt>
                <c:pt idx="118">
                  <c:v>13.881670472364869</c:v>
                </c:pt>
                <c:pt idx="119">
                  <c:v>13.881670472364869</c:v>
                </c:pt>
                <c:pt idx="120">
                  <c:v>13.881670472364869</c:v>
                </c:pt>
                <c:pt idx="121">
                  <c:v>13.881670472364869</c:v>
                </c:pt>
                <c:pt idx="122">
                  <c:v>13.881670472364869</c:v>
                </c:pt>
                <c:pt idx="123">
                  <c:v>13.881670472364869</c:v>
                </c:pt>
                <c:pt idx="124">
                  <c:v>13.881670472364869</c:v>
                </c:pt>
                <c:pt idx="125">
                  <c:v>13.881670472364869</c:v>
                </c:pt>
                <c:pt idx="126">
                  <c:v>13.881670472364869</c:v>
                </c:pt>
                <c:pt idx="127">
                  <c:v>13.881670472364869</c:v>
                </c:pt>
                <c:pt idx="128">
                  <c:v>13.881670472364869</c:v>
                </c:pt>
                <c:pt idx="129">
                  <c:v>13.881670472364869</c:v>
                </c:pt>
                <c:pt idx="130">
                  <c:v>13.881670472364869</c:v>
                </c:pt>
                <c:pt idx="131">
                  <c:v>13.881670472364869</c:v>
                </c:pt>
                <c:pt idx="132">
                  <c:v>13.881670472364869</c:v>
                </c:pt>
                <c:pt idx="133">
                  <c:v>13.881670472364869</c:v>
                </c:pt>
                <c:pt idx="134">
                  <c:v>13.881670472364869</c:v>
                </c:pt>
                <c:pt idx="135">
                  <c:v>13.881670472364869</c:v>
                </c:pt>
                <c:pt idx="136">
                  <c:v>13.881670472364869</c:v>
                </c:pt>
                <c:pt idx="137">
                  <c:v>13.881670472364869</c:v>
                </c:pt>
                <c:pt idx="138">
                  <c:v>13.881670472364869</c:v>
                </c:pt>
                <c:pt idx="139">
                  <c:v>13.881670472364869</c:v>
                </c:pt>
                <c:pt idx="140">
                  <c:v>13.881670472364869</c:v>
                </c:pt>
                <c:pt idx="141">
                  <c:v>13.881670472364869</c:v>
                </c:pt>
                <c:pt idx="142">
                  <c:v>13.881670472364869</c:v>
                </c:pt>
                <c:pt idx="143">
                  <c:v>13.881670472364869</c:v>
                </c:pt>
                <c:pt idx="144">
                  <c:v>13.881670472364869</c:v>
                </c:pt>
                <c:pt idx="145">
                  <c:v>13.881670472364869</c:v>
                </c:pt>
                <c:pt idx="146">
                  <c:v>13.881670472364869</c:v>
                </c:pt>
                <c:pt idx="147">
                  <c:v>13.881670472364869</c:v>
                </c:pt>
                <c:pt idx="148">
                  <c:v>13.881670472364869</c:v>
                </c:pt>
                <c:pt idx="149">
                  <c:v>13.881670472364869</c:v>
                </c:pt>
                <c:pt idx="150">
                  <c:v>13.881670472364869</c:v>
                </c:pt>
                <c:pt idx="151">
                  <c:v>13.881670472364869</c:v>
                </c:pt>
                <c:pt idx="152">
                  <c:v>13.881670472364869</c:v>
                </c:pt>
                <c:pt idx="153">
                  <c:v>13.881670472364869</c:v>
                </c:pt>
                <c:pt idx="154">
                  <c:v>13.881670472364869</c:v>
                </c:pt>
                <c:pt idx="155">
                  <c:v>13.881670472364869</c:v>
                </c:pt>
                <c:pt idx="156">
                  <c:v>13.881670472364869</c:v>
                </c:pt>
                <c:pt idx="157">
                  <c:v>13.881670472364869</c:v>
                </c:pt>
                <c:pt idx="158">
                  <c:v>13.881670472364869</c:v>
                </c:pt>
                <c:pt idx="159">
                  <c:v>13.881670472364869</c:v>
                </c:pt>
                <c:pt idx="160">
                  <c:v>13.881670472364869</c:v>
                </c:pt>
                <c:pt idx="161">
                  <c:v>13.881670472364869</c:v>
                </c:pt>
                <c:pt idx="162">
                  <c:v>13.881670472364869</c:v>
                </c:pt>
                <c:pt idx="163">
                  <c:v>13.881670472364869</c:v>
                </c:pt>
                <c:pt idx="164">
                  <c:v>13.881670472364869</c:v>
                </c:pt>
                <c:pt idx="165">
                  <c:v>13.881670472364869</c:v>
                </c:pt>
                <c:pt idx="166">
                  <c:v>13.881670472364869</c:v>
                </c:pt>
                <c:pt idx="167">
                  <c:v>13.881670472364869</c:v>
                </c:pt>
                <c:pt idx="168">
                  <c:v>13.881670472364869</c:v>
                </c:pt>
                <c:pt idx="169">
                  <c:v>13.881670472364869</c:v>
                </c:pt>
                <c:pt idx="170">
                  <c:v>13.881670472364869</c:v>
                </c:pt>
                <c:pt idx="171">
                  <c:v>13.881670472364869</c:v>
                </c:pt>
                <c:pt idx="172">
                  <c:v>13.881670472364869</c:v>
                </c:pt>
                <c:pt idx="173">
                  <c:v>13.881670472364869</c:v>
                </c:pt>
                <c:pt idx="174">
                  <c:v>13.881670472364869</c:v>
                </c:pt>
                <c:pt idx="175">
                  <c:v>13.881670472364869</c:v>
                </c:pt>
                <c:pt idx="176">
                  <c:v>13.881670472364869</c:v>
                </c:pt>
                <c:pt idx="177">
                  <c:v>13.881670472364869</c:v>
                </c:pt>
                <c:pt idx="178">
                  <c:v>13.881670472364869</c:v>
                </c:pt>
                <c:pt idx="179">
                  <c:v>13.881670472364869</c:v>
                </c:pt>
                <c:pt idx="180">
                  <c:v>13.881670472364869</c:v>
                </c:pt>
                <c:pt idx="181">
                  <c:v>13.881670472364869</c:v>
                </c:pt>
                <c:pt idx="182">
                  <c:v>13.881670472364869</c:v>
                </c:pt>
                <c:pt idx="183">
                  <c:v>13.881670472364869</c:v>
                </c:pt>
                <c:pt idx="184">
                  <c:v>13.881670472364869</c:v>
                </c:pt>
                <c:pt idx="185">
                  <c:v>13.881670472364869</c:v>
                </c:pt>
                <c:pt idx="186">
                  <c:v>13.881670472364869</c:v>
                </c:pt>
                <c:pt idx="187">
                  <c:v>13.881670472364869</c:v>
                </c:pt>
                <c:pt idx="188">
                  <c:v>13.881670472364869</c:v>
                </c:pt>
                <c:pt idx="189">
                  <c:v>13.881670472364869</c:v>
                </c:pt>
                <c:pt idx="190">
                  <c:v>13.881670472364869</c:v>
                </c:pt>
                <c:pt idx="191">
                  <c:v>13.881670472364869</c:v>
                </c:pt>
                <c:pt idx="192">
                  <c:v>13.881670472364869</c:v>
                </c:pt>
                <c:pt idx="193">
                  <c:v>13.881670472364869</c:v>
                </c:pt>
                <c:pt idx="194">
                  <c:v>13.881670472364869</c:v>
                </c:pt>
                <c:pt idx="195">
                  <c:v>13.881670472364869</c:v>
                </c:pt>
                <c:pt idx="196">
                  <c:v>13.881670472364869</c:v>
                </c:pt>
                <c:pt idx="197">
                  <c:v>13.881670472364869</c:v>
                </c:pt>
                <c:pt idx="198">
                  <c:v>13.881670472364869</c:v>
                </c:pt>
                <c:pt idx="199">
                  <c:v>13.881670472364869</c:v>
                </c:pt>
                <c:pt idx="200">
                  <c:v>13.881670472364869</c:v>
                </c:pt>
                <c:pt idx="201">
                  <c:v>13.881670472364869</c:v>
                </c:pt>
                <c:pt idx="202">
                  <c:v>13.881670472364869</c:v>
                </c:pt>
                <c:pt idx="203">
                  <c:v>13.881670472364869</c:v>
                </c:pt>
                <c:pt idx="204">
                  <c:v>13.881670472364869</c:v>
                </c:pt>
                <c:pt idx="205">
                  <c:v>13.881670472364869</c:v>
                </c:pt>
                <c:pt idx="206">
                  <c:v>13.881670472364869</c:v>
                </c:pt>
                <c:pt idx="207">
                  <c:v>13.881670472364869</c:v>
                </c:pt>
                <c:pt idx="208">
                  <c:v>13.881670472364869</c:v>
                </c:pt>
                <c:pt idx="209">
                  <c:v>13.881670472364869</c:v>
                </c:pt>
                <c:pt idx="210">
                  <c:v>13.881670472364869</c:v>
                </c:pt>
                <c:pt idx="211">
                  <c:v>13.881670472364869</c:v>
                </c:pt>
                <c:pt idx="212">
                  <c:v>13.881670472364869</c:v>
                </c:pt>
                <c:pt idx="213">
                  <c:v>13.881670472364869</c:v>
                </c:pt>
                <c:pt idx="214">
                  <c:v>13.881670472364869</c:v>
                </c:pt>
                <c:pt idx="215">
                  <c:v>13.881670472364869</c:v>
                </c:pt>
                <c:pt idx="216">
                  <c:v>13.881670472364869</c:v>
                </c:pt>
                <c:pt idx="217">
                  <c:v>13.881670472364869</c:v>
                </c:pt>
                <c:pt idx="218">
                  <c:v>13.881670472364869</c:v>
                </c:pt>
                <c:pt idx="219">
                  <c:v>13.881670472364869</c:v>
                </c:pt>
                <c:pt idx="220">
                  <c:v>13.881670472364869</c:v>
                </c:pt>
                <c:pt idx="221">
                  <c:v>13.881670472364869</c:v>
                </c:pt>
                <c:pt idx="222">
                  <c:v>13.881670472364869</c:v>
                </c:pt>
                <c:pt idx="223">
                  <c:v>13.881670472364869</c:v>
                </c:pt>
                <c:pt idx="224">
                  <c:v>13.881670472364869</c:v>
                </c:pt>
                <c:pt idx="225">
                  <c:v>13.881670472364869</c:v>
                </c:pt>
                <c:pt idx="226">
                  <c:v>13.881670472364869</c:v>
                </c:pt>
                <c:pt idx="227">
                  <c:v>13.881670472364869</c:v>
                </c:pt>
                <c:pt idx="228">
                  <c:v>13.881670472364869</c:v>
                </c:pt>
                <c:pt idx="229">
                  <c:v>13.881670472364869</c:v>
                </c:pt>
                <c:pt idx="230">
                  <c:v>13.881670472364869</c:v>
                </c:pt>
                <c:pt idx="231">
                  <c:v>13.881670472364869</c:v>
                </c:pt>
                <c:pt idx="232">
                  <c:v>13.881670472364869</c:v>
                </c:pt>
                <c:pt idx="233">
                  <c:v>13.881670472364869</c:v>
                </c:pt>
                <c:pt idx="234">
                  <c:v>13.881670472364869</c:v>
                </c:pt>
                <c:pt idx="235">
                  <c:v>13.881670472364869</c:v>
                </c:pt>
                <c:pt idx="236">
                  <c:v>13.881670472364869</c:v>
                </c:pt>
                <c:pt idx="237">
                  <c:v>13.881670472364869</c:v>
                </c:pt>
                <c:pt idx="238">
                  <c:v>13.881670472364869</c:v>
                </c:pt>
                <c:pt idx="239">
                  <c:v>13.881670472364869</c:v>
                </c:pt>
                <c:pt idx="240">
                  <c:v>13.881670472364869</c:v>
                </c:pt>
                <c:pt idx="241">
                  <c:v>13.881670472364869</c:v>
                </c:pt>
                <c:pt idx="242">
                  <c:v>13.881670472364869</c:v>
                </c:pt>
                <c:pt idx="243">
                  <c:v>13.881670472364869</c:v>
                </c:pt>
                <c:pt idx="244">
                  <c:v>13.881670472364869</c:v>
                </c:pt>
                <c:pt idx="245">
                  <c:v>13.881670472364869</c:v>
                </c:pt>
                <c:pt idx="246">
                  <c:v>13.881670472364869</c:v>
                </c:pt>
                <c:pt idx="247">
                  <c:v>13.881670472364869</c:v>
                </c:pt>
                <c:pt idx="248">
                  <c:v>13.881670472364869</c:v>
                </c:pt>
                <c:pt idx="249">
                  <c:v>13.881670472364869</c:v>
                </c:pt>
                <c:pt idx="250">
                  <c:v>13.881670472364869</c:v>
                </c:pt>
                <c:pt idx="251">
                  <c:v>13.881670472364869</c:v>
                </c:pt>
                <c:pt idx="252">
                  <c:v>13.881670472364869</c:v>
                </c:pt>
                <c:pt idx="253">
                  <c:v>13.881670472364869</c:v>
                </c:pt>
                <c:pt idx="254">
                  <c:v>13.881670472364869</c:v>
                </c:pt>
                <c:pt idx="255">
                  <c:v>13.881670472364869</c:v>
                </c:pt>
                <c:pt idx="256">
                  <c:v>13.881670472364869</c:v>
                </c:pt>
                <c:pt idx="257">
                  <c:v>13.881670472364869</c:v>
                </c:pt>
                <c:pt idx="258">
                  <c:v>13.881670472364869</c:v>
                </c:pt>
                <c:pt idx="259">
                  <c:v>13.881670472364869</c:v>
                </c:pt>
                <c:pt idx="260">
                  <c:v>13.881670472364869</c:v>
                </c:pt>
                <c:pt idx="261">
                  <c:v>13.881670472364869</c:v>
                </c:pt>
                <c:pt idx="262">
                  <c:v>13.881670472364869</c:v>
                </c:pt>
                <c:pt idx="263">
                  <c:v>13.881670472364869</c:v>
                </c:pt>
                <c:pt idx="264">
                  <c:v>13.881670472364869</c:v>
                </c:pt>
                <c:pt idx="265">
                  <c:v>13.881670472364869</c:v>
                </c:pt>
                <c:pt idx="266">
                  <c:v>13.881670472364869</c:v>
                </c:pt>
                <c:pt idx="267">
                  <c:v>13.881670472364869</c:v>
                </c:pt>
                <c:pt idx="268">
                  <c:v>13.881670472364869</c:v>
                </c:pt>
                <c:pt idx="269">
                  <c:v>13.881670472364869</c:v>
                </c:pt>
                <c:pt idx="270">
                  <c:v>13.881670472364869</c:v>
                </c:pt>
                <c:pt idx="271">
                  <c:v>13.881670472364869</c:v>
                </c:pt>
                <c:pt idx="272">
                  <c:v>13.881670472364869</c:v>
                </c:pt>
                <c:pt idx="273">
                  <c:v>13.881670472364869</c:v>
                </c:pt>
                <c:pt idx="274">
                  <c:v>13.881670472364869</c:v>
                </c:pt>
                <c:pt idx="275">
                  <c:v>13.881670472364869</c:v>
                </c:pt>
                <c:pt idx="276">
                  <c:v>13.881670472364869</c:v>
                </c:pt>
                <c:pt idx="277">
                  <c:v>13.881670472364869</c:v>
                </c:pt>
                <c:pt idx="278">
                  <c:v>13.881670472364869</c:v>
                </c:pt>
                <c:pt idx="279">
                  <c:v>13.881670472364869</c:v>
                </c:pt>
                <c:pt idx="280">
                  <c:v>13.881670472364869</c:v>
                </c:pt>
                <c:pt idx="281">
                  <c:v>13.881670472364869</c:v>
                </c:pt>
                <c:pt idx="282">
                  <c:v>13.881670472364869</c:v>
                </c:pt>
                <c:pt idx="283">
                  <c:v>13.881670472364869</c:v>
                </c:pt>
                <c:pt idx="284">
                  <c:v>13.881670472364869</c:v>
                </c:pt>
                <c:pt idx="285">
                  <c:v>13.881670472364869</c:v>
                </c:pt>
                <c:pt idx="286">
                  <c:v>13.881670472364869</c:v>
                </c:pt>
                <c:pt idx="287">
                  <c:v>13.881670472364869</c:v>
                </c:pt>
                <c:pt idx="288">
                  <c:v>13.881670472364869</c:v>
                </c:pt>
                <c:pt idx="289">
                  <c:v>13.881670472364869</c:v>
                </c:pt>
                <c:pt idx="290">
                  <c:v>13.881670472364869</c:v>
                </c:pt>
                <c:pt idx="291">
                  <c:v>13.881670472364869</c:v>
                </c:pt>
                <c:pt idx="292">
                  <c:v>13.881670472364869</c:v>
                </c:pt>
                <c:pt idx="293">
                  <c:v>13.881670472364869</c:v>
                </c:pt>
                <c:pt idx="294">
                  <c:v>13.881670472364869</c:v>
                </c:pt>
                <c:pt idx="295">
                  <c:v>13.881670472364869</c:v>
                </c:pt>
                <c:pt idx="296">
                  <c:v>13.881670472364869</c:v>
                </c:pt>
                <c:pt idx="297">
                  <c:v>13.881670472364869</c:v>
                </c:pt>
                <c:pt idx="298">
                  <c:v>13.881670472364869</c:v>
                </c:pt>
                <c:pt idx="299">
                  <c:v>13.881670472364869</c:v>
                </c:pt>
                <c:pt idx="300">
                  <c:v>13.881670472364869</c:v>
                </c:pt>
                <c:pt idx="301">
                  <c:v>13.881670472364869</c:v>
                </c:pt>
                <c:pt idx="302">
                  <c:v>13.881670472364869</c:v>
                </c:pt>
                <c:pt idx="303">
                  <c:v>13.881670472364869</c:v>
                </c:pt>
                <c:pt idx="304">
                  <c:v>13.881670472364869</c:v>
                </c:pt>
                <c:pt idx="305">
                  <c:v>13.881670472364869</c:v>
                </c:pt>
                <c:pt idx="306">
                  <c:v>13.881670472364869</c:v>
                </c:pt>
                <c:pt idx="307">
                  <c:v>13.881670472364869</c:v>
                </c:pt>
                <c:pt idx="308">
                  <c:v>13.881670472364869</c:v>
                </c:pt>
                <c:pt idx="309">
                  <c:v>13.881670472364869</c:v>
                </c:pt>
                <c:pt idx="310">
                  <c:v>13.881670472364869</c:v>
                </c:pt>
                <c:pt idx="311">
                  <c:v>13.881670472364869</c:v>
                </c:pt>
                <c:pt idx="312">
                  <c:v>13.881670472364869</c:v>
                </c:pt>
                <c:pt idx="313">
                  <c:v>13.881670472364869</c:v>
                </c:pt>
                <c:pt idx="314">
                  <c:v>13.881670472364869</c:v>
                </c:pt>
                <c:pt idx="315">
                  <c:v>13.881670472364869</c:v>
                </c:pt>
                <c:pt idx="316">
                  <c:v>13.881670472364869</c:v>
                </c:pt>
                <c:pt idx="317">
                  <c:v>13.881670472364869</c:v>
                </c:pt>
                <c:pt idx="318">
                  <c:v>13.881670472364869</c:v>
                </c:pt>
                <c:pt idx="319">
                  <c:v>13.881670472364869</c:v>
                </c:pt>
                <c:pt idx="320">
                  <c:v>13.881670472364869</c:v>
                </c:pt>
                <c:pt idx="321">
                  <c:v>13.881670472364869</c:v>
                </c:pt>
                <c:pt idx="322">
                  <c:v>13.881670472364869</c:v>
                </c:pt>
                <c:pt idx="323">
                  <c:v>13.881670472364869</c:v>
                </c:pt>
                <c:pt idx="324">
                  <c:v>13.881670472364869</c:v>
                </c:pt>
                <c:pt idx="325">
                  <c:v>13.881670472364869</c:v>
                </c:pt>
                <c:pt idx="326">
                  <c:v>13.881670472364869</c:v>
                </c:pt>
                <c:pt idx="327">
                  <c:v>13.881670472364869</c:v>
                </c:pt>
                <c:pt idx="328">
                  <c:v>13.881670472364869</c:v>
                </c:pt>
                <c:pt idx="329">
                  <c:v>13.881670472364869</c:v>
                </c:pt>
                <c:pt idx="330">
                  <c:v>13.881670472364869</c:v>
                </c:pt>
                <c:pt idx="331">
                  <c:v>13.881670472364869</c:v>
                </c:pt>
                <c:pt idx="332">
                  <c:v>13.881670472364869</c:v>
                </c:pt>
                <c:pt idx="333">
                  <c:v>13.881670472364869</c:v>
                </c:pt>
                <c:pt idx="334">
                  <c:v>13.881670472364869</c:v>
                </c:pt>
                <c:pt idx="335">
                  <c:v>13.881670472364869</c:v>
                </c:pt>
                <c:pt idx="336">
                  <c:v>13.881670472364869</c:v>
                </c:pt>
                <c:pt idx="337">
                  <c:v>13.881670472364869</c:v>
                </c:pt>
                <c:pt idx="338">
                  <c:v>13.881670472364869</c:v>
                </c:pt>
                <c:pt idx="339">
                  <c:v>13.881670472364869</c:v>
                </c:pt>
                <c:pt idx="340">
                  <c:v>13.881670472364869</c:v>
                </c:pt>
                <c:pt idx="341">
                  <c:v>13.881670472364869</c:v>
                </c:pt>
                <c:pt idx="342">
                  <c:v>13.881670472364869</c:v>
                </c:pt>
                <c:pt idx="343">
                  <c:v>13.881670472364869</c:v>
                </c:pt>
                <c:pt idx="344">
                  <c:v>13.881670472364869</c:v>
                </c:pt>
                <c:pt idx="345">
                  <c:v>13.881670472364869</c:v>
                </c:pt>
                <c:pt idx="346">
                  <c:v>13.881670472364869</c:v>
                </c:pt>
                <c:pt idx="347">
                  <c:v>13.881670472364869</c:v>
                </c:pt>
                <c:pt idx="348">
                  <c:v>13.881670472364869</c:v>
                </c:pt>
                <c:pt idx="349">
                  <c:v>13.881670472364869</c:v>
                </c:pt>
                <c:pt idx="350">
                  <c:v>13.881670472364869</c:v>
                </c:pt>
                <c:pt idx="351">
                  <c:v>13.881670472364869</c:v>
                </c:pt>
                <c:pt idx="352">
                  <c:v>13.881670472364869</c:v>
                </c:pt>
                <c:pt idx="353">
                  <c:v>13.881670472364869</c:v>
                </c:pt>
                <c:pt idx="354">
                  <c:v>13.881670472364869</c:v>
                </c:pt>
                <c:pt idx="355">
                  <c:v>13.881670472364869</c:v>
                </c:pt>
                <c:pt idx="356">
                  <c:v>13.881670472364869</c:v>
                </c:pt>
                <c:pt idx="357">
                  <c:v>13.881670472364869</c:v>
                </c:pt>
                <c:pt idx="358">
                  <c:v>13.881670472364869</c:v>
                </c:pt>
                <c:pt idx="359">
                  <c:v>13.881670472364869</c:v>
                </c:pt>
                <c:pt idx="360">
                  <c:v>13.881670472364869</c:v>
                </c:pt>
                <c:pt idx="361">
                  <c:v>13.881670472364869</c:v>
                </c:pt>
                <c:pt idx="362">
                  <c:v>13.881670472364869</c:v>
                </c:pt>
                <c:pt idx="363">
                  <c:v>13.881670472364869</c:v>
                </c:pt>
                <c:pt idx="364">
                  <c:v>13.881670472364869</c:v>
                </c:pt>
                <c:pt idx="365">
                  <c:v>13.881670472364869</c:v>
                </c:pt>
                <c:pt idx="366">
                  <c:v>13.881670472364869</c:v>
                </c:pt>
                <c:pt idx="367">
                  <c:v>13.881670472364869</c:v>
                </c:pt>
                <c:pt idx="368">
                  <c:v>13.881670472364869</c:v>
                </c:pt>
                <c:pt idx="369">
                  <c:v>13.881670472364869</c:v>
                </c:pt>
                <c:pt idx="370">
                  <c:v>13.881670472364869</c:v>
                </c:pt>
                <c:pt idx="371">
                  <c:v>13.881670472364869</c:v>
                </c:pt>
                <c:pt idx="372">
                  <c:v>13.881670472364869</c:v>
                </c:pt>
                <c:pt idx="373">
                  <c:v>13.881670472364869</c:v>
                </c:pt>
                <c:pt idx="374">
                  <c:v>13.881670472364869</c:v>
                </c:pt>
                <c:pt idx="375">
                  <c:v>13.881670472364869</c:v>
                </c:pt>
                <c:pt idx="376">
                  <c:v>13.881670472364869</c:v>
                </c:pt>
                <c:pt idx="377">
                  <c:v>13.881670472364869</c:v>
                </c:pt>
                <c:pt idx="378">
                  <c:v>13.881670472364869</c:v>
                </c:pt>
                <c:pt idx="379">
                  <c:v>13.881670472364869</c:v>
                </c:pt>
                <c:pt idx="380">
                  <c:v>13.881670472364869</c:v>
                </c:pt>
                <c:pt idx="381">
                  <c:v>13.881670472364869</c:v>
                </c:pt>
                <c:pt idx="382">
                  <c:v>13.881670472364869</c:v>
                </c:pt>
                <c:pt idx="383">
                  <c:v>13.881670472364869</c:v>
                </c:pt>
                <c:pt idx="384">
                  <c:v>13.881670472364869</c:v>
                </c:pt>
                <c:pt idx="385">
                  <c:v>13.881670472364869</c:v>
                </c:pt>
                <c:pt idx="386">
                  <c:v>13.881670472364869</c:v>
                </c:pt>
                <c:pt idx="387">
                  <c:v>13.881670472364869</c:v>
                </c:pt>
                <c:pt idx="388">
                  <c:v>13.881670472364869</c:v>
                </c:pt>
                <c:pt idx="389">
                  <c:v>13.881670472364869</c:v>
                </c:pt>
                <c:pt idx="390">
                  <c:v>13.881670472364869</c:v>
                </c:pt>
                <c:pt idx="391">
                  <c:v>13.881670472364869</c:v>
                </c:pt>
                <c:pt idx="392">
                  <c:v>13.881670472364869</c:v>
                </c:pt>
                <c:pt idx="393">
                  <c:v>13.881670472364869</c:v>
                </c:pt>
                <c:pt idx="394">
                  <c:v>13.881670472364869</c:v>
                </c:pt>
                <c:pt idx="395">
                  <c:v>13.881670472364869</c:v>
                </c:pt>
                <c:pt idx="396">
                  <c:v>13.881670472364869</c:v>
                </c:pt>
                <c:pt idx="397">
                  <c:v>13.881670472364869</c:v>
                </c:pt>
                <c:pt idx="398">
                  <c:v>13.881670472364869</c:v>
                </c:pt>
                <c:pt idx="399">
                  <c:v>13.881670472364869</c:v>
                </c:pt>
                <c:pt idx="400">
                  <c:v>13.881670472364869</c:v>
                </c:pt>
                <c:pt idx="401">
                  <c:v>13.881670472364869</c:v>
                </c:pt>
                <c:pt idx="402">
                  <c:v>13.881670472364869</c:v>
                </c:pt>
                <c:pt idx="403">
                  <c:v>13.881670472364869</c:v>
                </c:pt>
                <c:pt idx="404">
                  <c:v>13.881670472364869</c:v>
                </c:pt>
                <c:pt idx="405">
                  <c:v>13.881670472364869</c:v>
                </c:pt>
                <c:pt idx="406">
                  <c:v>13.881670472364869</c:v>
                </c:pt>
                <c:pt idx="407">
                  <c:v>13.881670472364869</c:v>
                </c:pt>
                <c:pt idx="408">
                  <c:v>13.881670472364869</c:v>
                </c:pt>
                <c:pt idx="409">
                  <c:v>13.881670472364869</c:v>
                </c:pt>
                <c:pt idx="410">
                  <c:v>13.881670472364869</c:v>
                </c:pt>
                <c:pt idx="411">
                  <c:v>13.881670472364869</c:v>
                </c:pt>
                <c:pt idx="412">
                  <c:v>13.881670472364869</c:v>
                </c:pt>
                <c:pt idx="413">
                  <c:v>13.881670472364869</c:v>
                </c:pt>
                <c:pt idx="414">
                  <c:v>13.881670472364869</c:v>
                </c:pt>
                <c:pt idx="415">
                  <c:v>13.881670472364869</c:v>
                </c:pt>
                <c:pt idx="416">
                  <c:v>13.881670472364869</c:v>
                </c:pt>
                <c:pt idx="417">
                  <c:v>13.881670472364869</c:v>
                </c:pt>
                <c:pt idx="418">
                  <c:v>13.881670472364869</c:v>
                </c:pt>
                <c:pt idx="419">
                  <c:v>13.881670472364869</c:v>
                </c:pt>
                <c:pt idx="420">
                  <c:v>13.881670472364869</c:v>
                </c:pt>
                <c:pt idx="421">
                  <c:v>13.881670472364869</c:v>
                </c:pt>
                <c:pt idx="422">
                  <c:v>13.881670472364869</c:v>
                </c:pt>
                <c:pt idx="423">
                  <c:v>13.881670472364869</c:v>
                </c:pt>
                <c:pt idx="424">
                  <c:v>13.881670472364869</c:v>
                </c:pt>
                <c:pt idx="425">
                  <c:v>13.881670472364869</c:v>
                </c:pt>
                <c:pt idx="426">
                  <c:v>13.881670472364869</c:v>
                </c:pt>
                <c:pt idx="427">
                  <c:v>13.881670472364869</c:v>
                </c:pt>
                <c:pt idx="428">
                  <c:v>13.881670472364869</c:v>
                </c:pt>
                <c:pt idx="429">
                  <c:v>13.881670472364869</c:v>
                </c:pt>
                <c:pt idx="430">
                  <c:v>13.881670472364869</c:v>
                </c:pt>
                <c:pt idx="431">
                  <c:v>13.881670472364869</c:v>
                </c:pt>
                <c:pt idx="432">
                  <c:v>13.881670472364869</c:v>
                </c:pt>
                <c:pt idx="433">
                  <c:v>13.881670472364869</c:v>
                </c:pt>
                <c:pt idx="434">
                  <c:v>13.881670472364869</c:v>
                </c:pt>
                <c:pt idx="435">
                  <c:v>13.881670472364869</c:v>
                </c:pt>
                <c:pt idx="436">
                  <c:v>13.881670472364869</c:v>
                </c:pt>
                <c:pt idx="437">
                  <c:v>13.881670472364869</c:v>
                </c:pt>
                <c:pt idx="438">
                  <c:v>13.881670472364869</c:v>
                </c:pt>
                <c:pt idx="439">
                  <c:v>13.881670472364869</c:v>
                </c:pt>
                <c:pt idx="440">
                  <c:v>13.881670472364869</c:v>
                </c:pt>
                <c:pt idx="441">
                  <c:v>13.881670472364869</c:v>
                </c:pt>
                <c:pt idx="442">
                  <c:v>13.881670472364869</c:v>
                </c:pt>
                <c:pt idx="443">
                  <c:v>13.881670472364869</c:v>
                </c:pt>
                <c:pt idx="444">
                  <c:v>13.881670472364869</c:v>
                </c:pt>
                <c:pt idx="445">
                  <c:v>13.881670472364869</c:v>
                </c:pt>
                <c:pt idx="446">
                  <c:v>13.881670472364869</c:v>
                </c:pt>
                <c:pt idx="447">
                  <c:v>13.881670472364869</c:v>
                </c:pt>
                <c:pt idx="448">
                  <c:v>13.881670472364869</c:v>
                </c:pt>
                <c:pt idx="449">
                  <c:v>13.881670472364869</c:v>
                </c:pt>
                <c:pt idx="450">
                  <c:v>13.881670472364869</c:v>
                </c:pt>
                <c:pt idx="451">
                  <c:v>13.881670472364869</c:v>
                </c:pt>
                <c:pt idx="452">
                  <c:v>13.881670472364869</c:v>
                </c:pt>
                <c:pt idx="453">
                  <c:v>13.881670472364869</c:v>
                </c:pt>
                <c:pt idx="454">
                  <c:v>13.881670472364869</c:v>
                </c:pt>
                <c:pt idx="455">
                  <c:v>13.881670472364869</c:v>
                </c:pt>
                <c:pt idx="456">
                  <c:v>13.881670472364869</c:v>
                </c:pt>
                <c:pt idx="457">
                  <c:v>13.881670472364869</c:v>
                </c:pt>
                <c:pt idx="458">
                  <c:v>13.881670472364869</c:v>
                </c:pt>
                <c:pt idx="459">
                  <c:v>13.881670472364869</c:v>
                </c:pt>
                <c:pt idx="460">
                  <c:v>13.881670472364869</c:v>
                </c:pt>
                <c:pt idx="461">
                  <c:v>13.881670472364869</c:v>
                </c:pt>
                <c:pt idx="462">
                  <c:v>13.881670472364869</c:v>
                </c:pt>
                <c:pt idx="463">
                  <c:v>13.881670472364869</c:v>
                </c:pt>
                <c:pt idx="464">
                  <c:v>13.881670472364869</c:v>
                </c:pt>
                <c:pt idx="465">
                  <c:v>13.881670472364869</c:v>
                </c:pt>
                <c:pt idx="466">
                  <c:v>13.881670472364869</c:v>
                </c:pt>
                <c:pt idx="467">
                  <c:v>13.881670472364869</c:v>
                </c:pt>
                <c:pt idx="468">
                  <c:v>13.881670472364869</c:v>
                </c:pt>
                <c:pt idx="469">
                  <c:v>13.881670472364869</c:v>
                </c:pt>
                <c:pt idx="470">
                  <c:v>13.881670472364869</c:v>
                </c:pt>
                <c:pt idx="471">
                  <c:v>13.881670472364869</c:v>
                </c:pt>
                <c:pt idx="472">
                  <c:v>13.881670472364869</c:v>
                </c:pt>
                <c:pt idx="473">
                  <c:v>13.881670472364869</c:v>
                </c:pt>
                <c:pt idx="474">
                  <c:v>13.881670472364869</c:v>
                </c:pt>
                <c:pt idx="475">
                  <c:v>13.881670472364869</c:v>
                </c:pt>
                <c:pt idx="476">
                  <c:v>13.881670472364869</c:v>
                </c:pt>
                <c:pt idx="477">
                  <c:v>13.881670472364869</c:v>
                </c:pt>
                <c:pt idx="478">
                  <c:v>13.881670472364869</c:v>
                </c:pt>
                <c:pt idx="479">
                  <c:v>13.881670472364869</c:v>
                </c:pt>
                <c:pt idx="480">
                  <c:v>13.881670472364869</c:v>
                </c:pt>
                <c:pt idx="481">
                  <c:v>13.881670472364869</c:v>
                </c:pt>
                <c:pt idx="482">
                  <c:v>13.881670472364869</c:v>
                </c:pt>
                <c:pt idx="483">
                  <c:v>13.881670472364869</c:v>
                </c:pt>
                <c:pt idx="484">
                  <c:v>13.881670472364869</c:v>
                </c:pt>
                <c:pt idx="485">
                  <c:v>13.881670472364869</c:v>
                </c:pt>
                <c:pt idx="486">
                  <c:v>13.881670472364869</c:v>
                </c:pt>
                <c:pt idx="487">
                  <c:v>13.881670472364869</c:v>
                </c:pt>
                <c:pt idx="488">
                  <c:v>13.881670472364869</c:v>
                </c:pt>
                <c:pt idx="489">
                  <c:v>13.881670472364869</c:v>
                </c:pt>
                <c:pt idx="490">
                  <c:v>13.881670472364869</c:v>
                </c:pt>
                <c:pt idx="491">
                  <c:v>13.881670472364869</c:v>
                </c:pt>
                <c:pt idx="492">
                  <c:v>13.881670472364869</c:v>
                </c:pt>
                <c:pt idx="493">
                  <c:v>13.881670472364869</c:v>
                </c:pt>
                <c:pt idx="494">
                  <c:v>13.881670472364869</c:v>
                </c:pt>
                <c:pt idx="495">
                  <c:v>13.881670472364869</c:v>
                </c:pt>
                <c:pt idx="496">
                  <c:v>13.881670472364869</c:v>
                </c:pt>
                <c:pt idx="497">
                  <c:v>13.881670472364869</c:v>
                </c:pt>
                <c:pt idx="498">
                  <c:v>13.881670472364869</c:v>
                </c:pt>
                <c:pt idx="499">
                  <c:v>13.881670472364869</c:v>
                </c:pt>
                <c:pt idx="500">
                  <c:v>13.881670472364869</c:v>
                </c:pt>
                <c:pt idx="501">
                  <c:v>13.881670472364869</c:v>
                </c:pt>
                <c:pt idx="502">
                  <c:v>13.881670472364869</c:v>
                </c:pt>
                <c:pt idx="503">
                  <c:v>13.881670472364869</c:v>
                </c:pt>
                <c:pt idx="504">
                  <c:v>13.881670472364869</c:v>
                </c:pt>
                <c:pt idx="505">
                  <c:v>13.881670472364869</c:v>
                </c:pt>
                <c:pt idx="506">
                  <c:v>13.881670472364869</c:v>
                </c:pt>
                <c:pt idx="507">
                  <c:v>13.881670472364869</c:v>
                </c:pt>
                <c:pt idx="508">
                  <c:v>13.881670472364869</c:v>
                </c:pt>
                <c:pt idx="509">
                  <c:v>13.881670472364869</c:v>
                </c:pt>
                <c:pt idx="510">
                  <c:v>13.881670472364869</c:v>
                </c:pt>
                <c:pt idx="511">
                  <c:v>13.881670472364869</c:v>
                </c:pt>
                <c:pt idx="512">
                  <c:v>13.881670472364869</c:v>
                </c:pt>
                <c:pt idx="513">
                  <c:v>13.881670472364869</c:v>
                </c:pt>
                <c:pt idx="514">
                  <c:v>13.881670472364869</c:v>
                </c:pt>
                <c:pt idx="515">
                  <c:v>13.881670472364869</c:v>
                </c:pt>
                <c:pt idx="516">
                  <c:v>13.881670472364869</c:v>
                </c:pt>
                <c:pt idx="517">
                  <c:v>13.881670472364869</c:v>
                </c:pt>
                <c:pt idx="518">
                  <c:v>13.881670472364869</c:v>
                </c:pt>
                <c:pt idx="519">
                  <c:v>13.881670472364869</c:v>
                </c:pt>
                <c:pt idx="520">
                  <c:v>13.881670472364869</c:v>
                </c:pt>
                <c:pt idx="521">
                  <c:v>13.881670472364869</c:v>
                </c:pt>
                <c:pt idx="522">
                  <c:v>13.881670472364869</c:v>
                </c:pt>
                <c:pt idx="523">
                  <c:v>13.881670472364869</c:v>
                </c:pt>
                <c:pt idx="524">
                  <c:v>13.881670472364869</c:v>
                </c:pt>
                <c:pt idx="525">
                  <c:v>13.881670472364869</c:v>
                </c:pt>
                <c:pt idx="526">
                  <c:v>13.881670472364869</c:v>
                </c:pt>
                <c:pt idx="527">
                  <c:v>13.881670472364869</c:v>
                </c:pt>
                <c:pt idx="528">
                  <c:v>13.881670472364869</c:v>
                </c:pt>
                <c:pt idx="529">
                  <c:v>13.881670472364869</c:v>
                </c:pt>
                <c:pt idx="530">
                  <c:v>13.881670472364869</c:v>
                </c:pt>
                <c:pt idx="531">
                  <c:v>13.881670472364869</c:v>
                </c:pt>
                <c:pt idx="532">
                  <c:v>13.881670472364869</c:v>
                </c:pt>
                <c:pt idx="533">
                  <c:v>13.881670472364869</c:v>
                </c:pt>
                <c:pt idx="534">
                  <c:v>13.881670472364869</c:v>
                </c:pt>
                <c:pt idx="535">
                  <c:v>13.881670472364869</c:v>
                </c:pt>
                <c:pt idx="536">
                  <c:v>13.881670472364869</c:v>
                </c:pt>
                <c:pt idx="537">
                  <c:v>13.881670472364869</c:v>
                </c:pt>
                <c:pt idx="538">
                  <c:v>13.881670472364869</c:v>
                </c:pt>
                <c:pt idx="539">
                  <c:v>13.881670472364869</c:v>
                </c:pt>
                <c:pt idx="540">
                  <c:v>13.881670472364869</c:v>
                </c:pt>
                <c:pt idx="541">
                  <c:v>13.881670472364869</c:v>
                </c:pt>
                <c:pt idx="542">
                  <c:v>13.881670472364869</c:v>
                </c:pt>
                <c:pt idx="543">
                  <c:v>13.881670472364869</c:v>
                </c:pt>
                <c:pt idx="544">
                  <c:v>13.881670472364869</c:v>
                </c:pt>
                <c:pt idx="545">
                  <c:v>13.881670472364869</c:v>
                </c:pt>
                <c:pt idx="546">
                  <c:v>13.881670472364869</c:v>
                </c:pt>
                <c:pt idx="547">
                  <c:v>13.881670472364869</c:v>
                </c:pt>
                <c:pt idx="548">
                  <c:v>13.881670472364869</c:v>
                </c:pt>
                <c:pt idx="549">
                  <c:v>13.881670472364869</c:v>
                </c:pt>
                <c:pt idx="550">
                  <c:v>13.881670472364869</c:v>
                </c:pt>
                <c:pt idx="551">
                  <c:v>13.881670472364869</c:v>
                </c:pt>
                <c:pt idx="552">
                  <c:v>13.881670472364869</c:v>
                </c:pt>
                <c:pt idx="553">
                  <c:v>13.881670472364869</c:v>
                </c:pt>
                <c:pt idx="554">
                  <c:v>13.881670472364869</c:v>
                </c:pt>
                <c:pt idx="555">
                  <c:v>13.881670472364869</c:v>
                </c:pt>
                <c:pt idx="556">
                  <c:v>13.881670472364869</c:v>
                </c:pt>
                <c:pt idx="557">
                  <c:v>13.881670472364869</c:v>
                </c:pt>
                <c:pt idx="558">
                  <c:v>13.881670472364869</c:v>
                </c:pt>
                <c:pt idx="559">
                  <c:v>13.881670472364869</c:v>
                </c:pt>
                <c:pt idx="560">
                  <c:v>13.881670472364869</c:v>
                </c:pt>
                <c:pt idx="561">
                  <c:v>13.881670472364869</c:v>
                </c:pt>
                <c:pt idx="562">
                  <c:v>13.881670472364869</c:v>
                </c:pt>
                <c:pt idx="563">
                  <c:v>13.881670472364869</c:v>
                </c:pt>
                <c:pt idx="564">
                  <c:v>13.881670472364869</c:v>
                </c:pt>
                <c:pt idx="565">
                  <c:v>13.881670472364869</c:v>
                </c:pt>
                <c:pt idx="566">
                  <c:v>13.881670472364869</c:v>
                </c:pt>
                <c:pt idx="567">
                  <c:v>13.881670472364869</c:v>
                </c:pt>
                <c:pt idx="568">
                  <c:v>13.881670472364869</c:v>
                </c:pt>
                <c:pt idx="569">
                  <c:v>13.881670472364869</c:v>
                </c:pt>
                <c:pt idx="570">
                  <c:v>13.881670472364869</c:v>
                </c:pt>
                <c:pt idx="571">
                  <c:v>13.881670472364869</c:v>
                </c:pt>
                <c:pt idx="572">
                  <c:v>13.881670472364869</c:v>
                </c:pt>
                <c:pt idx="573">
                  <c:v>13.881670472364869</c:v>
                </c:pt>
                <c:pt idx="574">
                  <c:v>13.881670472364869</c:v>
                </c:pt>
                <c:pt idx="575">
                  <c:v>13.881670472364869</c:v>
                </c:pt>
                <c:pt idx="576">
                  <c:v>13.881670472364869</c:v>
                </c:pt>
                <c:pt idx="577">
                  <c:v>13.881670472364869</c:v>
                </c:pt>
                <c:pt idx="578">
                  <c:v>13.881670472364869</c:v>
                </c:pt>
                <c:pt idx="579">
                  <c:v>13.881670472364869</c:v>
                </c:pt>
                <c:pt idx="580">
                  <c:v>13.881670472364869</c:v>
                </c:pt>
                <c:pt idx="581">
                  <c:v>13.881670472364869</c:v>
                </c:pt>
                <c:pt idx="582">
                  <c:v>13.881670472364869</c:v>
                </c:pt>
                <c:pt idx="583">
                  <c:v>13.881670472364869</c:v>
                </c:pt>
                <c:pt idx="584">
                  <c:v>13.881670472364869</c:v>
                </c:pt>
                <c:pt idx="585">
                  <c:v>13.881670472364869</c:v>
                </c:pt>
                <c:pt idx="586">
                  <c:v>13.881670472364869</c:v>
                </c:pt>
                <c:pt idx="587">
                  <c:v>13.881670472364869</c:v>
                </c:pt>
                <c:pt idx="588">
                  <c:v>13.881670472364869</c:v>
                </c:pt>
                <c:pt idx="589">
                  <c:v>13.881670472364869</c:v>
                </c:pt>
                <c:pt idx="590">
                  <c:v>13.881670472364869</c:v>
                </c:pt>
                <c:pt idx="591">
                  <c:v>13.881670472364869</c:v>
                </c:pt>
                <c:pt idx="592">
                  <c:v>13.881670472364869</c:v>
                </c:pt>
                <c:pt idx="593">
                  <c:v>13.881670472364869</c:v>
                </c:pt>
                <c:pt idx="594">
                  <c:v>13.881670472364869</c:v>
                </c:pt>
                <c:pt idx="595">
                  <c:v>13.881670472364869</c:v>
                </c:pt>
                <c:pt idx="596">
                  <c:v>13.881670472364869</c:v>
                </c:pt>
                <c:pt idx="597">
                  <c:v>13.881670472364869</c:v>
                </c:pt>
                <c:pt idx="598">
                  <c:v>13.881670472364869</c:v>
                </c:pt>
                <c:pt idx="599">
                  <c:v>13.881670472364869</c:v>
                </c:pt>
                <c:pt idx="600">
                  <c:v>13.881670472364869</c:v>
                </c:pt>
                <c:pt idx="601">
                  <c:v>13.881670472364869</c:v>
                </c:pt>
                <c:pt idx="602">
                  <c:v>13.881670472364869</c:v>
                </c:pt>
                <c:pt idx="603">
                  <c:v>13.881670472364869</c:v>
                </c:pt>
                <c:pt idx="604">
                  <c:v>13.881670472364869</c:v>
                </c:pt>
                <c:pt idx="605">
                  <c:v>13.881670472364869</c:v>
                </c:pt>
                <c:pt idx="606">
                  <c:v>13.881670472364869</c:v>
                </c:pt>
                <c:pt idx="607">
                  <c:v>13.881670472364869</c:v>
                </c:pt>
                <c:pt idx="608">
                  <c:v>13.881670472364869</c:v>
                </c:pt>
                <c:pt idx="609">
                  <c:v>13.881670472364869</c:v>
                </c:pt>
                <c:pt idx="610">
                  <c:v>13.881670472364869</c:v>
                </c:pt>
                <c:pt idx="611">
                  <c:v>13.881670472364869</c:v>
                </c:pt>
                <c:pt idx="612">
                  <c:v>13.881670472364869</c:v>
                </c:pt>
                <c:pt idx="613">
                  <c:v>13.881670472364869</c:v>
                </c:pt>
                <c:pt idx="614">
                  <c:v>13.881670472364869</c:v>
                </c:pt>
                <c:pt idx="615">
                  <c:v>13.881670472364869</c:v>
                </c:pt>
                <c:pt idx="616">
                  <c:v>13.881670472364869</c:v>
                </c:pt>
                <c:pt idx="617">
                  <c:v>13.881670472364869</c:v>
                </c:pt>
                <c:pt idx="618">
                  <c:v>13.881670472364869</c:v>
                </c:pt>
                <c:pt idx="619">
                  <c:v>13.881670472364869</c:v>
                </c:pt>
                <c:pt idx="620">
                  <c:v>13.881670472364869</c:v>
                </c:pt>
                <c:pt idx="621">
                  <c:v>13.881670472364869</c:v>
                </c:pt>
                <c:pt idx="622">
                  <c:v>13.881670472364869</c:v>
                </c:pt>
                <c:pt idx="623">
                  <c:v>13.881670472364869</c:v>
                </c:pt>
                <c:pt idx="624">
                  <c:v>13.881670472364869</c:v>
                </c:pt>
                <c:pt idx="625">
                  <c:v>13.881670472364869</c:v>
                </c:pt>
                <c:pt idx="626">
                  <c:v>13.881670472364869</c:v>
                </c:pt>
                <c:pt idx="627">
                  <c:v>13.881670472364869</c:v>
                </c:pt>
                <c:pt idx="628">
                  <c:v>13.881670472364869</c:v>
                </c:pt>
                <c:pt idx="629">
                  <c:v>13.881670472364869</c:v>
                </c:pt>
                <c:pt idx="630">
                  <c:v>13.881670472364869</c:v>
                </c:pt>
                <c:pt idx="631">
                  <c:v>13.881670472364869</c:v>
                </c:pt>
                <c:pt idx="632">
                  <c:v>13.881670472364869</c:v>
                </c:pt>
                <c:pt idx="633">
                  <c:v>13.881670472364869</c:v>
                </c:pt>
                <c:pt idx="634">
                  <c:v>13.881670472364869</c:v>
                </c:pt>
                <c:pt idx="635">
                  <c:v>13.881670472364869</c:v>
                </c:pt>
                <c:pt idx="636">
                  <c:v>13.881670472364869</c:v>
                </c:pt>
                <c:pt idx="637">
                  <c:v>13.881670472364869</c:v>
                </c:pt>
                <c:pt idx="638">
                  <c:v>13.881670472364869</c:v>
                </c:pt>
                <c:pt idx="639">
                  <c:v>13.881670472364869</c:v>
                </c:pt>
                <c:pt idx="640">
                  <c:v>13.881670472364869</c:v>
                </c:pt>
                <c:pt idx="641">
                  <c:v>13.881670472364869</c:v>
                </c:pt>
                <c:pt idx="642">
                  <c:v>13.881670472364869</c:v>
                </c:pt>
                <c:pt idx="643">
                  <c:v>13.881670472364869</c:v>
                </c:pt>
                <c:pt idx="644">
                  <c:v>13.881670472364869</c:v>
                </c:pt>
                <c:pt idx="645">
                  <c:v>13.881670472364869</c:v>
                </c:pt>
                <c:pt idx="646">
                  <c:v>13.881670472364869</c:v>
                </c:pt>
                <c:pt idx="647">
                  <c:v>13.881670472364869</c:v>
                </c:pt>
                <c:pt idx="648">
                  <c:v>13.881670472364869</c:v>
                </c:pt>
                <c:pt idx="649">
                  <c:v>13.881670472364869</c:v>
                </c:pt>
                <c:pt idx="650">
                  <c:v>13.881670472364869</c:v>
                </c:pt>
                <c:pt idx="651">
                  <c:v>13.881670472364869</c:v>
                </c:pt>
                <c:pt idx="652">
                  <c:v>13.881670472364869</c:v>
                </c:pt>
                <c:pt idx="653">
                  <c:v>13.881670472364869</c:v>
                </c:pt>
                <c:pt idx="654">
                  <c:v>13.881670472364869</c:v>
                </c:pt>
                <c:pt idx="655">
                  <c:v>13.881670472364869</c:v>
                </c:pt>
                <c:pt idx="656">
                  <c:v>13.881670472364869</c:v>
                </c:pt>
                <c:pt idx="657">
                  <c:v>13.881670472364869</c:v>
                </c:pt>
                <c:pt idx="658">
                  <c:v>13.881670472364869</c:v>
                </c:pt>
                <c:pt idx="659">
                  <c:v>13.881670472364869</c:v>
                </c:pt>
                <c:pt idx="660">
                  <c:v>13.881670472364869</c:v>
                </c:pt>
                <c:pt idx="661">
                  <c:v>13.881670472364869</c:v>
                </c:pt>
                <c:pt idx="662">
                  <c:v>13.881670472364869</c:v>
                </c:pt>
                <c:pt idx="663">
                  <c:v>13.881670472364869</c:v>
                </c:pt>
                <c:pt idx="664">
                  <c:v>13.881670472364869</c:v>
                </c:pt>
                <c:pt idx="665">
                  <c:v>13.881670472364869</c:v>
                </c:pt>
                <c:pt idx="666">
                  <c:v>13.881670472364869</c:v>
                </c:pt>
                <c:pt idx="667">
                  <c:v>13.881670472364869</c:v>
                </c:pt>
                <c:pt idx="668">
                  <c:v>13.881670472364869</c:v>
                </c:pt>
                <c:pt idx="669">
                  <c:v>13.881670472364869</c:v>
                </c:pt>
                <c:pt idx="670">
                  <c:v>13.881670472364869</c:v>
                </c:pt>
                <c:pt idx="671">
                  <c:v>13.881670472364869</c:v>
                </c:pt>
                <c:pt idx="672">
                  <c:v>13.881670472364869</c:v>
                </c:pt>
                <c:pt idx="673">
                  <c:v>13.881670472364869</c:v>
                </c:pt>
                <c:pt idx="674">
                  <c:v>13.881670472364869</c:v>
                </c:pt>
                <c:pt idx="675">
                  <c:v>13.881670472364869</c:v>
                </c:pt>
                <c:pt idx="676">
                  <c:v>13.881670472364869</c:v>
                </c:pt>
                <c:pt idx="677">
                  <c:v>13.881670472364869</c:v>
                </c:pt>
                <c:pt idx="678">
                  <c:v>13.881670472364869</c:v>
                </c:pt>
                <c:pt idx="679">
                  <c:v>13.881670472364869</c:v>
                </c:pt>
                <c:pt idx="680">
                  <c:v>13.881670472364869</c:v>
                </c:pt>
                <c:pt idx="681">
                  <c:v>13.881670472364869</c:v>
                </c:pt>
                <c:pt idx="682">
                  <c:v>13.881670472364869</c:v>
                </c:pt>
                <c:pt idx="683">
                  <c:v>13.881670472364869</c:v>
                </c:pt>
                <c:pt idx="684">
                  <c:v>13.881670472364869</c:v>
                </c:pt>
                <c:pt idx="685">
                  <c:v>13.881670472364869</c:v>
                </c:pt>
                <c:pt idx="686">
                  <c:v>13.881670472364869</c:v>
                </c:pt>
                <c:pt idx="687">
                  <c:v>13.881670472364869</c:v>
                </c:pt>
                <c:pt idx="688">
                  <c:v>13.881670472364869</c:v>
                </c:pt>
                <c:pt idx="689">
                  <c:v>13.881670472364869</c:v>
                </c:pt>
                <c:pt idx="690">
                  <c:v>13.881670472364869</c:v>
                </c:pt>
                <c:pt idx="691">
                  <c:v>13.881670472364869</c:v>
                </c:pt>
                <c:pt idx="692">
                  <c:v>13.881670472364869</c:v>
                </c:pt>
                <c:pt idx="693">
                  <c:v>13.881670472364869</c:v>
                </c:pt>
                <c:pt idx="694">
                  <c:v>13.881670472364869</c:v>
                </c:pt>
                <c:pt idx="695">
                  <c:v>13.881670472364869</c:v>
                </c:pt>
                <c:pt idx="696">
                  <c:v>13.881670472364869</c:v>
                </c:pt>
                <c:pt idx="697">
                  <c:v>13.881670472364869</c:v>
                </c:pt>
                <c:pt idx="698">
                  <c:v>13.881670472364869</c:v>
                </c:pt>
                <c:pt idx="699">
                  <c:v>13.881670472364869</c:v>
                </c:pt>
                <c:pt idx="700">
                  <c:v>13.881670472364869</c:v>
                </c:pt>
                <c:pt idx="701">
                  <c:v>13.881670472364869</c:v>
                </c:pt>
                <c:pt idx="702">
                  <c:v>13.881670472364869</c:v>
                </c:pt>
                <c:pt idx="703">
                  <c:v>13.881670472364869</c:v>
                </c:pt>
                <c:pt idx="704">
                  <c:v>13.881670472364869</c:v>
                </c:pt>
                <c:pt idx="705">
                  <c:v>13.881670472364869</c:v>
                </c:pt>
                <c:pt idx="706">
                  <c:v>13.881670472364869</c:v>
                </c:pt>
                <c:pt idx="707">
                  <c:v>13.881670472364869</c:v>
                </c:pt>
                <c:pt idx="708">
                  <c:v>13.881670472364869</c:v>
                </c:pt>
                <c:pt idx="709">
                  <c:v>13.881670472364869</c:v>
                </c:pt>
                <c:pt idx="710">
                  <c:v>13.881670472364869</c:v>
                </c:pt>
                <c:pt idx="711">
                  <c:v>13.881670472364869</c:v>
                </c:pt>
                <c:pt idx="712">
                  <c:v>13.881670472364869</c:v>
                </c:pt>
                <c:pt idx="713">
                  <c:v>13.881670472364869</c:v>
                </c:pt>
                <c:pt idx="714">
                  <c:v>13.881670472364869</c:v>
                </c:pt>
                <c:pt idx="715">
                  <c:v>13.881670472364869</c:v>
                </c:pt>
                <c:pt idx="716">
                  <c:v>13.881670472364869</c:v>
                </c:pt>
                <c:pt idx="717">
                  <c:v>13.881670472364869</c:v>
                </c:pt>
                <c:pt idx="718">
                  <c:v>13.881670472364869</c:v>
                </c:pt>
                <c:pt idx="719">
                  <c:v>13.881670472364869</c:v>
                </c:pt>
                <c:pt idx="720">
                  <c:v>13.881670472364869</c:v>
                </c:pt>
                <c:pt idx="721">
                  <c:v>13.881670472364869</c:v>
                </c:pt>
                <c:pt idx="722">
                  <c:v>13.881670472364869</c:v>
                </c:pt>
                <c:pt idx="723">
                  <c:v>13.881670472364869</c:v>
                </c:pt>
                <c:pt idx="724">
                  <c:v>13.881670472364869</c:v>
                </c:pt>
                <c:pt idx="725">
                  <c:v>13.881670472364869</c:v>
                </c:pt>
                <c:pt idx="726">
                  <c:v>13.881670472364869</c:v>
                </c:pt>
                <c:pt idx="727">
                  <c:v>13.881670472364869</c:v>
                </c:pt>
                <c:pt idx="728">
                  <c:v>13.881670472364869</c:v>
                </c:pt>
                <c:pt idx="729">
                  <c:v>13.881670472364869</c:v>
                </c:pt>
                <c:pt idx="730">
                  <c:v>13.881670472364869</c:v>
                </c:pt>
                <c:pt idx="731">
                  <c:v>13.881670472364869</c:v>
                </c:pt>
                <c:pt idx="732">
                  <c:v>13.881670472364869</c:v>
                </c:pt>
                <c:pt idx="733">
                  <c:v>13.881670472364869</c:v>
                </c:pt>
                <c:pt idx="734">
                  <c:v>13.881670472364869</c:v>
                </c:pt>
                <c:pt idx="735">
                  <c:v>13.881670472364869</c:v>
                </c:pt>
                <c:pt idx="736">
                  <c:v>13.881670472364869</c:v>
                </c:pt>
                <c:pt idx="737">
                  <c:v>13.881670472364869</c:v>
                </c:pt>
                <c:pt idx="738">
                  <c:v>13.881670472364869</c:v>
                </c:pt>
                <c:pt idx="739">
                  <c:v>13.881670472364869</c:v>
                </c:pt>
                <c:pt idx="740">
                  <c:v>13.881670472364869</c:v>
                </c:pt>
                <c:pt idx="741">
                  <c:v>13.881670472364869</c:v>
                </c:pt>
                <c:pt idx="742">
                  <c:v>13.881670472364869</c:v>
                </c:pt>
                <c:pt idx="743">
                  <c:v>13.881670472364869</c:v>
                </c:pt>
                <c:pt idx="744">
                  <c:v>13.881670472364869</c:v>
                </c:pt>
                <c:pt idx="745">
                  <c:v>13.881670472364869</c:v>
                </c:pt>
                <c:pt idx="746">
                  <c:v>13.881670472364869</c:v>
                </c:pt>
                <c:pt idx="747">
                  <c:v>13.881670472364869</c:v>
                </c:pt>
                <c:pt idx="748">
                  <c:v>13.881670472364869</c:v>
                </c:pt>
                <c:pt idx="749">
                  <c:v>13.881670472364869</c:v>
                </c:pt>
                <c:pt idx="750">
                  <c:v>13.881670472364869</c:v>
                </c:pt>
                <c:pt idx="751">
                  <c:v>13.881670472364869</c:v>
                </c:pt>
                <c:pt idx="752">
                  <c:v>13.881670472364869</c:v>
                </c:pt>
                <c:pt idx="753">
                  <c:v>13.881670472364869</c:v>
                </c:pt>
                <c:pt idx="754">
                  <c:v>13.881670472364869</c:v>
                </c:pt>
                <c:pt idx="755">
                  <c:v>13.881670472364869</c:v>
                </c:pt>
                <c:pt idx="756">
                  <c:v>13.881670472364869</c:v>
                </c:pt>
                <c:pt idx="757">
                  <c:v>13.881670472364869</c:v>
                </c:pt>
                <c:pt idx="758">
                  <c:v>13.881670472364869</c:v>
                </c:pt>
                <c:pt idx="759">
                  <c:v>13.881670472364869</c:v>
                </c:pt>
                <c:pt idx="760">
                  <c:v>13.881670472364869</c:v>
                </c:pt>
                <c:pt idx="761">
                  <c:v>13.881670472364869</c:v>
                </c:pt>
                <c:pt idx="762">
                  <c:v>13.881670472364869</c:v>
                </c:pt>
                <c:pt idx="763">
                  <c:v>13.881670472364869</c:v>
                </c:pt>
                <c:pt idx="764">
                  <c:v>13.881670472364869</c:v>
                </c:pt>
                <c:pt idx="765">
                  <c:v>13.881670472364869</c:v>
                </c:pt>
                <c:pt idx="766">
                  <c:v>13.881670472364869</c:v>
                </c:pt>
                <c:pt idx="767">
                  <c:v>13.881670472364869</c:v>
                </c:pt>
                <c:pt idx="768">
                  <c:v>13.881670472364869</c:v>
                </c:pt>
                <c:pt idx="769">
                  <c:v>13.881670472364869</c:v>
                </c:pt>
                <c:pt idx="770">
                  <c:v>13.881670472364869</c:v>
                </c:pt>
                <c:pt idx="771">
                  <c:v>13.881670472364869</c:v>
                </c:pt>
                <c:pt idx="772">
                  <c:v>13.881670472364869</c:v>
                </c:pt>
                <c:pt idx="773">
                  <c:v>13.881670472364869</c:v>
                </c:pt>
                <c:pt idx="774">
                  <c:v>13.881670472364869</c:v>
                </c:pt>
                <c:pt idx="775">
                  <c:v>13.881670472364869</c:v>
                </c:pt>
                <c:pt idx="776">
                  <c:v>13.881670472364869</c:v>
                </c:pt>
                <c:pt idx="777">
                  <c:v>13.881670472364869</c:v>
                </c:pt>
                <c:pt idx="778">
                  <c:v>13.881670472364869</c:v>
                </c:pt>
                <c:pt idx="779">
                  <c:v>13.881670472364869</c:v>
                </c:pt>
                <c:pt idx="780">
                  <c:v>13.881670472364869</c:v>
                </c:pt>
                <c:pt idx="781">
                  <c:v>13.881670472364869</c:v>
                </c:pt>
                <c:pt idx="782">
                  <c:v>13.881670472364869</c:v>
                </c:pt>
                <c:pt idx="783">
                  <c:v>13.881670472364869</c:v>
                </c:pt>
                <c:pt idx="784">
                  <c:v>13.881670472364869</c:v>
                </c:pt>
                <c:pt idx="785">
                  <c:v>13.881670472364869</c:v>
                </c:pt>
                <c:pt idx="786">
                  <c:v>13.881670472364869</c:v>
                </c:pt>
                <c:pt idx="787">
                  <c:v>13.881670472364869</c:v>
                </c:pt>
                <c:pt idx="788">
                  <c:v>13.881670472364869</c:v>
                </c:pt>
                <c:pt idx="789">
                  <c:v>13.881670472364869</c:v>
                </c:pt>
                <c:pt idx="790">
                  <c:v>13.881670472364869</c:v>
                </c:pt>
                <c:pt idx="791">
                  <c:v>13.881670472364869</c:v>
                </c:pt>
                <c:pt idx="792">
                  <c:v>13.881670472364869</c:v>
                </c:pt>
                <c:pt idx="793">
                  <c:v>13.881670472364869</c:v>
                </c:pt>
                <c:pt idx="794">
                  <c:v>13.881670472364869</c:v>
                </c:pt>
                <c:pt idx="795">
                  <c:v>13.881670472364869</c:v>
                </c:pt>
                <c:pt idx="796">
                  <c:v>13.881670472364869</c:v>
                </c:pt>
                <c:pt idx="797">
                  <c:v>13.881670472364869</c:v>
                </c:pt>
                <c:pt idx="798">
                  <c:v>13.881670472364869</c:v>
                </c:pt>
                <c:pt idx="799">
                  <c:v>13.881670472364869</c:v>
                </c:pt>
                <c:pt idx="800">
                  <c:v>13.881670472364869</c:v>
                </c:pt>
                <c:pt idx="801">
                  <c:v>13.881670472364869</c:v>
                </c:pt>
                <c:pt idx="802">
                  <c:v>13.881670472364869</c:v>
                </c:pt>
                <c:pt idx="803">
                  <c:v>13.881670472364869</c:v>
                </c:pt>
                <c:pt idx="804">
                  <c:v>13.881670472364869</c:v>
                </c:pt>
                <c:pt idx="805">
                  <c:v>13.881670472364869</c:v>
                </c:pt>
                <c:pt idx="806">
                  <c:v>13.881670472364869</c:v>
                </c:pt>
                <c:pt idx="807">
                  <c:v>13.881670472364869</c:v>
                </c:pt>
                <c:pt idx="808">
                  <c:v>13.881670472364869</c:v>
                </c:pt>
                <c:pt idx="809">
                  <c:v>13.881670472364869</c:v>
                </c:pt>
                <c:pt idx="810">
                  <c:v>13.881670472364869</c:v>
                </c:pt>
                <c:pt idx="811">
                  <c:v>13.881670472364869</c:v>
                </c:pt>
                <c:pt idx="812">
                  <c:v>13.881670472364869</c:v>
                </c:pt>
                <c:pt idx="813">
                  <c:v>13.881670472364869</c:v>
                </c:pt>
                <c:pt idx="814">
                  <c:v>13.881670472364869</c:v>
                </c:pt>
                <c:pt idx="815">
                  <c:v>13.881670472364869</c:v>
                </c:pt>
                <c:pt idx="816">
                  <c:v>13.881670472364869</c:v>
                </c:pt>
                <c:pt idx="817">
                  <c:v>13.881670472364869</c:v>
                </c:pt>
                <c:pt idx="818">
                  <c:v>13.881670472364869</c:v>
                </c:pt>
                <c:pt idx="819">
                  <c:v>13.881670472364869</c:v>
                </c:pt>
                <c:pt idx="820">
                  <c:v>13.881670472364869</c:v>
                </c:pt>
                <c:pt idx="821">
                  <c:v>13.881670472364869</c:v>
                </c:pt>
                <c:pt idx="822">
                  <c:v>13.881670472364869</c:v>
                </c:pt>
                <c:pt idx="823">
                  <c:v>13.881670472364869</c:v>
                </c:pt>
                <c:pt idx="824">
                  <c:v>13.881670472364869</c:v>
                </c:pt>
                <c:pt idx="825">
                  <c:v>13.881670472364869</c:v>
                </c:pt>
                <c:pt idx="826">
                  <c:v>13.881670472364869</c:v>
                </c:pt>
                <c:pt idx="827">
                  <c:v>13.881670472364869</c:v>
                </c:pt>
                <c:pt idx="828">
                  <c:v>13.881670472364869</c:v>
                </c:pt>
                <c:pt idx="829">
                  <c:v>13.881670472364869</c:v>
                </c:pt>
                <c:pt idx="830">
                  <c:v>13.881670472364869</c:v>
                </c:pt>
                <c:pt idx="831">
                  <c:v>13.881670472364869</c:v>
                </c:pt>
                <c:pt idx="832">
                  <c:v>13.881670472364869</c:v>
                </c:pt>
                <c:pt idx="833">
                  <c:v>13.881670472364869</c:v>
                </c:pt>
                <c:pt idx="834">
                  <c:v>13.881670472364869</c:v>
                </c:pt>
                <c:pt idx="835">
                  <c:v>13.881670472364869</c:v>
                </c:pt>
                <c:pt idx="836">
                  <c:v>13.881670472364869</c:v>
                </c:pt>
                <c:pt idx="837">
                  <c:v>13.881670472364869</c:v>
                </c:pt>
                <c:pt idx="838">
                  <c:v>13.881670472364869</c:v>
                </c:pt>
                <c:pt idx="839">
                  <c:v>13.881670472364869</c:v>
                </c:pt>
                <c:pt idx="840">
                  <c:v>13.881670472364869</c:v>
                </c:pt>
                <c:pt idx="841">
                  <c:v>13.881670472364869</c:v>
                </c:pt>
                <c:pt idx="842">
                  <c:v>13.881670472364869</c:v>
                </c:pt>
                <c:pt idx="843">
                  <c:v>13.881670472364869</c:v>
                </c:pt>
                <c:pt idx="844">
                  <c:v>13.881670472364869</c:v>
                </c:pt>
                <c:pt idx="845">
                  <c:v>13.881670472364869</c:v>
                </c:pt>
                <c:pt idx="846">
                  <c:v>13.881670472364869</c:v>
                </c:pt>
                <c:pt idx="847">
                  <c:v>13.881670472364869</c:v>
                </c:pt>
                <c:pt idx="848">
                  <c:v>13.881670472364869</c:v>
                </c:pt>
                <c:pt idx="849">
                  <c:v>13.881670472364869</c:v>
                </c:pt>
                <c:pt idx="850">
                  <c:v>13.881670472364869</c:v>
                </c:pt>
                <c:pt idx="851">
                  <c:v>13.881670472364869</c:v>
                </c:pt>
                <c:pt idx="852">
                  <c:v>13.881670472364869</c:v>
                </c:pt>
                <c:pt idx="853">
                  <c:v>13.881670472364869</c:v>
                </c:pt>
                <c:pt idx="854">
                  <c:v>13.881670472364869</c:v>
                </c:pt>
                <c:pt idx="855">
                  <c:v>13.881670472364869</c:v>
                </c:pt>
                <c:pt idx="856">
                  <c:v>13.881670472364869</c:v>
                </c:pt>
                <c:pt idx="857">
                  <c:v>13.881670472364869</c:v>
                </c:pt>
                <c:pt idx="858">
                  <c:v>13.881670472364869</c:v>
                </c:pt>
                <c:pt idx="859">
                  <c:v>13.881670472364869</c:v>
                </c:pt>
                <c:pt idx="860">
                  <c:v>13.881670472364869</c:v>
                </c:pt>
                <c:pt idx="861">
                  <c:v>13.881670472364869</c:v>
                </c:pt>
                <c:pt idx="862">
                  <c:v>13.881670472364869</c:v>
                </c:pt>
                <c:pt idx="863">
                  <c:v>13.881670472364869</c:v>
                </c:pt>
                <c:pt idx="864">
                  <c:v>13.881670472364869</c:v>
                </c:pt>
                <c:pt idx="865">
                  <c:v>13.881670472364869</c:v>
                </c:pt>
                <c:pt idx="866">
                  <c:v>13.881670472364869</c:v>
                </c:pt>
                <c:pt idx="867">
                  <c:v>13.881670472364869</c:v>
                </c:pt>
                <c:pt idx="868">
                  <c:v>13.881670472364869</c:v>
                </c:pt>
                <c:pt idx="869">
                  <c:v>13.881670472364869</c:v>
                </c:pt>
                <c:pt idx="870">
                  <c:v>13.881670472364869</c:v>
                </c:pt>
                <c:pt idx="871">
                  <c:v>13.881670472364869</c:v>
                </c:pt>
                <c:pt idx="872">
                  <c:v>13.881670472364869</c:v>
                </c:pt>
                <c:pt idx="873">
                  <c:v>13.881670472364869</c:v>
                </c:pt>
                <c:pt idx="874">
                  <c:v>13.881670472364869</c:v>
                </c:pt>
                <c:pt idx="875">
                  <c:v>13.881670472364869</c:v>
                </c:pt>
                <c:pt idx="876">
                  <c:v>13.881670472364869</c:v>
                </c:pt>
                <c:pt idx="877">
                  <c:v>13.881670472364869</c:v>
                </c:pt>
                <c:pt idx="878">
                  <c:v>13.881670472364869</c:v>
                </c:pt>
                <c:pt idx="879">
                  <c:v>13.881670472364869</c:v>
                </c:pt>
                <c:pt idx="880">
                  <c:v>13.881670472364869</c:v>
                </c:pt>
                <c:pt idx="881">
                  <c:v>13.881670472364869</c:v>
                </c:pt>
                <c:pt idx="882">
                  <c:v>13.881670472364869</c:v>
                </c:pt>
                <c:pt idx="883">
                  <c:v>13.881670472364869</c:v>
                </c:pt>
                <c:pt idx="884">
                  <c:v>13.881670472364869</c:v>
                </c:pt>
                <c:pt idx="885">
                  <c:v>13.881670472364869</c:v>
                </c:pt>
                <c:pt idx="886">
                  <c:v>13.881670472364869</c:v>
                </c:pt>
                <c:pt idx="887">
                  <c:v>13.881670472364869</c:v>
                </c:pt>
                <c:pt idx="888">
                  <c:v>13.881670472364869</c:v>
                </c:pt>
                <c:pt idx="889">
                  <c:v>13.881670472364869</c:v>
                </c:pt>
                <c:pt idx="890">
                  <c:v>13.881670472364869</c:v>
                </c:pt>
                <c:pt idx="891">
                  <c:v>13.881670472364869</c:v>
                </c:pt>
              </c:numCache>
            </c:numRef>
          </c:val>
          <c:smooth val="0"/>
          <c:extLst>
            <c:ext xmlns:c16="http://schemas.microsoft.com/office/drawing/2014/chart" uri="{C3380CC4-5D6E-409C-BE32-E72D297353CC}">
              <c16:uniqueId val="{00000001-484C-4F9E-91BA-8A726FFABB09}"/>
            </c:ext>
          </c:extLst>
        </c:ser>
        <c:ser>
          <c:idx val="1"/>
          <c:order val="2"/>
          <c:tx>
            <c:strRef>
              <c:f>EMU!$DZ$8</c:f>
              <c:strCache>
                <c:ptCount val="1"/>
                <c:pt idx="0">
                  <c:v>+/- 1 and 2 std</c:v>
                </c:pt>
              </c:strCache>
            </c:strRef>
          </c:tx>
          <c:spPr>
            <a:ln w="19050" cap="rnd" cmpd="sng" algn="ctr">
              <a:solidFill>
                <a:sysClr val="window" lastClr="FFFFFF">
                  <a:lumMod val="85000"/>
                </a:sysClr>
              </a:solidFill>
              <a:prstDash val="solid"/>
              <a:round/>
              <a:headEnd type="none" w="med" len="med"/>
              <a:tailEnd type="none" w="med" len="med"/>
            </a:ln>
            <a:effectLst/>
          </c:spPr>
          <c:marker>
            <c:symbol val="none"/>
          </c:marker>
          <c:dPt>
            <c:idx val="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7C-82FC-421B-A80E-67ACC5454550}"/>
              </c:ext>
            </c:extLst>
          </c:dPt>
          <c:dPt>
            <c:idx val="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7D-82FC-421B-A80E-67ACC5454550}"/>
              </c:ext>
            </c:extLst>
          </c:dPt>
          <c:dPt>
            <c:idx val="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7E-82FC-421B-A80E-67ACC5454550}"/>
              </c:ext>
            </c:extLst>
          </c:dPt>
          <c:dPt>
            <c:idx val="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7F-82FC-421B-A80E-67ACC5454550}"/>
              </c:ext>
            </c:extLst>
          </c:dPt>
          <c:dPt>
            <c:idx val="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0-82FC-421B-A80E-67ACC5454550}"/>
              </c:ext>
            </c:extLst>
          </c:dPt>
          <c:dPt>
            <c:idx val="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1-82FC-421B-A80E-67ACC5454550}"/>
              </c:ext>
            </c:extLst>
          </c:dPt>
          <c:dPt>
            <c:idx val="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2-82FC-421B-A80E-67ACC5454550}"/>
              </c:ext>
            </c:extLst>
          </c:dPt>
          <c:dPt>
            <c:idx val="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3-82FC-421B-A80E-67ACC5454550}"/>
              </c:ext>
            </c:extLst>
          </c:dPt>
          <c:dPt>
            <c:idx val="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4-82FC-421B-A80E-67ACC5454550}"/>
              </c:ext>
            </c:extLst>
          </c:dPt>
          <c:dPt>
            <c:idx val="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5-82FC-421B-A80E-67ACC5454550}"/>
              </c:ext>
            </c:extLst>
          </c:dPt>
          <c:dPt>
            <c:idx val="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6-82FC-421B-A80E-67ACC5454550}"/>
              </c:ext>
            </c:extLst>
          </c:dPt>
          <c:dPt>
            <c:idx val="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7-82FC-421B-A80E-67ACC5454550}"/>
              </c:ext>
            </c:extLst>
          </c:dPt>
          <c:dPt>
            <c:idx val="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8-82FC-421B-A80E-67ACC5454550}"/>
              </c:ext>
            </c:extLst>
          </c:dPt>
          <c:dPt>
            <c:idx val="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9-82FC-421B-A80E-67ACC5454550}"/>
              </c:ext>
            </c:extLst>
          </c:dPt>
          <c:dPt>
            <c:idx val="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A-82FC-421B-A80E-67ACC5454550}"/>
              </c:ext>
            </c:extLst>
          </c:dPt>
          <c:dPt>
            <c:idx val="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B-82FC-421B-A80E-67ACC5454550}"/>
              </c:ext>
            </c:extLst>
          </c:dPt>
          <c:dPt>
            <c:idx val="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C-82FC-421B-A80E-67ACC5454550}"/>
              </c:ext>
            </c:extLst>
          </c:dPt>
          <c:dPt>
            <c:idx val="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D-82FC-421B-A80E-67ACC5454550}"/>
              </c:ext>
            </c:extLst>
          </c:dPt>
          <c:dPt>
            <c:idx val="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E-82FC-421B-A80E-67ACC5454550}"/>
              </c:ext>
            </c:extLst>
          </c:dPt>
          <c:dPt>
            <c:idx val="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8F-82FC-421B-A80E-67ACC5454550}"/>
              </c:ext>
            </c:extLst>
          </c:dPt>
          <c:dPt>
            <c:idx val="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0-82FC-421B-A80E-67ACC5454550}"/>
              </c:ext>
            </c:extLst>
          </c:dPt>
          <c:dPt>
            <c:idx val="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1-82FC-421B-A80E-67ACC5454550}"/>
              </c:ext>
            </c:extLst>
          </c:dPt>
          <c:dPt>
            <c:idx val="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2-82FC-421B-A80E-67ACC5454550}"/>
              </c:ext>
            </c:extLst>
          </c:dPt>
          <c:dPt>
            <c:idx val="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3-82FC-421B-A80E-67ACC5454550}"/>
              </c:ext>
            </c:extLst>
          </c:dPt>
          <c:dPt>
            <c:idx val="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4-82FC-421B-A80E-67ACC5454550}"/>
              </c:ext>
            </c:extLst>
          </c:dPt>
          <c:dPt>
            <c:idx val="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5-82FC-421B-A80E-67ACC5454550}"/>
              </c:ext>
            </c:extLst>
          </c:dPt>
          <c:dPt>
            <c:idx val="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6-82FC-421B-A80E-67ACC5454550}"/>
              </c:ext>
            </c:extLst>
          </c:dPt>
          <c:dPt>
            <c:idx val="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7-82FC-421B-A80E-67ACC5454550}"/>
              </c:ext>
            </c:extLst>
          </c:dPt>
          <c:dPt>
            <c:idx val="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8-82FC-421B-A80E-67ACC5454550}"/>
              </c:ext>
            </c:extLst>
          </c:dPt>
          <c:dPt>
            <c:idx val="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9-82FC-421B-A80E-67ACC5454550}"/>
              </c:ext>
            </c:extLst>
          </c:dPt>
          <c:dPt>
            <c:idx val="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A-82FC-421B-A80E-67ACC5454550}"/>
              </c:ext>
            </c:extLst>
          </c:dPt>
          <c:dPt>
            <c:idx val="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B-82FC-421B-A80E-67ACC5454550}"/>
              </c:ext>
            </c:extLst>
          </c:dPt>
          <c:dPt>
            <c:idx val="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C-82FC-421B-A80E-67ACC5454550}"/>
              </c:ext>
            </c:extLst>
          </c:dPt>
          <c:dPt>
            <c:idx val="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D-82FC-421B-A80E-67ACC5454550}"/>
              </c:ext>
            </c:extLst>
          </c:dPt>
          <c:dPt>
            <c:idx val="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E-82FC-421B-A80E-67ACC5454550}"/>
              </c:ext>
            </c:extLst>
          </c:dPt>
          <c:dPt>
            <c:idx val="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9F-82FC-421B-A80E-67ACC5454550}"/>
              </c:ext>
            </c:extLst>
          </c:dPt>
          <c:dPt>
            <c:idx val="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0-82FC-421B-A80E-67ACC5454550}"/>
              </c:ext>
            </c:extLst>
          </c:dPt>
          <c:dPt>
            <c:idx val="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1-82FC-421B-A80E-67ACC5454550}"/>
              </c:ext>
            </c:extLst>
          </c:dPt>
          <c:dPt>
            <c:idx val="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2-82FC-421B-A80E-67ACC5454550}"/>
              </c:ext>
            </c:extLst>
          </c:dPt>
          <c:dPt>
            <c:idx val="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3-82FC-421B-A80E-67ACC5454550}"/>
              </c:ext>
            </c:extLst>
          </c:dPt>
          <c:dPt>
            <c:idx val="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4-82FC-421B-A80E-67ACC5454550}"/>
              </c:ext>
            </c:extLst>
          </c:dPt>
          <c:dPt>
            <c:idx val="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5-82FC-421B-A80E-67ACC5454550}"/>
              </c:ext>
            </c:extLst>
          </c:dPt>
          <c:dPt>
            <c:idx val="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6-82FC-421B-A80E-67ACC5454550}"/>
              </c:ext>
            </c:extLst>
          </c:dPt>
          <c:dPt>
            <c:idx val="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7-82FC-421B-A80E-67ACC5454550}"/>
              </c:ext>
            </c:extLst>
          </c:dPt>
          <c:dPt>
            <c:idx val="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8-82FC-421B-A80E-67ACC5454550}"/>
              </c:ext>
            </c:extLst>
          </c:dPt>
          <c:dPt>
            <c:idx val="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9-82FC-421B-A80E-67ACC5454550}"/>
              </c:ext>
            </c:extLst>
          </c:dPt>
          <c:dPt>
            <c:idx val="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A-82FC-421B-A80E-67ACC5454550}"/>
              </c:ext>
            </c:extLst>
          </c:dPt>
          <c:dPt>
            <c:idx val="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B-82FC-421B-A80E-67ACC5454550}"/>
              </c:ext>
            </c:extLst>
          </c:dPt>
          <c:dPt>
            <c:idx val="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C-82FC-421B-A80E-67ACC5454550}"/>
              </c:ext>
            </c:extLst>
          </c:dPt>
          <c:dPt>
            <c:idx val="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D-82FC-421B-A80E-67ACC5454550}"/>
              </c:ext>
            </c:extLst>
          </c:dPt>
          <c:dPt>
            <c:idx val="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E-82FC-421B-A80E-67ACC5454550}"/>
              </c:ext>
            </c:extLst>
          </c:dPt>
          <c:dPt>
            <c:idx val="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AF-82FC-421B-A80E-67ACC5454550}"/>
              </c:ext>
            </c:extLst>
          </c:dPt>
          <c:dPt>
            <c:idx val="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0-82FC-421B-A80E-67ACC5454550}"/>
              </c:ext>
            </c:extLst>
          </c:dPt>
          <c:dPt>
            <c:idx val="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1-82FC-421B-A80E-67ACC5454550}"/>
              </c:ext>
            </c:extLst>
          </c:dPt>
          <c:dPt>
            <c:idx val="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2-82FC-421B-A80E-67ACC5454550}"/>
              </c:ext>
            </c:extLst>
          </c:dPt>
          <c:dPt>
            <c:idx val="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3-82FC-421B-A80E-67ACC5454550}"/>
              </c:ext>
            </c:extLst>
          </c:dPt>
          <c:dPt>
            <c:idx val="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4-82FC-421B-A80E-67ACC5454550}"/>
              </c:ext>
            </c:extLst>
          </c:dPt>
          <c:dPt>
            <c:idx val="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5-82FC-421B-A80E-67ACC5454550}"/>
              </c:ext>
            </c:extLst>
          </c:dPt>
          <c:dPt>
            <c:idx val="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6-82FC-421B-A80E-67ACC5454550}"/>
              </c:ext>
            </c:extLst>
          </c:dPt>
          <c:dPt>
            <c:idx val="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7-82FC-421B-A80E-67ACC5454550}"/>
              </c:ext>
            </c:extLst>
          </c:dPt>
          <c:dPt>
            <c:idx val="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8-82FC-421B-A80E-67ACC5454550}"/>
              </c:ext>
            </c:extLst>
          </c:dPt>
          <c:dPt>
            <c:idx val="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9-82FC-421B-A80E-67ACC5454550}"/>
              </c:ext>
            </c:extLst>
          </c:dPt>
          <c:dPt>
            <c:idx val="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A-82FC-421B-A80E-67ACC5454550}"/>
              </c:ext>
            </c:extLst>
          </c:dPt>
          <c:dPt>
            <c:idx val="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B-82FC-421B-A80E-67ACC5454550}"/>
              </c:ext>
            </c:extLst>
          </c:dPt>
          <c:dPt>
            <c:idx val="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C-82FC-421B-A80E-67ACC5454550}"/>
              </c:ext>
            </c:extLst>
          </c:dPt>
          <c:dPt>
            <c:idx val="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D-82FC-421B-A80E-67ACC5454550}"/>
              </c:ext>
            </c:extLst>
          </c:dPt>
          <c:dPt>
            <c:idx val="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E-82FC-421B-A80E-67ACC5454550}"/>
              </c:ext>
            </c:extLst>
          </c:dPt>
          <c:dPt>
            <c:idx val="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BF-82FC-421B-A80E-67ACC5454550}"/>
              </c:ext>
            </c:extLst>
          </c:dPt>
          <c:dPt>
            <c:idx val="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0-82FC-421B-A80E-67ACC5454550}"/>
              </c:ext>
            </c:extLst>
          </c:dPt>
          <c:dPt>
            <c:idx val="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1-82FC-421B-A80E-67ACC5454550}"/>
              </c:ext>
            </c:extLst>
          </c:dPt>
          <c:dPt>
            <c:idx val="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2-82FC-421B-A80E-67ACC5454550}"/>
              </c:ext>
            </c:extLst>
          </c:dPt>
          <c:dPt>
            <c:idx val="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3-82FC-421B-A80E-67ACC5454550}"/>
              </c:ext>
            </c:extLst>
          </c:dPt>
          <c:dPt>
            <c:idx val="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4-82FC-421B-A80E-67ACC5454550}"/>
              </c:ext>
            </c:extLst>
          </c:dPt>
          <c:dPt>
            <c:idx val="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5-82FC-421B-A80E-67ACC5454550}"/>
              </c:ext>
            </c:extLst>
          </c:dPt>
          <c:dPt>
            <c:idx val="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6-82FC-421B-A80E-67ACC5454550}"/>
              </c:ext>
            </c:extLst>
          </c:dPt>
          <c:dPt>
            <c:idx val="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7-82FC-421B-A80E-67ACC5454550}"/>
              </c:ext>
            </c:extLst>
          </c:dPt>
          <c:dPt>
            <c:idx val="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8-82FC-421B-A80E-67ACC5454550}"/>
              </c:ext>
            </c:extLst>
          </c:dPt>
          <c:dPt>
            <c:idx val="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9-82FC-421B-A80E-67ACC5454550}"/>
              </c:ext>
            </c:extLst>
          </c:dPt>
          <c:dPt>
            <c:idx val="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A-82FC-421B-A80E-67ACC5454550}"/>
              </c:ext>
            </c:extLst>
          </c:dPt>
          <c:dPt>
            <c:idx val="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B-82FC-421B-A80E-67ACC5454550}"/>
              </c:ext>
            </c:extLst>
          </c:dPt>
          <c:dPt>
            <c:idx val="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C-82FC-421B-A80E-67ACC5454550}"/>
              </c:ext>
            </c:extLst>
          </c:dPt>
          <c:dPt>
            <c:idx val="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D-82FC-421B-A80E-67ACC5454550}"/>
              </c:ext>
            </c:extLst>
          </c:dPt>
          <c:dPt>
            <c:idx val="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E-82FC-421B-A80E-67ACC5454550}"/>
              </c:ext>
            </c:extLst>
          </c:dPt>
          <c:dPt>
            <c:idx val="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CF-82FC-421B-A80E-67ACC5454550}"/>
              </c:ext>
            </c:extLst>
          </c:dPt>
          <c:dPt>
            <c:idx val="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0-82FC-421B-A80E-67ACC5454550}"/>
              </c:ext>
            </c:extLst>
          </c:dPt>
          <c:dPt>
            <c:idx val="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1-82FC-421B-A80E-67ACC5454550}"/>
              </c:ext>
            </c:extLst>
          </c:dPt>
          <c:dPt>
            <c:idx val="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2-82FC-421B-A80E-67ACC5454550}"/>
              </c:ext>
            </c:extLst>
          </c:dPt>
          <c:dPt>
            <c:idx val="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3-82FC-421B-A80E-67ACC5454550}"/>
              </c:ext>
            </c:extLst>
          </c:dPt>
          <c:dPt>
            <c:idx val="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4-82FC-421B-A80E-67ACC5454550}"/>
              </c:ext>
            </c:extLst>
          </c:dPt>
          <c:dPt>
            <c:idx val="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5-82FC-421B-A80E-67ACC5454550}"/>
              </c:ext>
            </c:extLst>
          </c:dPt>
          <c:dPt>
            <c:idx val="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6-82FC-421B-A80E-67ACC5454550}"/>
              </c:ext>
            </c:extLst>
          </c:dPt>
          <c:dPt>
            <c:idx val="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7-82FC-421B-A80E-67ACC5454550}"/>
              </c:ext>
            </c:extLst>
          </c:dPt>
          <c:dPt>
            <c:idx val="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8-82FC-421B-A80E-67ACC5454550}"/>
              </c:ext>
            </c:extLst>
          </c:dPt>
          <c:dPt>
            <c:idx val="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9-82FC-421B-A80E-67ACC5454550}"/>
              </c:ext>
            </c:extLst>
          </c:dPt>
          <c:dPt>
            <c:idx val="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A-82FC-421B-A80E-67ACC5454550}"/>
              </c:ext>
            </c:extLst>
          </c:dPt>
          <c:dPt>
            <c:idx val="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B-82FC-421B-A80E-67ACC5454550}"/>
              </c:ext>
            </c:extLst>
          </c:dPt>
          <c:dPt>
            <c:idx val="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C-82FC-421B-A80E-67ACC5454550}"/>
              </c:ext>
            </c:extLst>
          </c:dPt>
          <c:dPt>
            <c:idx val="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D-82FC-421B-A80E-67ACC5454550}"/>
              </c:ext>
            </c:extLst>
          </c:dPt>
          <c:dPt>
            <c:idx val="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E-82FC-421B-A80E-67ACC5454550}"/>
              </c:ext>
            </c:extLst>
          </c:dPt>
          <c:dPt>
            <c:idx val="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DF-82FC-421B-A80E-67ACC5454550}"/>
              </c:ext>
            </c:extLst>
          </c:dPt>
          <c:dPt>
            <c:idx val="1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0-82FC-421B-A80E-67ACC5454550}"/>
              </c:ext>
            </c:extLst>
          </c:dPt>
          <c:dPt>
            <c:idx val="1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1-82FC-421B-A80E-67ACC5454550}"/>
              </c:ext>
            </c:extLst>
          </c:dPt>
          <c:dPt>
            <c:idx val="1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2-82FC-421B-A80E-67ACC5454550}"/>
              </c:ext>
            </c:extLst>
          </c:dPt>
          <c:dPt>
            <c:idx val="1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3-82FC-421B-A80E-67ACC5454550}"/>
              </c:ext>
            </c:extLst>
          </c:dPt>
          <c:dPt>
            <c:idx val="1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4-82FC-421B-A80E-67ACC5454550}"/>
              </c:ext>
            </c:extLst>
          </c:dPt>
          <c:dPt>
            <c:idx val="1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5-82FC-421B-A80E-67ACC5454550}"/>
              </c:ext>
            </c:extLst>
          </c:dPt>
          <c:dPt>
            <c:idx val="1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6-82FC-421B-A80E-67ACC5454550}"/>
              </c:ext>
            </c:extLst>
          </c:dPt>
          <c:dPt>
            <c:idx val="1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7-82FC-421B-A80E-67ACC5454550}"/>
              </c:ext>
            </c:extLst>
          </c:dPt>
          <c:dPt>
            <c:idx val="1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8-82FC-421B-A80E-67ACC5454550}"/>
              </c:ext>
            </c:extLst>
          </c:dPt>
          <c:dPt>
            <c:idx val="1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9-82FC-421B-A80E-67ACC5454550}"/>
              </c:ext>
            </c:extLst>
          </c:dPt>
          <c:dPt>
            <c:idx val="1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A-82FC-421B-A80E-67ACC5454550}"/>
              </c:ext>
            </c:extLst>
          </c:dPt>
          <c:dPt>
            <c:idx val="1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B-82FC-421B-A80E-67ACC5454550}"/>
              </c:ext>
            </c:extLst>
          </c:dPt>
          <c:dPt>
            <c:idx val="1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C-82FC-421B-A80E-67ACC5454550}"/>
              </c:ext>
            </c:extLst>
          </c:dPt>
          <c:dPt>
            <c:idx val="1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D-82FC-421B-A80E-67ACC5454550}"/>
              </c:ext>
            </c:extLst>
          </c:dPt>
          <c:dPt>
            <c:idx val="1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E-82FC-421B-A80E-67ACC5454550}"/>
              </c:ext>
            </c:extLst>
          </c:dPt>
          <c:dPt>
            <c:idx val="1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EF-82FC-421B-A80E-67ACC5454550}"/>
              </c:ext>
            </c:extLst>
          </c:dPt>
          <c:dPt>
            <c:idx val="1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0-82FC-421B-A80E-67ACC5454550}"/>
              </c:ext>
            </c:extLst>
          </c:dPt>
          <c:dPt>
            <c:idx val="1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1-82FC-421B-A80E-67ACC5454550}"/>
              </c:ext>
            </c:extLst>
          </c:dPt>
          <c:dPt>
            <c:idx val="1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2-82FC-421B-A80E-67ACC5454550}"/>
              </c:ext>
            </c:extLst>
          </c:dPt>
          <c:dPt>
            <c:idx val="1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3-82FC-421B-A80E-67ACC5454550}"/>
              </c:ext>
            </c:extLst>
          </c:dPt>
          <c:dPt>
            <c:idx val="1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4-82FC-421B-A80E-67ACC5454550}"/>
              </c:ext>
            </c:extLst>
          </c:dPt>
          <c:dPt>
            <c:idx val="1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5-82FC-421B-A80E-67ACC5454550}"/>
              </c:ext>
            </c:extLst>
          </c:dPt>
          <c:dPt>
            <c:idx val="1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6-82FC-421B-A80E-67ACC5454550}"/>
              </c:ext>
            </c:extLst>
          </c:dPt>
          <c:dPt>
            <c:idx val="1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7-82FC-421B-A80E-67ACC5454550}"/>
              </c:ext>
            </c:extLst>
          </c:dPt>
          <c:dPt>
            <c:idx val="1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8-82FC-421B-A80E-67ACC5454550}"/>
              </c:ext>
            </c:extLst>
          </c:dPt>
          <c:dPt>
            <c:idx val="1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9-82FC-421B-A80E-67ACC5454550}"/>
              </c:ext>
            </c:extLst>
          </c:dPt>
          <c:dPt>
            <c:idx val="1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A-82FC-421B-A80E-67ACC5454550}"/>
              </c:ext>
            </c:extLst>
          </c:dPt>
          <c:dPt>
            <c:idx val="1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B-82FC-421B-A80E-67ACC5454550}"/>
              </c:ext>
            </c:extLst>
          </c:dPt>
          <c:dPt>
            <c:idx val="1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C-82FC-421B-A80E-67ACC5454550}"/>
              </c:ext>
            </c:extLst>
          </c:dPt>
          <c:dPt>
            <c:idx val="1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D-82FC-421B-A80E-67ACC5454550}"/>
              </c:ext>
            </c:extLst>
          </c:dPt>
          <c:dPt>
            <c:idx val="1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E-82FC-421B-A80E-67ACC5454550}"/>
              </c:ext>
            </c:extLst>
          </c:dPt>
          <c:dPt>
            <c:idx val="1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3FF-82FC-421B-A80E-67ACC5454550}"/>
              </c:ext>
            </c:extLst>
          </c:dPt>
          <c:dPt>
            <c:idx val="1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0-82FC-421B-A80E-67ACC5454550}"/>
              </c:ext>
            </c:extLst>
          </c:dPt>
          <c:dPt>
            <c:idx val="1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1-82FC-421B-A80E-67ACC5454550}"/>
              </c:ext>
            </c:extLst>
          </c:dPt>
          <c:dPt>
            <c:idx val="1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2-82FC-421B-A80E-67ACC5454550}"/>
              </c:ext>
            </c:extLst>
          </c:dPt>
          <c:dPt>
            <c:idx val="1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3-82FC-421B-A80E-67ACC5454550}"/>
              </c:ext>
            </c:extLst>
          </c:dPt>
          <c:dPt>
            <c:idx val="1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4-82FC-421B-A80E-67ACC5454550}"/>
              </c:ext>
            </c:extLst>
          </c:dPt>
          <c:dPt>
            <c:idx val="1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5-82FC-421B-A80E-67ACC5454550}"/>
              </c:ext>
            </c:extLst>
          </c:dPt>
          <c:dPt>
            <c:idx val="1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6-82FC-421B-A80E-67ACC5454550}"/>
              </c:ext>
            </c:extLst>
          </c:dPt>
          <c:dPt>
            <c:idx val="1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7-82FC-421B-A80E-67ACC5454550}"/>
              </c:ext>
            </c:extLst>
          </c:dPt>
          <c:dPt>
            <c:idx val="1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8-82FC-421B-A80E-67ACC5454550}"/>
              </c:ext>
            </c:extLst>
          </c:dPt>
          <c:dPt>
            <c:idx val="1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9-82FC-421B-A80E-67ACC5454550}"/>
              </c:ext>
            </c:extLst>
          </c:dPt>
          <c:dPt>
            <c:idx val="1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A-82FC-421B-A80E-67ACC5454550}"/>
              </c:ext>
            </c:extLst>
          </c:dPt>
          <c:dPt>
            <c:idx val="1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B-82FC-421B-A80E-67ACC5454550}"/>
              </c:ext>
            </c:extLst>
          </c:dPt>
          <c:dPt>
            <c:idx val="1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C-82FC-421B-A80E-67ACC5454550}"/>
              </c:ext>
            </c:extLst>
          </c:dPt>
          <c:dPt>
            <c:idx val="1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D-82FC-421B-A80E-67ACC5454550}"/>
              </c:ext>
            </c:extLst>
          </c:dPt>
          <c:dPt>
            <c:idx val="1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E-82FC-421B-A80E-67ACC5454550}"/>
              </c:ext>
            </c:extLst>
          </c:dPt>
          <c:dPt>
            <c:idx val="1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0F-82FC-421B-A80E-67ACC5454550}"/>
              </c:ext>
            </c:extLst>
          </c:dPt>
          <c:dPt>
            <c:idx val="1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0-82FC-421B-A80E-67ACC5454550}"/>
              </c:ext>
            </c:extLst>
          </c:dPt>
          <c:dPt>
            <c:idx val="1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1-82FC-421B-A80E-67ACC5454550}"/>
              </c:ext>
            </c:extLst>
          </c:dPt>
          <c:dPt>
            <c:idx val="1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2-82FC-421B-A80E-67ACC5454550}"/>
              </c:ext>
            </c:extLst>
          </c:dPt>
          <c:dPt>
            <c:idx val="1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3-82FC-421B-A80E-67ACC5454550}"/>
              </c:ext>
            </c:extLst>
          </c:dPt>
          <c:dPt>
            <c:idx val="1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4-82FC-421B-A80E-67ACC5454550}"/>
              </c:ext>
            </c:extLst>
          </c:dPt>
          <c:dPt>
            <c:idx val="1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5-82FC-421B-A80E-67ACC5454550}"/>
              </c:ext>
            </c:extLst>
          </c:dPt>
          <c:dPt>
            <c:idx val="1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6-82FC-421B-A80E-67ACC5454550}"/>
              </c:ext>
            </c:extLst>
          </c:dPt>
          <c:dPt>
            <c:idx val="1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7-82FC-421B-A80E-67ACC5454550}"/>
              </c:ext>
            </c:extLst>
          </c:dPt>
          <c:dPt>
            <c:idx val="1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8-82FC-421B-A80E-67ACC5454550}"/>
              </c:ext>
            </c:extLst>
          </c:dPt>
          <c:dPt>
            <c:idx val="1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9-82FC-421B-A80E-67ACC5454550}"/>
              </c:ext>
            </c:extLst>
          </c:dPt>
          <c:dPt>
            <c:idx val="1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A-82FC-421B-A80E-67ACC5454550}"/>
              </c:ext>
            </c:extLst>
          </c:dPt>
          <c:dPt>
            <c:idx val="1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B-82FC-421B-A80E-67ACC5454550}"/>
              </c:ext>
            </c:extLst>
          </c:dPt>
          <c:dPt>
            <c:idx val="1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C-82FC-421B-A80E-67ACC5454550}"/>
              </c:ext>
            </c:extLst>
          </c:dPt>
          <c:dPt>
            <c:idx val="1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D-82FC-421B-A80E-67ACC5454550}"/>
              </c:ext>
            </c:extLst>
          </c:dPt>
          <c:dPt>
            <c:idx val="1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E-82FC-421B-A80E-67ACC5454550}"/>
              </c:ext>
            </c:extLst>
          </c:dPt>
          <c:dPt>
            <c:idx val="1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1F-82FC-421B-A80E-67ACC5454550}"/>
              </c:ext>
            </c:extLst>
          </c:dPt>
          <c:dPt>
            <c:idx val="1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0-82FC-421B-A80E-67ACC5454550}"/>
              </c:ext>
            </c:extLst>
          </c:dPt>
          <c:dPt>
            <c:idx val="1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1-82FC-421B-A80E-67ACC5454550}"/>
              </c:ext>
            </c:extLst>
          </c:dPt>
          <c:dPt>
            <c:idx val="1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2-82FC-421B-A80E-67ACC5454550}"/>
              </c:ext>
            </c:extLst>
          </c:dPt>
          <c:dPt>
            <c:idx val="1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3-82FC-421B-A80E-67ACC5454550}"/>
              </c:ext>
            </c:extLst>
          </c:dPt>
          <c:dPt>
            <c:idx val="1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4-82FC-421B-A80E-67ACC5454550}"/>
              </c:ext>
            </c:extLst>
          </c:dPt>
          <c:dPt>
            <c:idx val="1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5-82FC-421B-A80E-67ACC5454550}"/>
              </c:ext>
            </c:extLst>
          </c:dPt>
          <c:dPt>
            <c:idx val="1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6-82FC-421B-A80E-67ACC5454550}"/>
              </c:ext>
            </c:extLst>
          </c:dPt>
          <c:dPt>
            <c:idx val="1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7-82FC-421B-A80E-67ACC5454550}"/>
              </c:ext>
            </c:extLst>
          </c:dPt>
          <c:dPt>
            <c:idx val="1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8-82FC-421B-A80E-67ACC5454550}"/>
              </c:ext>
            </c:extLst>
          </c:dPt>
          <c:dPt>
            <c:idx val="1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9-82FC-421B-A80E-67ACC5454550}"/>
              </c:ext>
            </c:extLst>
          </c:dPt>
          <c:dPt>
            <c:idx val="1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A-82FC-421B-A80E-67ACC5454550}"/>
              </c:ext>
            </c:extLst>
          </c:dPt>
          <c:dPt>
            <c:idx val="1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B-82FC-421B-A80E-67ACC5454550}"/>
              </c:ext>
            </c:extLst>
          </c:dPt>
          <c:dPt>
            <c:idx val="1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C-82FC-421B-A80E-67ACC5454550}"/>
              </c:ext>
            </c:extLst>
          </c:dPt>
          <c:dPt>
            <c:idx val="1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D-82FC-421B-A80E-67ACC5454550}"/>
              </c:ext>
            </c:extLst>
          </c:dPt>
          <c:dPt>
            <c:idx val="1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E-82FC-421B-A80E-67ACC5454550}"/>
              </c:ext>
            </c:extLst>
          </c:dPt>
          <c:dPt>
            <c:idx val="1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2F-82FC-421B-A80E-67ACC5454550}"/>
              </c:ext>
            </c:extLst>
          </c:dPt>
          <c:dPt>
            <c:idx val="1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0-82FC-421B-A80E-67ACC5454550}"/>
              </c:ext>
            </c:extLst>
          </c:dPt>
          <c:dPt>
            <c:idx val="1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1-82FC-421B-A80E-67ACC5454550}"/>
              </c:ext>
            </c:extLst>
          </c:dPt>
          <c:dPt>
            <c:idx val="1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2-82FC-421B-A80E-67ACC5454550}"/>
              </c:ext>
            </c:extLst>
          </c:dPt>
          <c:dPt>
            <c:idx val="1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3-82FC-421B-A80E-67ACC5454550}"/>
              </c:ext>
            </c:extLst>
          </c:dPt>
          <c:dPt>
            <c:idx val="1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4-82FC-421B-A80E-67ACC5454550}"/>
              </c:ext>
            </c:extLst>
          </c:dPt>
          <c:dPt>
            <c:idx val="1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5-82FC-421B-A80E-67ACC5454550}"/>
              </c:ext>
            </c:extLst>
          </c:dPt>
          <c:dPt>
            <c:idx val="1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6-82FC-421B-A80E-67ACC5454550}"/>
              </c:ext>
            </c:extLst>
          </c:dPt>
          <c:dPt>
            <c:idx val="1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7-82FC-421B-A80E-67ACC5454550}"/>
              </c:ext>
            </c:extLst>
          </c:dPt>
          <c:dPt>
            <c:idx val="1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8-82FC-421B-A80E-67ACC5454550}"/>
              </c:ext>
            </c:extLst>
          </c:dPt>
          <c:dPt>
            <c:idx val="1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9-82FC-421B-A80E-67ACC5454550}"/>
              </c:ext>
            </c:extLst>
          </c:dPt>
          <c:dPt>
            <c:idx val="1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A-82FC-421B-A80E-67ACC5454550}"/>
              </c:ext>
            </c:extLst>
          </c:dPt>
          <c:dPt>
            <c:idx val="1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B-82FC-421B-A80E-67ACC5454550}"/>
              </c:ext>
            </c:extLst>
          </c:dPt>
          <c:dPt>
            <c:idx val="1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C-82FC-421B-A80E-67ACC5454550}"/>
              </c:ext>
            </c:extLst>
          </c:dPt>
          <c:dPt>
            <c:idx val="1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D-82FC-421B-A80E-67ACC5454550}"/>
              </c:ext>
            </c:extLst>
          </c:dPt>
          <c:dPt>
            <c:idx val="1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E-82FC-421B-A80E-67ACC5454550}"/>
              </c:ext>
            </c:extLst>
          </c:dPt>
          <c:dPt>
            <c:idx val="1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3F-82FC-421B-A80E-67ACC5454550}"/>
              </c:ext>
            </c:extLst>
          </c:dPt>
          <c:dPt>
            <c:idx val="1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0-82FC-421B-A80E-67ACC5454550}"/>
              </c:ext>
            </c:extLst>
          </c:dPt>
          <c:dPt>
            <c:idx val="1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1-82FC-421B-A80E-67ACC5454550}"/>
              </c:ext>
            </c:extLst>
          </c:dPt>
          <c:dPt>
            <c:idx val="1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2-82FC-421B-A80E-67ACC5454550}"/>
              </c:ext>
            </c:extLst>
          </c:dPt>
          <c:dPt>
            <c:idx val="1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3-82FC-421B-A80E-67ACC5454550}"/>
              </c:ext>
            </c:extLst>
          </c:dPt>
          <c:dPt>
            <c:idx val="2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4-82FC-421B-A80E-67ACC5454550}"/>
              </c:ext>
            </c:extLst>
          </c:dPt>
          <c:dPt>
            <c:idx val="2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5-82FC-421B-A80E-67ACC5454550}"/>
              </c:ext>
            </c:extLst>
          </c:dPt>
          <c:dPt>
            <c:idx val="2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6-82FC-421B-A80E-67ACC5454550}"/>
              </c:ext>
            </c:extLst>
          </c:dPt>
          <c:dPt>
            <c:idx val="2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7-82FC-421B-A80E-67ACC5454550}"/>
              </c:ext>
            </c:extLst>
          </c:dPt>
          <c:dPt>
            <c:idx val="2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8-82FC-421B-A80E-67ACC5454550}"/>
              </c:ext>
            </c:extLst>
          </c:dPt>
          <c:dPt>
            <c:idx val="2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9-82FC-421B-A80E-67ACC5454550}"/>
              </c:ext>
            </c:extLst>
          </c:dPt>
          <c:dPt>
            <c:idx val="2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A-82FC-421B-A80E-67ACC5454550}"/>
              </c:ext>
            </c:extLst>
          </c:dPt>
          <c:dPt>
            <c:idx val="2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B-82FC-421B-A80E-67ACC5454550}"/>
              </c:ext>
            </c:extLst>
          </c:dPt>
          <c:dPt>
            <c:idx val="2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C-82FC-421B-A80E-67ACC5454550}"/>
              </c:ext>
            </c:extLst>
          </c:dPt>
          <c:dPt>
            <c:idx val="2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D-82FC-421B-A80E-67ACC5454550}"/>
              </c:ext>
            </c:extLst>
          </c:dPt>
          <c:dPt>
            <c:idx val="2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E-82FC-421B-A80E-67ACC5454550}"/>
              </c:ext>
            </c:extLst>
          </c:dPt>
          <c:dPt>
            <c:idx val="2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4F-82FC-421B-A80E-67ACC5454550}"/>
              </c:ext>
            </c:extLst>
          </c:dPt>
          <c:dPt>
            <c:idx val="2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0-82FC-421B-A80E-67ACC5454550}"/>
              </c:ext>
            </c:extLst>
          </c:dPt>
          <c:dPt>
            <c:idx val="2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1-82FC-421B-A80E-67ACC5454550}"/>
              </c:ext>
            </c:extLst>
          </c:dPt>
          <c:dPt>
            <c:idx val="2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2-82FC-421B-A80E-67ACC5454550}"/>
              </c:ext>
            </c:extLst>
          </c:dPt>
          <c:dPt>
            <c:idx val="2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3-82FC-421B-A80E-67ACC5454550}"/>
              </c:ext>
            </c:extLst>
          </c:dPt>
          <c:dPt>
            <c:idx val="2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4-82FC-421B-A80E-67ACC5454550}"/>
              </c:ext>
            </c:extLst>
          </c:dPt>
          <c:dPt>
            <c:idx val="2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5-82FC-421B-A80E-67ACC5454550}"/>
              </c:ext>
            </c:extLst>
          </c:dPt>
          <c:dPt>
            <c:idx val="2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6-82FC-421B-A80E-67ACC5454550}"/>
              </c:ext>
            </c:extLst>
          </c:dPt>
          <c:dPt>
            <c:idx val="2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7-82FC-421B-A80E-67ACC5454550}"/>
              </c:ext>
            </c:extLst>
          </c:dPt>
          <c:dPt>
            <c:idx val="2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8-82FC-421B-A80E-67ACC5454550}"/>
              </c:ext>
            </c:extLst>
          </c:dPt>
          <c:dPt>
            <c:idx val="2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9-82FC-421B-A80E-67ACC5454550}"/>
              </c:ext>
            </c:extLst>
          </c:dPt>
          <c:dPt>
            <c:idx val="2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A-82FC-421B-A80E-67ACC5454550}"/>
              </c:ext>
            </c:extLst>
          </c:dPt>
          <c:dPt>
            <c:idx val="2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B-82FC-421B-A80E-67ACC5454550}"/>
              </c:ext>
            </c:extLst>
          </c:dPt>
          <c:dPt>
            <c:idx val="2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C-82FC-421B-A80E-67ACC5454550}"/>
              </c:ext>
            </c:extLst>
          </c:dPt>
          <c:dPt>
            <c:idx val="2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D-82FC-421B-A80E-67ACC5454550}"/>
              </c:ext>
            </c:extLst>
          </c:dPt>
          <c:dPt>
            <c:idx val="2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E-82FC-421B-A80E-67ACC5454550}"/>
              </c:ext>
            </c:extLst>
          </c:dPt>
          <c:dPt>
            <c:idx val="2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5F-82FC-421B-A80E-67ACC5454550}"/>
              </c:ext>
            </c:extLst>
          </c:dPt>
          <c:dPt>
            <c:idx val="2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0-82FC-421B-A80E-67ACC5454550}"/>
              </c:ext>
            </c:extLst>
          </c:dPt>
          <c:dPt>
            <c:idx val="2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1-82FC-421B-A80E-67ACC5454550}"/>
              </c:ext>
            </c:extLst>
          </c:dPt>
          <c:dPt>
            <c:idx val="2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2-82FC-421B-A80E-67ACC5454550}"/>
              </c:ext>
            </c:extLst>
          </c:dPt>
          <c:dPt>
            <c:idx val="2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3-82FC-421B-A80E-67ACC5454550}"/>
              </c:ext>
            </c:extLst>
          </c:dPt>
          <c:dPt>
            <c:idx val="2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4-82FC-421B-A80E-67ACC5454550}"/>
              </c:ext>
            </c:extLst>
          </c:dPt>
          <c:dPt>
            <c:idx val="2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5-82FC-421B-A80E-67ACC5454550}"/>
              </c:ext>
            </c:extLst>
          </c:dPt>
          <c:dPt>
            <c:idx val="2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6-82FC-421B-A80E-67ACC5454550}"/>
              </c:ext>
            </c:extLst>
          </c:dPt>
          <c:dPt>
            <c:idx val="2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7-82FC-421B-A80E-67ACC5454550}"/>
              </c:ext>
            </c:extLst>
          </c:dPt>
          <c:dPt>
            <c:idx val="2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8-82FC-421B-A80E-67ACC5454550}"/>
              </c:ext>
            </c:extLst>
          </c:dPt>
          <c:dPt>
            <c:idx val="2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9-82FC-421B-A80E-67ACC5454550}"/>
              </c:ext>
            </c:extLst>
          </c:dPt>
          <c:dPt>
            <c:idx val="2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A-82FC-421B-A80E-67ACC5454550}"/>
              </c:ext>
            </c:extLst>
          </c:dPt>
          <c:dPt>
            <c:idx val="2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B-82FC-421B-A80E-67ACC5454550}"/>
              </c:ext>
            </c:extLst>
          </c:dPt>
          <c:dPt>
            <c:idx val="2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C-82FC-421B-A80E-67ACC5454550}"/>
              </c:ext>
            </c:extLst>
          </c:dPt>
          <c:dPt>
            <c:idx val="2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D-82FC-421B-A80E-67ACC5454550}"/>
              </c:ext>
            </c:extLst>
          </c:dPt>
          <c:dPt>
            <c:idx val="2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E-82FC-421B-A80E-67ACC5454550}"/>
              </c:ext>
            </c:extLst>
          </c:dPt>
          <c:dPt>
            <c:idx val="2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6F-82FC-421B-A80E-67ACC5454550}"/>
              </c:ext>
            </c:extLst>
          </c:dPt>
          <c:dPt>
            <c:idx val="2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0-82FC-421B-A80E-67ACC5454550}"/>
              </c:ext>
            </c:extLst>
          </c:dPt>
          <c:dPt>
            <c:idx val="2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1-82FC-421B-A80E-67ACC5454550}"/>
              </c:ext>
            </c:extLst>
          </c:dPt>
          <c:dPt>
            <c:idx val="2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2-82FC-421B-A80E-67ACC5454550}"/>
              </c:ext>
            </c:extLst>
          </c:dPt>
          <c:dPt>
            <c:idx val="2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3-82FC-421B-A80E-67ACC5454550}"/>
              </c:ext>
            </c:extLst>
          </c:dPt>
          <c:dPt>
            <c:idx val="2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4-82FC-421B-A80E-67ACC5454550}"/>
              </c:ext>
            </c:extLst>
          </c:dPt>
          <c:dPt>
            <c:idx val="2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5-82FC-421B-A80E-67ACC5454550}"/>
              </c:ext>
            </c:extLst>
          </c:dPt>
          <c:dPt>
            <c:idx val="2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6-82FC-421B-A80E-67ACC5454550}"/>
              </c:ext>
            </c:extLst>
          </c:dPt>
          <c:dPt>
            <c:idx val="2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7-82FC-421B-A80E-67ACC5454550}"/>
              </c:ext>
            </c:extLst>
          </c:dPt>
          <c:dPt>
            <c:idx val="2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8-82FC-421B-A80E-67ACC5454550}"/>
              </c:ext>
            </c:extLst>
          </c:dPt>
          <c:dPt>
            <c:idx val="2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9-82FC-421B-A80E-67ACC5454550}"/>
              </c:ext>
            </c:extLst>
          </c:dPt>
          <c:dPt>
            <c:idx val="2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A-82FC-421B-A80E-67ACC5454550}"/>
              </c:ext>
            </c:extLst>
          </c:dPt>
          <c:dPt>
            <c:idx val="2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B-82FC-421B-A80E-67ACC5454550}"/>
              </c:ext>
            </c:extLst>
          </c:dPt>
          <c:dPt>
            <c:idx val="2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C-82FC-421B-A80E-67ACC5454550}"/>
              </c:ext>
            </c:extLst>
          </c:dPt>
          <c:dPt>
            <c:idx val="2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D-82FC-421B-A80E-67ACC5454550}"/>
              </c:ext>
            </c:extLst>
          </c:dPt>
          <c:dPt>
            <c:idx val="2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E-82FC-421B-A80E-67ACC5454550}"/>
              </c:ext>
            </c:extLst>
          </c:dPt>
          <c:dPt>
            <c:idx val="2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7F-82FC-421B-A80E-67ACC5454550}"/>
              </c:ext>
            </c:extLst>
          </c:dPt>
          <c:dPt>
            <c:idx val="2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0-82FC-421B-A80E-67ACC5454550}"/>
              </c:ext>
            </c:extLst>
          </c:dPt>
          <c:dPt>
            <c:idx val="2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1-82FC-421B-A80E-67ACC5454550}"/>
              </c:ext>
            </c:extLst>
          </c:dPt>
          <c:dPt>
            <c:idx val="2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2-82FC-421B-A80E-67ACC5454550}"/>
              </c:ext>
            </c:extLst>
          </c:dPt>
          <c:dPt>
            <c:idx val="2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3-82FC-421B-A80E-67ACC5454550}"/>
              </c:ext>
            </c:extLst>
          </c:dPt>
          <c:dPt>
            <c:idx val="2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4-82FC-421B-A80E-67ACC5454550}"/>
              </c:ext>
            </c:extLst>
          </c:dPt>
          <c:dPt>
            <c:idx val="2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5-82FC-421B-A80E-67ACC5454550}"/>
              </c:ext>
            </c:extLst>
          </c:dPt>
          <c:dPt>
            <c:idx val="2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6-82FC-421B-A80E-67ACC5454550}"/>
              </c:ext>
            </c:extLst>
          </c:dPt>
          <c:dPt>
            <c:idx val="2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7-82FC-421B-A80E-67ACC5454550}"/>
              </c:ext>
            </c:extLst>
          </c:dPt>
          <c:dPt>
            <c:idx val="2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8-82FC-421B-A80E-67ACC5454550}"/>
              </c:ext>
            </c:extLst>
          </c:dPt>
          <c:dPt>
            <c:idx val="2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9-82FC-421B-A80E-67ACC5454550}"/>
              </c:ext>
            </c:extLst>
          </c:dPt>
          <c:dPt>
            <c:idx val="2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A-82FC-421B-A80E-67ACC5454550}"/>
              </c:ext>
            </c:extLst>
          </c:dPt>
          <c:dPt>
            <c:idx val="2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B-82FC-421B-A80E-67ACC5454550}"/>
              </c:ext>
            </c:extLst>
          </c:dPt>
          <c:dPt>
            <c:idx val="2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C-82FC-421B-A80E-67ACC5454550}"/>
              </c:ext>
            </c:extLst>
          </c:dPt>
          <c:dPt>
            <c:idx val="2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D-82FC-421B-A80E-67ACC5454550}"/>
              </c:ext>
            </c:extLst>
          </c:dPt>
          <c:dPt>
            <c:idx val="2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E-82FC-421B-A80E-67ACC5454550}"/>
              </c:ext>
            </c:extLst>
          </c:dPt>
          <c:dPt>
            <c:idx val="2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8F-82FC-421B-A80E-67ACC5454550}"/>
              </c:ext>
            </c:extLst>
          </c:dPt>
          <c:dPt>
            <c:idx val="2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0-82FC-421B-A80E-67ACC5454550}"/>
              </c:ext>
            </c:extLst>
          </c:dPt>
          <c:dPt>
            <c:idx val="2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1-82FC-421B-A80E-67ACC5454550}"/>
              </c:ext>
            </c:extLst>
          </c:dPt>
          <c:dPt>
            <c:idx val="2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2-82FC-421B-A80E-67ACC5454550}"/>
              </c:ext>
            </c:extLst>
          </c:dPt>
          <c:dPt>
            <c:idx val="2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3-82FC-421B-A80E-67ACC5454550}"/>
              </c:ext>
            </c:extLst>
          </c:dPt>
          <c:dPt>
            <c:idx val="2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4-82FC-421B-A80E-67ACC5454550}"/>
              </c:ext>
            </c:extLst>
          </c:dPt>
          <c:dPt>
            <c:idx val="2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5-82FC-421B-A80E-67ACC5454550}"/>
              </c:ext>
            </c:extLst>
          </c:dPt>
          <c:dPt>
            <c:idx val="2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6-82FC-421B-A80E-67ACC5454550}"/>
              </c:ext>
            </c:extLst>
          </c:dPt>
          <c:dPt>
            <c:idx val="2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7-82FC-421B-A80E-67ACC5454550}"/>
              </c:ext>
            </c:extLst>
          </c:dPt>
          <c:dPt>
            <c:idx val="2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8-82FC-421B-A80E-67ACC5454550}"/>
              </c:ext>
            </c:extLst>
          </c:dPt>
          <c:dPt>
            <c:idx val="2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9-82FC-421B-A80E-67ACC5454550}"/>
              </c:ext>
            </c:extLst>
          </c:dPt>
          <c:dPt>
            <c:idx val="2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A-82FC-421B-A80E-67ACC5454550}"/>
              </c:ext>
            </c:extLst>
          </c:dPt>
          <c:dPt>
            <c:idx val="2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B-82FC-421B-A80E-67ACC5454550}"/>
              </c:ext>
            </c:extLst>
          </c:dPt>
          <c:dPt>
            <c:idx val="2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C-82FC-421B-A80E-67ACC5454550}"/>
              </c:ext>
            </c:extLst>
          </c:dPt>
          <c:dPt>
            <c:idx val="2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D-82FC-421B-A80E-67ACC5454550}"/>
              </c:ext>
            </c:extLst>
          </c:dPt>
          <c:dPt>
            <c:idx val="2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E-82FC-421B-A80E-67ACC5454550}"/>
              </c:ext>
            </c:extLst>
          </c:dPt>
          <c:dPt>
            <c:idx val="2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9F-82FC-421B-A80E-67ACC5454550}"/>
              </c:ext>
            </c:extLst>
          </c:dPt>
          <c:dPt>
            <c:idx val="2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0-82FC-421B-A80E-67ACC5454550}"/>
              </c:ext>
            </c:extLst>
          </c:dPt>
          <c:dPt>
            <c:idx val="2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1-82FC-421B-A80E-67ACC5454550}"/>
              </c:ext>
            </c:extLst>
          </c:dPt>
          <c:dPt>
            <c:idx val="2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2-82FC-421B-A80E-67ACC5454550}"/>
              </c:ext>
            </c:extLst>
          </c:dPt>
          <c:dPt>
            <c:idx val="2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3-82FC-421B-A80E-67ACC5454550}"/>
              </c:ext>
            </c:extLst>
          </c:dPt>
          <c:dPt>
            <c:idx val="2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4-82FC-421B-A80E-67ACC5454550}"/>
              </c:ext>
            </c:extLst>
          </c:dPt>
          <c:dPt>
            <c:idx val="2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5-82FC-421B-A80E-67ACC5454550}"/>
              </c:ext>
            </c:extLst>
          </c:dPt>
          <c:dPt>
            <c:idx val="2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6-82FC-421B-A80E-67ACC5454550}"/>
              </c:ext>
            </c:extLst>
          </c:dPt>
          <c:dPt>
            <c:idx val="2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7-82FC-421B-A80E-67ACC5454550}"/>
              </c:ext>
            </c:extLst>
          </c:dPt>
          <c:dPt>
            <c:idx val="3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8-82FC-421B-A80E-67ACC5454550}"/>
              </c:ext>
            </c:extLst>
          </c:dPt>
          <c:dPt>
            <c:idx val="3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9-82FC-421B-A80E-67ACC5454550}"/>
              </c:ext>
            </c:extLst>
          </c:dPt>
          <c:dPt>
            <c:idx val="3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A-82FC-421B-A80E-67ACC5454550}"/>
              </c:ext>
            </c:extLst>
          </c:dPt>
          <c:dPt>
            <c:idx val="3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B-82FC-421B-A80E-67ACC5454550}"/>
              </c:ext>
            </c:extLst>
          </c:dPt>
          <c:dPt>
            <c:idx val="3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C-82FC-421B-A80E-67ACC5454550}"/>
              </c:ext>
            </c:extLst>
          </c:dPt>
          <c:dPt>
            <c:idx val="3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D-82FC-421B-A80E-67ACC5454550}"/>
              </c:ext>
            </c:extLst>
          </c:dPt>
          <c:dPt>
            <c:idx val="3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E-82FC-421B-A80E-67ACC5454550}"/>
              </c:ext>
            </c:extLst>
          </c:dPt>
          <c:dPt>
            <c:idx val="3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AF-82FC-421B-A80E-67ACC5454550}"/>
              </c:ext>
            </c:extLst>
          </c:dPt>
          <c:dPt>
            <c:idx val="3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0-82FC-421B-A80E-67ACC5454550}"/>
              </c:ext>
            </c:extLst>
          </c:dPt>
          <c:dPt>
            <c:idx val="3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1-82FC-421B-A80E-67ACC5454550}"/>
              </c:ext>
            </c:extLst>
          </c:dPt>
          <c:dPt>
            <c:idx val="3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2-82FC-421B-A80E-67ACC5454550}"/>
              </c:ext>
            </c:extLst>
          </c:dPt>
          <c:dPt>
            <c:idx val="3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3-82FC-421B-A80E-67ACC5454550}"/>
              </c:ext>
            </c:extLst>
          </c:dPt>
          <c:dPt>
            <c:idx val="3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4-82FC-421B-A80E-67ACC5454550}"/>
              </c:ext>
            </c:extLst>
          </c:dPt>
          <c:dPt>
            <c:idx val="3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5-82FC-421B-A80E-67ACC5454550}"/>
              </c:ext>
            </c:extLst>
          </c:dPt>
          <c:dPt>
            <c:idx val="3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6-82FC-421B-A80E-67ACC5454550}"/>
              </c:ext>
            </c:extLst>
          </c:dPt>
          <c:dPt>
            <c:idx val="3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7-82FC-421B-A80E-67ACC5454550}"/>
              </c:ext>
            </c:extLst>
          </c:dPt>
          <c:dPt>
            <c:idx val="3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8-82FC-421B-A80E-67ACC5454550}"/>
              </c:ext>
            </c:extLst>
          </c:dPt>
          <c:dPt>
            <c:idx val="3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9-82FC-421B-A80E-67ACC5454550}"/>
              </c:ext>
            </c:extLst>
          </c:dPt>
          <c:dPt>
            <c:idx val="3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A-82FC-421B-A80E-67ACC5454550}"/>
              </c:ext>
            </c:extLst>
          </c:dPt>
          <c:dPt>
            <c:idx val="3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B-82FC-421B-A80E-67ACC5454550}"/>
              </c:ext>
            </c:extLst>
          </c:dPt>
          <c:dPt>
            <c:idx val="3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C-82FC-421B-A80E-67ACC5454550}"/>
              </c:ext>
            </c:extLst>
          </c:dPt>
          <c:dPt>
            <c:idx val="3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D-82FC-421B-A80E-67ACC5454550}"/>
              </c:ext>
            </c:extLst>
          </c:dPt>
          <c:dPt>
            <c:idx val="3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E-82FC-421B-A80E-67ACC5454550}"/>
              </c:ext>
            </c:extLst>
          </c:dPt>
          <c:dPt>
            <c:idx val="3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BF-82FC-421B-A80E-67ACC5454550}"/>
              </c:ext>
            </c:extLst>
          </c:dPt>
          <c:dPt>
            <c:idx val="3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0-82FC-421B-A80E-67ACC5454550}"/>
              </c:ext>
            </c:extLst>
          </c:dPt>
          <c:dPt>
            <c:idx val="3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1-82FC-421B-A80E-67ACC5454550}"/>
              </c:ext>
            </c:extLst>
          </c:dPt>
          <c:dPt>
            <c:idx val="3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2-82FC-421B-A80E-67ACC5454550}"/>
              </c:ext>
            </c:extLst>
          </c:dPt>
          <c:dPt>
            <c:idx val="3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3-82FC-421B-A80E-67ACC5454550}"/>
              </c:ext>
            </c:extLst>
          </c:dPt>
          <c:dPt>
            <c:idx val="3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4-82FC-421B-A80E-67ACC5454550}"/>
              </c:ext>
            </c:extLst>
          </c:dPt>
          <c:dPt>
            <c:idx val="3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5-82FC-421B-A80E-67ACC5454550}"/>
              </c:ext>
            </c:extLst>
          </c:dPt>
          <c:dPt>
            <c:idx val="3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6-82FC-421B-A80E-67ACC5454550}"/>
              </c:ext>
            </c:extLst>
          </c:dPt>
          <c:dPt>
            <c:idx val="3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7-82FC-421B-A80E-67ACC5454550}"/>
              </c:ext>
            </c:extLst>
          </c:dPt>
          <c:dPt>
            <c:idx val="3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8-82FC-421B-A80E-67ACC5454550}"/>
              </c:ext>
            </c:extLst>
          </c:dPt>
          <c:dPt>
            <c:idx val="3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9-82FC-421B-A80E-67ACC5454550}"/>
              </c:ext>
            </c:extLst>
          </c:dPt>
          <c:dPt>
            <c:idx val="3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A-82FC-421B-A80E-67ACC5454550}"/>
              </c:ext>
            </c:extLst>
          </c:dPt>
          <c:dPt>
            <c:idx val="3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B-82FC-421B-A80E-67ACC5454550}"/>
              </c:ext>
            </c:extLst>
          </c:dPt>
          <c:dPt>
            <c:idx val="3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C-82FC-421B-A80E-67ACC5454550}"/>
              </c:ext>
            </c:extLst>
          </c:dPt>
          <c:dPt>
            <c:idx val="3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D-82FC-421B-A80E-67ACC5454550}"/>
              </c:ext>
            </c:extLst>
          </c:dPt>
          <c:dPt>
            <c:idx val="3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E-82FC-421B-A80E-67ACC5454550}"/>
              </c:ext>
            </c:extLst>
          </c:dPt>
          <c:dPt>
            <c:idx val="3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CF-82FC-421B-A80E-67ACC5454550}"/>
              </c:ext>
            </c:extLst>
          </c:dPt>
          <c:dPt>
            <c:idx val="3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0-82FC-421B-A80E-67ACC5454550}"/>
              </c:ext>
            </c:extLst>
          </c:dPt>
          <c:dPt>
            <c:idx val="3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1-82FC-421B-A80E-67ACC5454550}"/>
              </c:ext>
            </c:extLst>
          </c:dPt>
          <c:dPt>
            <c:idx val="3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2-82FC-421B-A80E-67ACC5454550}"/>
              </c:ext>
            </c:extLst>
          </c:dPt>
          <c:dPt>
            <c:idx val="3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3-82FC-421B-A80E-67ACC5454550}"/>
              </c:ext>
            </c:extLst>
          </c:dPt>
          <c:dPt>
            <c:idx val="3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4-82FC-421B-A80E-67ACC5454550}"/>
              </c:ext>
            </c:extLst>
          </c:dPt>
          <c:dPt>
            <c:idx val="3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5-82FC-421B-A80E-67ACC5454550}"/>
              </c:ext>
            </c:extLst>
          </c:dPt>
          <c:dPt>
            <c:idx val="3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6-82FC-421B-A80E-67ACC5454550}"/>
              </c:ext>
            </c:extLst>
          </c:dPt>
          <c:dPt>
            <c:idx val="3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7-82FC-421B-A80E-67ACC5454550}"/>
              </c:ext>
            </c:extLst>
          </c:dPt>
          <c:dPt>
            <c:idx val="3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8-82FC-421B-A80E-67ACC5454550}"/>
              </c:ext>
            </c:extLst>
          </c:dPt>
          <c:dPt>
            <c:idx val="3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9-82FC-421B-A80E-67ACC5454550}"/>
              </c:ext>
            </c:extLst>
          </c:dPt>
          <c:dPt>
            <c:idx val="3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A-82FC-421B-A80E-67ACC5454550}"/>
              </c:ext>
            </c:extLst>
          </c:dPt>
          <c:dPt>
            <c:idx val="3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B-82FC-421B-A80E-67ACC5454550}"/>
              </c:ext>
            </c:extLst>
          </c:dPt>
          <c:dPt>
            <c:idx val="3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C-82FC-421B-A80E-67ACC5454550}"/>
              </c:ext>
            </c:extLst>
          </c:dPt>
          <c:dPt>
            <c:idx val="3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D-82FC-421B-A80E-67ACC5454550}"/>
              </c:ext>
            </c:extLst>
          </c:dPt>
          <c:dPt>
            <c:idx val="3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E-82FC-421B-A80E-67ACC5454550}"/>
              </c:ext>
            </c:extLst>
          </c:dPt>
          <c:dPt>
            <c:idx val="3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DF-82FC-421B-A80E-67ACC5454550}"/>
              </c:ext>
            </c:extLst>
          </c:dPt>
          <c:dPt>
            <c:idx val="3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0-82FC-421B-A80E-67ACC5454550}"/>
              </c:ext>
            </c:extLst>
          </c:dPt>
          <c:dPt>
            <c:idx val="3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1-82FC-421B-A80E-67ACC5454550}"/>
              </c:ext>
            </c:extLst>
          </c:dPt>
          <c:dPt>
            <c:idx val="3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2-82FC-421B-A80E-67ACC5454550}"/>
              </c:ext>
            </c:extLst>
          </c:dPt>
          <c:dPt>
            <c:idx val="3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3-82FC-421B-A80E-67ACC5454550}"/>
              </c:ext>
            </c:extLst>
          </c:dPt>
          <c:dPt>
            <c:idx val="3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4-82FC-421B-A80E-67ACC5454550}"/>
              </c:ext>
            </c:extLst>
          </c:dPt>
          <c:dPt>
            <c:idx val="3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5-82FC-421B-A80E-67ACC5454550}"/>
              </c:ext>
            </c:extLst>
          </c:dPt>
          <c:dPt>
            <c:idx val="3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6-82FC-421B-A80E-67ACC5454550}"/>
              </c:ext>
            </c:extLst>
          </c:dPt>
          <c:dPt>
            <c:idx val="3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7-82FC-421B-A80E-67ACC5454550}"/>
              </c:ext>
            </c:extLst>
          </c:dPt>
          <c:dPt>
            <c:idx val="3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8-82FC-421B-A80E-67ACC5454550}"/>
              </c:ext>
            </c:extLst>
          </c:dPt>
          <c:dPt>
            <c:idx val="3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9-82FC-421B-A80E-67ACC5454550}"/>
              </c:ext>
            </c:extLst>
          </c:dPt>
          <c:dPt>
            <c:idx val="3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A-82FC-421B-A80E-67ACC5454550}"/>
              </c:ext>
            </c:extLst>
          </c:dPt>
          <c:dPt>
            <c:idx val="3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B-82FC-421B-A80E-67ACC5454550}"/>
              </c:ext>
            </c:extLst>
          </c:dPt>
          <c:dPt>
            <c:idx val="3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C-82FC-421B-A80E-67ACC5454550}"/>
              </c:ext>
            </c:extLst>
          </c:dPt>
          <c:dPt>
            <c:idx val="3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D-82FC-421B-A80E-67ACC5454550}"/>
              </c:ext>
            </c:extLst>
          </c:dPt>
          <c:dPt>
            <c:idx val="3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E-82FC-421B-A80E-67ACC5454550}"/>
              </c:ext>
            </c:extLst>
          </c:dPt>
          <c:dPt>
            <c:idx val="3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EF-82FC-421B-A80E-67ACC5454550}"/>
              </c:ext>
            </c:extLst>
          </c:dPt>
          <c:dPt>
            <c:idx val="3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0-82FC-421B-A80E-67ACC5454550}"/>
              </c:ext>
            </c:extLst>
          </c:dPt>
          <c:dPt>
            <c:idx val="3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1-82FC-421B-A80E-67ACC5454550}"/>
              </c:ext>
            </c:extLst>
          </c:dPt>
          <c:dPt>
            <c:idx val="3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2-82FC-421B-A80E-67ACC5454550}"/>
              </c:ext>
            </c:extLst>
          </c:dPt>
          <c:dPt>
            <c:idx val="3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3-82FC-421B-A80E-67ACC5454550}"/>
              </c:ext>
            </c:extLst>
          </c:dPt>
          <c:dPt>
            <c:idx val="3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4-82FC-421B-A80E-67ACC5454550}"/>
              </c:ext>
            </c:extLst>
          </c:dPt>
          <c:dPt>
            <c:idx val="3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5-82FC-421B-A80E-67ACC5454550}"/>
              </c:ext>
            </c:extLst>
          </c:dPt>
          <c:dPt>
            <c:idx val="3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6-82FC-421B-A80E-67ACC5454550}"/>
              </c:ext>
            </c:extLst>
          </c:dPt>
          <c:dPt>
            <c:idx val="3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7-82FC-421B-A80E-67ACC5454550}"/>
              </c:ext>
            </c:extLst>
          </c:dPt>
          <c:dPt>
            <c:idx val="3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8-82FC-421B-A80E-67ACC5454550}"/>
              </c:ext>
            </c:extLst>
          </c:dPt>
          <c:dPt>
            <c:idx val="3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9-82FC-421B-A80E-67ACC5454550}"/>
              </c:ext>
            </c:extLst>
          </c:dPt>
          <c:dPt>
            <c:idx val="3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A-82FC-421B-A80E-67ACC5454550}"/>
              </c:ext>
            </c:extLst>
          </c:dPt>
          <c:dPt>
            <c:idx val="3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B-82FC-421B-A80E-67ACC5454550}"/>
              </c:ext>
            </c:extLst>
          </c:dPt>
          <c:dPt>
            <c:idx val="3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C-82FC-421B-A80E-67ACC5454550}"/>
              </c:ext>
            </c:extLst>
          </c:dPt>
          <c:dPt>
            <c:idx val="3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D-82FC-421B-A80E-67ACC5454550}"/>
              </c:ext>
            </c:extLst>
          </c:dPt>
          <c:dPt>
            <c:idx val="3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E-82FC-421B-A80E-67ACC5454550}"/>
              </c:ext>
            </c:extLst>
          </c:dPt>
          <c:dPt>
            <c:idx val="3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4FF-82FC-421B-A80E-67ACC5454550}"/>
              </c:ext>
            </c:extLst>
          </c:dPt>
          <c:dPt>
            <c:idx val="3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0-82FC-421B-A80E-67ACC5454550}"/>
              </c:ext>
            </c:extLst>
          </c:dPt>
          <c:dPt>
            <c:idx val="3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1-82FC-421B-A80E-67ACC5454550}"/>
              </c:ext>
            </c:extLst>
          </c:dPt>
          <c:dPt>
            <c:idx val="3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2-82FC-421B-A80E-67ACC5454550}"/>
              </c:ext>
            </c:extLst>
          </c:dPt>
          <c:dPt>
            <c:idx val="3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3-82FC-421B-A80E-67ACC5454550}"/>
              </c:ext>
            </c:extLst>
          </c:dPt>
          <c:dPt>
            <c:idx val="3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4-82FC-421B-A80E-67ACC5454550}"/>
              </c:ext>
            </c:extLst>
          </c:dPt>
          <c:dPt>
            <c:idx val="3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5-82FC-421B-A80E-67ACC5454550}"/>
              </c:ext>
            </c:extLst>
          </c:dPt>
          <c:dPt>
            <c:idx val="3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6-82FC-421B-A80E-67ACC5454550}"/>
              </c:ext>
            </c:extLst>
          </c:dPt>
          <c:dPt>
            <c:idx val="3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7-82FC-421B-A80E-67ACC5454550}"/>
              </c:ext>
            </c:extLst>
          </c:dPt>
          <c:dPt>
            <c:idx val="3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8-82FC-421B-A80E-67ACC5454550}"/>
              </c:ext>
            </c:extLst>
          </c:dPt>
          <c:dPt>
            <c:idx val="3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9-82FC-421B-A80E-67ACC5454550}"/>
              </c:ext>
            </c:extLst>
          </c:dPt>
          <c:dPt>
            <c:idx val="3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A-82FC-421B-A80E-67ACC5454550}"/>
              </c:ext>
            </c:extLst>
          </c:dPt>
          <c:dPt>
            <c:idx val="3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B-82FC-421B-A80E-67ACC5454550}"/>
              </c:ext>
            </c:extLst>
          </c:dPt>
          <c:dPt>
            <c:idx val="4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C-82FC-421B-A80E-67ACC5454550}"/>
              </c:ext>
            </c:extLst>
          </c:dPt>
          <c:dPt>
            <c:idx val="4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D-82FC-421B-A80E-67ACC5454550}"/>
              </c:ext>
            </c:extLst>
          </c:dPt>
          <c:dPt>
            <c:idx val="4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E-82FC-421B-A80E-67ACC5454550}"/>
              </c:ext>
            </c:extLst>
          </c:dPt>
          <c:dPt>
            <c:idx val="4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0F-82FC-421B-A80E-67ACC5454550}"/>
              </c:ext>
            </c:extLst>
          </c:dPt>
          <c:dPt>
            <c:idx val="4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0-82FC-421B-A80E-67ACC5454550}"/>
              </c:ext>
            </c:extLst>
          </c:dPt>
          <c:dPt>
            <c:idx val="4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1-82FC-421B-A80E-67ACC5454550}"/>
              </c:ext>
            </c:extLst>
          </c:dPt>
          <c:dPt>
            <c:idx val="4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2-82FC-421B-A80E-67ACC5454550}"/>
              </c:ext>
            </c:extLst>
          </c:dPt>
          <c:dPt>
            <c:idx val="4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3-82FC-421B-A80E-67ACC5454550}"/>
              </c:ext>
            </c:extLst>
          </c:dPt>
          <c:dPt>
            <c:idx val="4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4-82FC-421B-A80E-67ACC5454550}"/>
              </c:ext>
            </c:extLst>
          </c:dPt>
          <c:dPt>
            <c:idx val="4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5-82FC-421B-A80E-67ACC5454550}"/>
              </c:ext>
            </c:extLst>
          </c:dPt>
          <c:dPt>
            <c:idx val="4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6-82FC-421B-A80E-67ACC5454550}"/>
              </c:ext>
            </c:extLst>
          </c:dPt>
          <c:dPt>
            <c:idx val="4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7-82FC-421B-A80E-67ACC5454550}"/>
              </c:ext>
            </c:extLst>
          </c:dPt>
          <c:dPt>
            <c:idx val="4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8-82FC-421B-A80E-67ACC5454550}"/>
              </c:ext>
            </c:extLst>
          </c:dPt>
          <c:dPt>
            <c:idx val="4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9-82FC-421B-A80E-67ACC5454550}"/>
              </c:ext>
            </c:extLst>
          </c:dPt>
          <c:dPt>
            <c:idx val="4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A-82FC-421B-A80E-67ACC5454550}"/>
              </c:ext>
            </c:extLst>
          </c:dPt>
          <c:dPt>
            <c:idx val="4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B-82FC-421B-A80E-67ACC5454550}"/>
              </c:ext>
            </c:extLst>
          </c:dPt>
          <c:dPt>
            <c:idx val="4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C-82FC-421B-A80E-67ACC5454550}"/>
              </c:ext>
            </c:extLst>
          </c:dPt>
          <c:dPt>
            <c:idx val="4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D-82FC-421B-A80E-67ACC5454550}"/>
              </c:ext>
            </c:extLst>
          </c:dPt>
          <c:dPt>
            <c:idx val="4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E-82FC-421B-A80E-67ACC5454550}"/>
              </c:ext>
            </c:extLst>
          </c:dPt>
          <c:dPt>
            <c:idx val="4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1F-82FC-421B-A80E-67ACC5454550}"/>
              </c:ext>
            </c:extLst>
          </c:dPt>
          <c:dPt>
            <c:idx val="4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0-82FC-421B-A80E-67ACC5454550}"/>
              </c:ext>
            </c:extLst>
          </c:dPt>
          <c:dPt>
            <c:idx val="4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1-82FC-421B-A80E-67ACC5454550}"/>
              </c:ext>
            </c:extLst>
          </c:dPt>
          <c:dPt>
            <c:idx val="4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2-82FC-421B-A80E-67ACC5454550}"/>
              </c:ext>
            </c:extLst>
          </c:dPt>
          <c:dPt>
            <c:idx val="4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3-82FC-421B-A80E-67ACC5454550}"/>
              </c:ext>
            </c:extLst>
          </c:dPt>
          <c:dPt>
            <c:idx val="4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4-82FC-421B-A80E-67ACC5454550}"/>
              </c:ext>
            </c:extLst>
          </c:dPt>
          <c:dPt>
            <c:idx val="4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5-82FC-421B-A80E-67ACC5454550}"/>
              </c:ext>
            </c:extLst>
          </c:dPt>
          <c:dPt>
            <c:idx val="4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6-82FC-421B-A80E-67ACC5454550}"/>
              </c:ext>
            </c:extLst>
          </c:dPt>
          <c:dPt>
            <c:idx val="4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7-82FC-421B-A80E-67ACC5454550}"/>
              </c:ext>
            </c:extLst>
          </c:dPt>
          <c:dPt>
            <c:idx val="4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8-82FC-421B-A80E-67ACC5454550}"/>
              </c:ext>
            </c:extLst>
          </c:dPt>
          <c:dPt>
            <c:idx val="4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9-82FC-421B-A80E-67ACC5454550}"/>
              </c:ext>
            </c:extLst>
          </c:dPt>
          <c:dPt>
            <c:idx val="4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A-82FC-421B-A80E-67ACC5454550}"/>
              </c:ext>
            </c:extLst>
          </c:dPt>
          <c:dPt>
            <c:idx val="4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B-82FC-421B-A80E-67ACC5454550}"/>
              </c:ext>
            </c:extLst>
          </c:dPt>
          <c:dPt>
            <c:idx val="4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C-82FC-421B-A80E-67ACC5454550}"/>
              </c:ext>
            </c:extLst>
          </c:dPt>
          <c:dPt>
            <c:idx val="4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D-82FC-421B-A80E-67ACC5454550}"/>
              </c:ext>
            </c:extLst>
          </c:dPt>
          <c:dPt>
            <c:idx val="4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E-82FC-421B-A80E-67ACC5454550}"/>
              </c:ext>
            </c:extLst>
          </c:dPt>
          <c:dPt>
            <c:idx val="4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2F-82FC-421B-A80E-67ACC5454550}"/>
              </c:ext>
            </c:extLst>
          </c:dPt>
          <c:dPt>
            <c:idx val="4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0-82FC-421B-A80E-67ACC5454550}"/>
              </c:ext>
            </c:extLst>
          </c:dPt>
          <c:dPt>
            <c:idx val="4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1-82FC-421B-A80E-67ACC5454550}"/>
              </c:ext>
            </c:extLst>
          </c:dPt>
          <c:dPt>
            <c:idx val="4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2-82FC-421B-A80E-67ACC5454550}"/>
              </c:ext>
            </c:extLst>
          </c:dPt>
          <c:dPt>
            <c:idx val="4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3-82FC-421B-A80E-67ACC5454550}"/>
              </c:ext>
            </c:extLst>
          </c:dPt>
          <c:dPt>
            <c:idx val="4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4-82FC-421B-A80E-67ACC5454550}"/>
              </c:ext>
            </c:extLst>
          </c:dPt>
          <c:dPt>
            <c:idx val="4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5-82FC-421B-A80E-67ACC5454550}"/>
              </c:ext>
            </c:extLst>
          </c:dPt>
          <c:dPt>
            <c:idx val="4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6-82FC-421B-A80E-67ACC5454550}"/>
              </c:ext>
            </c:extLst>
          </c:dPt>
          <c:dPt>
            <c:idx val="4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7-82FC-421B-A80E-67ACC5454550}"/>
              </c:ext>
            </c:extLst>
          </c:dPt>
          <c:dPt>
            <c:idx val="4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8-82FC-421B-A80E-67ACC5454550}"/>
              </c:ext>
            </c:extLst>
          </c:dPt>
          <c:dPt>
            <c:idx val="4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9-82FC-421B-A80E-67ACC5454550}"/>
              </c:ext>
            </c:extLst>
          </c:dPt>
          <c:dPt>
            <c:idx val="4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A-82FC-421B-A80E-67ACC5454550}"/>
              </c:ext>
            </c:extLst>
          </c:dPt>
          <c:dPt>
            <c:idx val="4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B-82FC-421B-A80E-67ACC5454550}"/>
              </c:ext>
            </c:extLst>
          </c:dPt>
          <c:dPt>
            <c:idx val="4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C-82FC-421B-A80E-67ACC5454550}"/>
              </c:ext>
            </c:extLst>
          </c:dPt>
          <c:dPt>
            <c:idx val="4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D-82FC-421B-A80E-67ACC5454550}"/>
              </c:ext>
            </c:extLst>
          </c:dPt>
          <c:dPt>
            <c:idx val="4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E-82FC-421B-A80E-67ACC5454550}"/>
              </c:ext>
            </c:extLst>
          </c:dPt>
          <c:dPt>
            <c:idx val="4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3F-82FC-421B-A80E-67ACC5454550}"/>
              </c:ext>
            </c:extLst>
          </c:dPt>
          <c:dPt>
            <c:idx val="4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0-82FC-421B-A80E-67ACC5454550}"/>
              </c:ext>
            </c:extLst>
          </c:dPt>
          <c:dPt>
            <c:idx val="4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1-82FC-421B-A80E-67ACC5454550}"/>
              </c:ext>
            </c:extLst>
          </c:dPt>
          <c:dPt>
            <c:idx val="4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2-82FC-421B-A80E-67ACC5454550}"/>
              </c:ext>
            </c:extLst>
          </c:dPt>
          <c:dPt>
            <c:idx val="4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3-82FC-421B-A80E-67ACC5454550}"/>
              </c:ext>
            </c:extLst>
          </c:dPt>
          <c:dPt>
            <c:idx val="4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4-82FC-421B-A80E-67ACC5454550}"/>
              </c:ext>
            </c:extLst>
          </c:dPt>
          <c:dPt>
            <c:idx val="4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5-82FC-421B-A80E-67ACC5454550}"/>
              </c:ext>
            </c:extLst>
          </c:dPt>
          <c:dPt>
            <c:idx val="4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6-82FC-421B-A80E-67ACC5454550}"/>
              </c:ext>
            </c:extLst>
          </c:dPt>
          <c:dPt>
            <c:idx val="4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7-82FC-421B-A80E-67ACC5454550}"/>
              </c:ext>
            </c:extLst>
          </c:dPt>
          <c:dPt>
            <c:idx val="4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8-82FC-421B-A80E-67ACC5454550}"/>
              </c:ext>
            </c:extLst>
          </c:dPt>
          <c:dPt>
            <c:idx val="4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9-82FC-421B-A80E-67ACC5454550}"/>
              </c:ext>
            </c:extLst>
          </c:dPt>
          <c:dPt>
            <c:idx val="4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A-82FC-421B-A80E-67ACC5454550}"/>
              </c:ext>
            </c:extLst>
          </c:dPt>
          <c:dPt>
            <c:idx val="4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B-82FC-421B-A80E-67ACC5454550}"/>
              </c:ext>
            </c:extLst>
          </c:dPt>
          <c:dPt>
            <c:idx val="4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C-82FC-421B-A80E-67ACC5454550}"/>
              </c:ext>
            </c:extLst>
          </c:dPt>
          <c:dPt>
            <c:idx val="4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D-82FC-421B-A80E-67ACC5454550}"/>
              </c:ext>
            </c:extLst>
          </c:dPt>
          <c:dPt>
            <c:idx val="4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E-82FC-421B-A80E-67ACC5454550}"/>
              </c:ext>
            </c:extLst>
          </c:dPt>
          <c:dPt>
            <c:idx val="4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4F-82FC-421B-A80E-67ACC5454550}"/>
              </c:ext>
            </c:extLst>
          </c:dPt>
          <c:dPt>
            <c:idx val="4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0-82FC-421B-A80E-67ACC5454550}"/>
              </c:ext>
            </c:extLst>
          </c:dPt>
          <c:dPt>
            <c:idx val="4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1-82FC-421B-A80E-67ACC5454550}"/>
              </c:ext>
            </c:extLst>
          </c:dPt>
          <c:dPt>
            <c:idx val="4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2-82FC-421B-A80E-67ACC5454550}"/>
              </c:ext>
            </c:extLst>
          </c:dPt>
          <c:dPt>
            <c:idx val="4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3-82FC-421B-A80E-67ACC5454550}"/>
              </c:ext>
            </c:extLst>
          </c:dPt>
          <c:dPt>
            <c:idx val="4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4-82FC-421B-A80E-67ACC5454550}"/>
              </c:ext>
            </c:extLst>
          </c:dPt>
          <c:dPt>
            <c:idx val="4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5-82FC-421B-A80E-67ACC5454550}"/>
              </c:ext>
            </c:extLst>
          </c:dPt>
          <c:dPt>
            <c:idx val="4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6-82FC-421B-A80E-67ACC5454550}"/>
              </c:ext>
            </c:extLst>
          </c:dPt>
          <c:dPt>
            <c:idx val="4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7-82FC-421B-A80E-67ACC5454550}"/>
              </c:ext>
            </c:extLst>
          </c:dPt>
          <c:dPt>
            <c:idx val="4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8-82FC-421B-A80E-67ACC5454550}"/>
              </c:ext>
            </c:extLst>
          </c:dPt>
          <c:dPt>
            <c:idx val="4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9-82FC-421B-A80E-67ACC5454550}"/>
              </c:ext>
            </c:extLst>
          </c:dPt>
          <c:dPt>
            <c:idx val="4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A-82FC-421B-A80E-67ACC5454550}"/>
              </c:ext>
            </c:extLst>
          </c:dPt>
          <c:dPt>
            <c:idx val="4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B-82FC-421B-A80E-67ACC5454550}"/>
              </c:ext>
            </c:extLst>
          </c:dPt>
          <c:dPt>
            <c:idx val="4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C-82FC-421B-A80E-67ACC5454550}"/>
              </c:ext>
            </c:extLst>
          </c:dPt>
          <c:dPt>
            <c:idx val="4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D-82FC-421B-A80E-67ACC5454550}"/>
              </c:ext>
            </c:extLst>
          </c:dPt>
          <c:dPt>
            <c:idx val="4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E-82FC-421B-A80E-67ACC5454550}"/>
              </c:ext>
            </c:extLst>
          </c:dPt>
          <c:dPt>
            <c:idx val="4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5F-82FC-421B-A80E-67ACC5454550}"/>
              </c:ext>
            </c:extLst>
          </c:dPt>
          <c:dPt>
            <c:idx val="4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0-82FC-421B-A80E-67ACC5454550}"/>
              </c:ext>
            </c:extLst>
          </c:dPt>
          <c:dPt>
            <c:idx val="4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1-82FC-421B-A80E-67ACC5454550}"/>
              </c:ext>
            </c:extLst>
          </c:dPt>
          <c:dPt>
            <c:idx val="4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2-82FC-421B-A80E-67ACC5454550}"/>
              </c:ext>
            </c:extLst>
          </c:dPt>
          <c:dPt>
            <c:idx val="4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3-82FC-421B-A80E-67ACC5454550}"/>
              </c:ext>
            </c:extLst>
          </c:dPt>
          <c:dPt>
            <c:idx val="4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4-82FC-421B-A80E-67ACC5454550}"/>
              </c:ext>
            </c:extLst>
          </c:dPt>
          <c:dPt>
            <c:idx val="4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5-82FC-421B-A80E-67ACC5454550}"/>
              </c:ext>
            </c:extLst>
          </c:dPt>
          <c:dPt>
            <c:idx val="4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6-82FC-421B-A80E-67ACC5454550}"/>
              </c:ext>
            </c:extLst>
          </c:dPt>
          <c:dPt>
            <c:idx val="4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7-82FC-421B-A80E-67ACC5454550}"/>
              </c:ext>
            </c:extLst>
          </c:dPt>
          <c:dPt>
            <c:idx val="4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8-82FC-421B-A80E-67ACC5454550}"/>
              </c:ext>
            </c:extLst>
          </c:dPt>
          <c:dPt>
            <c:idx val="4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9-82FC-421B-A80E-67ACC5454550}"/>
              </c:ext>
            </c:extLst>
          </c:dPt>
          <c:dPt>
            <c:idx val="4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A-82FC-421B-A80E-67ACC5454550}"/>
              </c:ext>
            </c:extLst>
          </c:dPt>
          <c:dPt>
            <c:idx val="4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B-82FC-421B-A80E-67ACC5454550}"/>
              </c:ext>
            </c:extLst>
          </c:dPt>
          <c:dPt>
            <c:idx val="4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C-82FC-421B-A80E-67ACC5454550}"/>
              </c:ext>
            </c:extLst>
          </c:dPt>
          <c:dPt>
            <c:idx val="4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D-82FC-421B-A80E-67ACC5454550}"/>
              </c:ext>
            </c:extLst>
          </c:dPt>
          <c:dPt>
            <c:idx val="4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E-82FC-421B-A80E-67ACC5454550}"/>
              </c:ext>
            </c:extLst>
          </c:dPt>
          <c:dPt>
            <c:idx val="4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6F-82FC-421B-A80E-67ACC5454550}"/>
              </c:ext>
            </c:extLst>
          </c:dPt>
          <c:dPt>
            <c:idx val="5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0-82FC-421B-A80E-67ACC5454550}"/>
              </c:ext>
            </c:extLst>
          </c:dPt>
          <c:dPt>
            <c:idx val="5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1-82FC-421B-A80E-67ACC5454550}"/>
              </c:ext>
            </c:extLst>
          </c:dPt>
          <c:dPt>
            <c:idx val="5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2-82FC-421B-A80E-67ACC5454550}"/>
              </c:ext>
            </c:extLst>
          </c:dPt>
          <c:dPt>
            <c:idx val="5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3-82FC-421B-A80E-67ACC5454550}"/>
              </c:ext>
            </c:extLst>
          </c:dPt>
          <c:dPt>
            <c:idx val="5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4-82FC-421B-A80E-67ACC5454550}"/>
              </c:ext>
            </c:extLst>
          </c:dPt>
          <c:dPt>
            <c:idx val="5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5-82FC-421B-A80E-67ACC5454550}"/>
              </c:ext>
            </c:extLst>
          </c:dPt>
          <c:dPt>
            <c:idx val="5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6-82FC-421B-A80E-67ACC5454550}"/>
              </c:ext>
            </c:extLst>
          </c:dPt>
          <c:dPt>
            <c:idx val="5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7-82FC-421B-A80E-67ACC5454550}"/>
              </c:ext>
            </c:extLst>
          </c:dPt>
          <c:dPt>
            <c:idx val="5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8-82FC-421B-A80E-67ACC5454550}"/>
              </c:ext>
            </c:extLst>
          </c:dPt>
          <c:dPt>
            <c:idx val="5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9-82FC-421B-A80E-67ACC5454550}"/>
              </c:ext>
            </c:extLst>
          </c:dPt>
          <c:dPt>
            <c:idx val="5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A-82FC-421B-A80E-67ACC5454550}"/>
              </c:ext>
            </c:extLst>
          </c:dPt>
          <c:dPt>
            <c:idx val="5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B-82FC-421B-A80E-67ACC5454550}"/>
              </c:ext>
            </c:extLst>
          </c:dPt>
          <c:dPt>
            <c:idx val="5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C-82FC-421B-A80E-67ACC5454550}"/>
              </c:ext>
            </c:extLst>
          </c:dPt>
          <c:dPt>
            <c:idx val="5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D-82FC-421B-A80E-67ACC5454550}"/>
              </c:ext>
            </c:extLst>
          </c:dPt>
          <c:dPt>
            <c:idx val="5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E-82FC-421B-A80E-67ACC5454550}"/>
              </c:ext>
            </c:extLst>
          </c:dPt>
          <c:dPt>
            <c:idx val="5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7F-82FC-421B-A80E-67ACC5454550}"/>
              </c:ext>
            </c:extLst>
          </c:dPt>
          <c:dPt>
            <c:idx val="5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0-82FC-421B-A80E-67ACC5454550}"/>
              </c:ext>
            </c:extLst>
          </c:dPt>
          <c:dPt>
            <c:idx val="5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1-82FC-421B-A80E-67ACC5454550}"/>
              </c:ext>
            </c:extLst>
          </c:dPt>
          <c:dPt>
            <c:idx val="5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2-82FC-421B-A80E-67ACC5454550}"/>
              </c:ext>
            </c:extLst>
          </c:dPt>
          <c:dPt>
            <c:idx val="5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3-82FC-421B-A80E-67ACC5454550}"/>
              </c:ext>
            </c:extLst>
          </c:dPt>
          <c:dPt>
            <c:idx val="5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4-82FC-421B-A80E-67ACC5454550}"/>
              </c:ext>
            </c:extLst>
          </c:dPt>
          <c:dPt>
            <c:idx val="5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5-82FC-421B-A80E-67ACC5454550}"/>
              </c:ext>
            </c:extLst>
          </c:dPt>
          <c:dPt>
            <c:idx val="5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6-82FC-421B-A80E-67ACC5454550}"/>
              </c:ext>
            </c:extLst>
          </c:dPt>
          <c:dPt>
            <c:idx val="5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7-82FC-421B-A80E-67ACC5454550}"/>
              </c:ext>
            </c:extLst>
          </c:dPt>
          <c:dPt>
            <c:idx val="5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8-82FC-421B-A80E-67ACC5454550}"/>
              </c:ext>
            </c:extLst>
          </c:dPt>
          <c:dPt>
            <c:idx val="5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9-82FC-421B-A80E-67ACC5454550}"/>
              </c:ext>
            </c:extLst>
          </c:dPt>
          <c:dPt>
            <c:idx val="5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A-82FC-421B-A80E-67ACC5454550}"/>
              </c:ext>
            </c:extLst>
          </c:dPt>
          <c:dPt>
            <c:idx val="5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B-82FC-421B-A80E-67ACC5454550}"/>
              </c:ext>
            </c:extLst>
          </c:dPt>
          <c:dPt>
            <c:idx val="5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C-82FC-421B-A80E-67ACC5454550}"/>
              </c:ext>
            </c:extLst>
          </c:dPt>
          <c:dPt>
            <c:idx val="5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D-82FC-421B-A80E-67ACC5454550}"/>
              </c:ext>
            </c:extLst>
          </c:dPt>
          <c:dPt>
            <c:idx val="5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E-82FC-421B-A80E-67ACC5454550}"/>
              </c:ext>
            </c:extLst>
          </c:dPt>
          <c:dPt>
            <c:idx val="5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8F-82FC-421B-A80E-67ACC5454550}"/>
              </c:ext>
            </c:extLst>
          </c:dPt>
          <c:dPt>
            <c:idx val="5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0-82FC-421B-A80E-67ACC5454550}"/>
              </c:ext>
            </c:extLst>
          </c:dPt>
          <c:dPt>
            <c:idx val="5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1-82FC-421B-A80E-67ACC5454550}"/>
              </c:ext>
            </c:extLst>
          </c:dPt>
          <c:dPt>
            <c:idx val="5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2-82FC-421B-A80E-67ACC5454550}"/>
              </c:ext>
            </c:extLst>
          </c:dPt>
          <c:dPt>
            <c:idx val="5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3-82FC-421B-A80E-67ACC5454550}"/>
              </c:ext>
            </c:extLst>
          </c:dPt>
          <c:dPt>
            <c:idx val="5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4-82FC-421B-A80E-67ACC5454550}"/>
              </c:ext>
            </c:extLst>
          </c:dPt>
          <c:dPt>
            <c:idx val="5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5-82FC-421B-A80E-67ACC5454550}"/>
              </c:ext>
            </c:extLst>
          </c:dPt>
          <c:dPt>
            <c:idx val="5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6-82FC-421B-A80E-67ACC5454550}"/>
              </c:ext>
            </c:extLst>
          </c:dPt>
          <c:dPt>
            <c:idx val="5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7-82FC-421B-A80E-67ACC5454550}"/>
              </c:ext>
            </c:extLst>
          </c:dPt>
          <c:dPt>
            <c:idx val="5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8-82FC-421B-A80E-67ACC5454550}"/>
              </c:ext>
            </c:extLst>
          </c:dPt>
          <c:dPt>
            <c:idx val="5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9-82FC-421B-A80E-67ACC5454550}"/>
              </c:ext>
            </c:extLst>
          </c:dPt>
          <c:dPt>
            <c:idx val="5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A-82FC-421B-A80E-67ACC5454550}"/>
              </c:ext>
            </c:extLst>
          </c:dPt>
          <c:dPt>
            <c:idx val="5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B-82FC-421B-A80E-67ACC5454550}"/>
              </c:ext>
            </c:extLst>
          </c:dPt>
          <c:dPt>
            <c:idx val="5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C-82FC-421B-A80E-67ACC5454550}"/>
              </c:ext>
            </c:extLst>
          </c:dPt>
          <c:dPt>
            <c:idx val="5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D-82FC-421B-A80E-67ACC5454550}"/>
              </c:ext>
            </c:extLst>
          </c:dPt>
          <c:dPt>
            <c:idx val="5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E-82FC-421B-A80E-67ACC5454550}"/>
              </c:ext>
            </c:extLst>
          </c:dPt>
          <c:dPt>
            <c:idx val="5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9F-82FC-421B-A80E-67ACC5454550}"/>
              </c:ext>
            </c:extLst>
          </c:dPt>
          <c:dPt>
            <c:idx val="5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0-82FC-421B-A80E-67ACC5454550}"/>
              </c:ext>
            </c:extLst>
          </c:dPt>
          <c:dPt>
            <c:idx val="5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1-82FC-421B-A80E-67ACC5454550}"/>
              </c:ext>
            </c:extLst>
          </c:dPt>
          <c:dPt>
            <c:idx val="5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2-82FC-421B-A80E-67ACC5454550}"/>
              </c:ext>
            </c:extLst>
          </c:dPt>
          <c:dPt>
            <c:idx val="5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3-82FC-421B-A80E-67ACC5454550}"/>
              </c:ext>
            </c:extLst>
          </c:dPt>
          <c:dPt>
            <c:idx val="5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4-82FC-421B-A80E-67ACC5454550}"/>
              </c:ext>
            </c:extLst>
          </c:dPt>
          <c:dPt>
            <c:idx val="5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5-82FC-421B-A80E-67ACC5454550}"/>
              </c:ext>
            </c:extLst>
          </c:dPt>
          <c:dPt>
            <c:idx val="5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6-82FC-421B-A80E-67ACC5454550}"/>
              </c:ext>
            </c:extLst>
          </c:dPt>
          <c:dPt>
            <c:idx val="5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7-82FC-421B-A80E-67ACC5454550}"/>
              </c:ext>
            </c:extLst>
          </c:dPt>
          <c:dPt>
            <c:idx val="5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8-82FC-421B-A80E-67ACC5454550}"/>
              </c:ext>
            </c:extLst>
          </c:dPt>
          <c:dPt>
            <c:idx val="5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9-82FC-421B-A80E-67ACC5454550}"/>
              </c:ext>
            </c:extLst>
          </c:dPt>
          <c:dPt>
            <c:idx val="5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A-82FC-421B-A80E-67ACC5454550}"/>
              </c:ext>
            </c:extLst>
          </c:dPt>
          <c:dPt>
            <c:idx val="5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B-82FC-421B-A80E-67ACC5454550}"/>
              </c:ext>
            </c:extLst>
          </c:dPt>
          <c:dPt>
            <c:idx val="5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C-82FC-421B-A80E-67ACC5454550}"/>
              </c:ext>
            </c:extLst>
          </c:dPt>
          <c:dPt>
            <c:idx val="5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D-82FC-421B-A80E-67ACC5454550}"/>
              </c:ext>
            </c:extLst>
          </c:dPt>
          <c:dPt>
            <c:idx val="5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E-82FC-421B-A80E-67ACC5454550}"/>
              </c:ext>
            </c:extLst>
          </c:dPt>
          <c:dPt>
            <c:idx val="5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AF-82FC-421B-A80E-67ACC5454550}"/>
              </c:ext>
            </c:extLst>
          </c:dPt>
          <c:dPt>
            <c:idx val="5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0-82FC-421B-A80E-67ACC5454550}"/>
              </c:ext>
            </c:extLst>
          </c:dPt>
          <c:dPt>
            <c:idx val="5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1-82FC-421B-A80E-67ACC5454550}"/>
              </c:ext>
            </c:extLst>
          </c:dPt>
          <c:dPt>
            <c:idx val="5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2-82FC-421B-A80E-67ACC5454550}"/>
              </c:ext>
            </c:extLst>
          </c:dPt>
          <c:dPt>
            <c:idx val="5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3-82FC-421B-A80E-67ACC5454550}"/>
              </c:ext>
            </c:extLst>
          </c:dPt>
          <c:dPt>
            <c:idx val="5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4-82FC-421B-A80E-67ACC5454550}"/>
              </c:ext>
            </c:extLst>
          </c:dPt>
          <c:dPt>
            <c:idx val="5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5-82FC-421B-A80E-67ACC5454550}"/>
              </c:ext>
            </c:extLst>
          </c:dPt>
          <c:dPt>
            <c:idx val="5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6-82FC-421B-A80E-67ACC5454550}"/>
              </c:ext>
            </c:extLst>
          </c:dPt>
          <c:dPt>
            <c:idx val="5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7-82FC-421B-A80E-67ACC5454550}"/>
              </c:ext>
            </c:extLst>
          </c:dPt>
          <c:dPt>
            <c:idx val="5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8-82FC-421B-A80E-67ACC5454550}"/>
              </c:ext>
            </c:extLst>
          </c:dPt>
          <c:dPt>
            <c:idx val="5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9-82FC-421B-A80E-67ACC5454550}"/>
              </c:ext>
            </c:extLst>
          </c:dPt>
          <c:dPt>
            <c:idx val="5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A-82FC-421B-A80E-67ACC5454550}"/>
              </c:ext>
            </c:extLst>
          </c:dPt>
          <c:dPt>
            <c:idx val="5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B-82FC-421B-A80E-67ACC5454550}"/>
              </c:ext>
            </c:extLst>
          </c:dPt>
          <c:dPt>
            <c:idx val="5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C-82FC-421B-A80E-67ACC5454550}"/>
              </c:ext>
            </c:extLst>
          </c:dPt>
          <c:dPt>
            <c:idx val="5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D-82FC-421B-A80E-67ACC5454550}"/>
              </c:ext>
            </c:extLst>
          </c:dPt>
          <c:dPt>
            <c:idx val="5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E-82FC-421B-A80E-67ACC5454550}"/>
              </c:ext>
            </c:extLst>
          </c:dPt>
          <c:dPt>
            <c:idx val="5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BF-82FC-421B-A80E-67ACC5454550}"/>
              </c:ext>
            </c:extLst>
          </c:dPt>
          <c:dPt>
            <c:idx val="5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0-82FC-421B-A80E-67ACC5454550}"/>
              </c:ext>
            </c:extLst>
          </c:dPt>
          <c:dPt>
            <c:idx val="5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1-82FC-421B-A80E-67ACC5454550}"/>
              </c:ext>
            </c:extLst>
          </c:dPt>
          <c:dPt>
            <c:idx val="5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2-82FC-421B-A80E-67ACC5454550}"/>
              </c:ext>
            </c:extLst>
          </c:dPt>
          <c:dPt>
            <c:idx val="5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3-82FC-421B-A80E-67ACC5454550}"/>
              </c:ext>
            </c:extLst>
          </c:dPt>
          <c:dPt>
            <c:idx val="5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4-82FC-421B-A80E-67ACC5454550}"/>
              </c:ext>
            </c:extLst>
          </c:dPt>
          <c:dPt>
            <c:idx val="5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5-82FC-421B-A80E-67ACC5454550}"/>
              </c:ext>
            </c:extLst>
          </c:dPt>
          <c:dPt>
            <c:idx val="5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6-82FC-421B-A80E-67ACC5454550}"/>
              </c:ext>
            </c:extLst>
          </c:dPt>
          <c:dPt>
            <c:idx val="5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7-82FC-421B-A80E-67ACC5454550}"/>
              </c:ext>
            </c:extLst>
          </c:dPt>
          <c:dPt>
            <c:idx val="5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8-82FC-421B-A80E-67ACC5454550}"/>
              </c:ext>
            </c:extLst>
          </c:dPt>
          <c:dPt>
            <c:idx val="5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9-82FC-421B-A80E-67ACC5454550}"/>
              </c:ext>
            </c:extLst>
          </c:dPt>
          <c:dPt>
            <c:idx val="5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A-82FC-421B-A80E-67ACC5454550}"/>
              </c:ext>
            </c:extLst>
          </c:dPt>
          <c:dPt>
            <c:idx val="5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B-82FC-421B-A80E-67ACC5454550}"/>
              </c:ext>
            </c:extLst>
          </c:dPt>
          <c:dPt>
            <c:idx val="5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C-82FC-421B-A80E-67ACC5454550}"/>
              </c:ext>
            </c:extLst>
          </c:dPt>
          <c:dPt>
            <c:idx val="5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D-82FC-421B-A80E-67ACC5454550}"/>
              </c:ext>
            </c:extLst>
          </c:dPt>
          <c:dPt>
            <c:idx val="5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E-82FC-421B-A80E-67ACC5454550}"/>
              </c:ext>
            </c:extLst>
          </c:dPt>
          <c:dPt>
            <c:idx val="5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CF-82FC-421B-A80E-67ACC5454550}"/>
              </c:ext>
            </c:extLst>
          </c:dPt>
          <c:dPt>
            <c:idx val="5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0-82FC-421B-A80E-67ACC5454550}"/>
              </c:ext>
            </c:extLst>
          </c:dPt>
          <c:dPt>
            <c:idx val="5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1-82FC-421B-A80E-67ACC5454550}"/>
              </c:ext>
            </c:extLst>
          </c:dPt>
          <c:dPt>
            <c:idx val="5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2-82FC-421B-A80E-67ACC5454550}"/>
              </c:ext>
            </c:extLst>
          </c:dPt>
          <c:dPt>
            <c:idx val="5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3-82FC-421B-A80E-67ACC5454550}"/>
              </c:ext>
            </c:extLst>
          </c:dPt>
          <c:dPt>
            <c:idx val="6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4-82FC-421B-A80E-67ACC5454550}"/>
              </c:ext>
            </c:extLst>
          </c:dPt>
          <c:dPt>
            <c:idx val="6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5-82FC-421B-A80E-67ACC5454550}"/>
              </c:ext>
            </c:extLst>
          </c:dPt>
          <c:dPt>
            <c:idx val="6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6-82FC-421B-A80E-67ACC5454550}"/>
              </c:ext>
            </c:extLst>
          </c:dPt>
          <c:dPt>
            <c:idx val="6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7-82FC-421B-A80E-67ACC5454550}"/>
              </c:ext>
            </c:extLst>
          </c:dPt>
          <c:dPt>
            <c:idx val="6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8-82FC-421B-A80E-67ACC5454550}"/>
              </c:ext>
            </c:extLst>
          </c:dPt>
          <c:dPt>
            <c:idx val="6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9-82FC-421B-A80E-67ACC5454550}"/>
              </c:ext>
            </c:extLst>
          </c:dPt>
          <c:dPt>
            <c:idx val="6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A-82FC-421B-A80E-67ACC5454550}"/>
              </c:ext>
            </c:extLst>
          </c:dPt>
          <c:dPt>
            <c:idx val="6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B-82FC-421B-A80E-67ACC5454550}"/>
              </c:ext>
            </c:extLst>
          </c:dPt>
          <c:dPt>
            <c:idx val="6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C-82FC-421B-A80E-67ACC5454550}"/>
              </c:ext>
            </c:extLst>
          </c:dPt>
          <c:dPt>
            <c:idx val="6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D-82FC-421B-A80E-67ACC5454550}"/>
              </c:ext>
            </c:extLst>
          </c:dPt>
          <c:dPt>
            <c:idx val="6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E-82FC-421B-A80E-67ACC5454550}"/>
              </c:ext>
            </c:extLst>
          </c:dPt>
          <c:dPt>
            <c:idx val="6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DF-82FC-421B-A80E-67ACC5454550}"/>
              </c:ext>
            </c:extLst>
          </c:dPt>
          <c:dPt>
            <c:idx val="6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0-82FC-421B-A80E-67ACC5454550}"/>
              </c:ext>
            </c:extLst>
          </c:dPt>
          <c:dPt>
            <c:idx val="6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1-82FC-421B-A80E-67ACC5454550}"/>
              </c:ext>
            </c:extLst>
          </c:dPt>
          <c:dPt>
            <c:idx val="6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2-82FC-421B-A80E-67ACC5454550}"/>
              </c:ext>
            </c:extLst>
          </c:dPt>
          <c:dPt>
            <c:idx val="6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3-82FC-421B-A80E-67ACC5454550}"/>
              </c:ext>
            </c:extLst>
          </c:dPt>
          <c:dPt>
            <c:idx val="6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4-82FC-421B-A80E-67ACC5454550}"/>
              </c:ext>
            </c:extLst>
          </c:dPt>
          <c:dPt>
            <c:idx val="6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5-82FC-421B-A80E-67ACC5454550}"/>
              </c:ext>
            </c:extLst>
          </c:dPt>
          <c:dPt>
            <c:idx val="6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6-82FC-421B-A80E-67ACC5454550}"/>
              </c:ext>
            </c:extLst>
          </c:dPt>
          <c:dPt>
            <c:idx val="6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7-82FC-421B-A80E-67ACC5454550}"/>
              </c:ext>
            </c:extLst>
          </c:dPt>
          <c:dPt>
            <c:idx val="6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8-82FC-421B-A80E-67ACC5454550}"/>
              </c:ext>
            </c:extLst>
          </c:dPt>
          <c:dPt>
            <c:idx val="6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9-82FC-421B-A80E-67ACC5454550}"/>
              </c:ext>
            </c:extLst>
          </c:dPt>
          <c:dPt>
            <c:idx val="6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A-82FC-421B-A80E-67ACC5454550}"/>
              </c:ext>
            </c:extLst>
          </c:dPt>
          <c:dPt>
            <c:idx val="6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B-82FC-421B-A80E-67ACC5454550}"/>
              </c:ext>
            </c:extLst>
          </c:dPt>
          <c:dPt>
            <c:idx val="6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C-82FC-421B-A80E-67ACC5454550}"/>
              </c:ext>
            </c:extLst>
          </c:dPt>
          <c:dPt>
            <c:idx val="6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D-82FC-421B-A80E-67ACC5454550}"/>
              </c:ext>
            </c:extLst>
          </c:dPt>
          <c:dPt>
            <c:idx val="6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E-82FC-421B-A80E-67ACC5454550}"/>
              </c:ext>
            </c:extLst>
          </c:dPt>
          <c:dPt>
            <c:idx val="6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EF-82FC-421B-A80E-67ACC5454550}"/>
              </c:ext>
            </c:extLst>
          </c:dPt>
          <c:dPt>
            <c:idx val="6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0-82FC-421B-A80E-67ACC5454550}"/>
              </c:ext>
            </c:extLst>
          </c:dPt>
          <c:dPt>
            <c:idx val="6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1-82FC-421B-A80E-67ACC5454550}"/>
              </c:ext>
            </c:extLst>
          </c:dPt>
          <c:dPt>
            <c:idx val="6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2-82FC-421B-A80E-67ACC5454550}"/>
              </c:ext>
            </c:extLst>
          </c:dPt>
          <c:dPt>
            <c:idx val="6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3-82FC-421B-A80E-67ACC5454550}"/>
              </c:ext>
            </c:extLst>
          </c:dPt>
          <c:dPt>
            <c:idx val="6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4-82FC-421B-A80E-67ACC5454550}"/>
              </c:ext>
            </c:extLst>
          </c:dPt>
          <c:dPt>
            <c:idx val="6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5-82FC-421B-A80E-67ACC5454550}"/>
              </c:ext>
            </c:extLst>
          </c:dPt>
          <c:dPt>
            <c:idx val="6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6-82FC-421B-A80E-67ACC5454550}"/>
              </c:ext>
            </c:extLst>
          </c:dPt>
          <c:dPt>
            <c:idx val="6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7-82FC-421B-A80E-67ACC5454550}"/>
              </c:ext>
            </c:extLst>
          </c:dPt>
          <c:dPt>
            <c:idx val="6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8-82FC-421B-A80E-67ACC5454550}"/>
              </c:ext>
            </c:extLst>
          </c:dPt>
          <c:dPt>
            <c:idx val="6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9-82FC-421B-A80E-67ACC5454550}"/>
              </c:ext>
            </c:extLst>
          </c:dPt>
          <c:dPt>
            <c:idx val="6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A-82FC-421B-A80E-67ACC5454550}"/>
              </c:ext>
            </c:extLst>
          </c:dPt>
          <c:dPt>
            <c:idx val="6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B-82FC-421B-A80E-67ACC5454550}"/>
              </c:ext>
            </c:extLst>
          </c:dPt>
          <c:dPt>
            <c:idx val="6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C-82FC-421B-A80E-67ACC5454550}"/>
              </c:ext>
            </c:extLst>
          </c:dPt>
          <c:dPt>
            <c:idx val="6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D-82FC-421B-A80E-67ACC5454550}"/>
              </c:ext>
            </c:extLst>
          </c:dPt>
          <c:dPt>
            <c:idx val="6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E-82FC-421B-A80E-67ACC5454550}"/>
              </c:ext>
            </c:extLst>
          </c:dPt>
          <c:dPt>
            <c:idx val="6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5FF-82FC-421B-A80E-67ACC5454550}"/>
              </c:ext>
            </c:extLst>
          </c:dPt>
          <c:dPt>
            <c:idx val="6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0-82FC-421B-A80E-67ACC5454550}"/>
              </c:ext>
            </c:extLst>
          </c:dPt>
          <c:dPt>
            <c:idx val="6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1-82FC-421B-A80E-67ACC5454550}"/>
              </c:ext>
            </c:extLst>
          </c:dPt>
          <c:dPt>
            <c:idx val="6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2-82FC-421B-A80E-67ACC5454550}"/>
              </c:ext>
            </c:extLst>
          </c:dPt>
          <c:dPt>
            <c:idx val="6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3-82FC-421B-A80E-67ACC5454550}"/>
              </c:ext>
            </c:extLst>
          </c:dPt>
          <c:dPt>
            <c:idx val="6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4-82FC-421B-A80E-67ACC5454550}"/>
              </c:ext>
            </c:extLst>
          </c:dPt>
          <c:dPt>
            <c:idx val="6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5-82FC-421B-A80E-67ACC5454550}"/>
              </c:ext>
            </c:extLst>
          </c:dPt>
          <c:dPt>
            <c:idx val="6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6-82FC-421B-A80E-67ACC5454550}"/>
              </c:ext>
            </c:extLst>
          </c:dPt>
          <c:dPt>
            <c:idx val="6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7-82FC-421B-A80E-67ACC5454550}"/>
              </c:ext>
            </c:extLst>
          </c:dPt>
          <c:dPt>
            <c:idx val="6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8-82FC-421B-A80E-67ACC5454550}"/>
              </c:ext>
            </c:extLst>
          </c:dPt>
          <c:dPt>
            <c:idx val="6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9-82FC-421B-A80E-67ACC5454550}"/>
              </c:ext>
            </c:extLst>
          </c:dPt>
          <c:dPt>
            <c:idx val="6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A-82FC-421B-A80E-67ACC5454550}"/>
              </c:ext>
            </c:extLst>
          </c:dPt>
          <c:dPt>
            <c:idx val="6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B-82FC-421B-A80E-67ACC5454550}"/>
              </c:ext>
            </c:extLst>
          </c:dPt>
          <c:dPt>
            <c:idx val="6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C-82FC-421B-A80E-67ACC5454550}"/>
              </c:ext>
            </c:extLst>
          </c:dPt>
          <c:dPt>
            <c:idx val="6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D-82FC-421B-A80E-67ACC5454550}"/>
              </c:ext>
            </c:extLst>
          </c:dPt>
          <c:dPt>
            <c:idx val="6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E-82FC-421B-A80E-67ACC5454550}"/>
              </c:ext>
            </c:extLst>
          </c:dPt>
          <c:dPt>
            <c:idx val="6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0F-82FC-421B-A80E-67ACC5454550}"/>
              </c:ext>
            </c:extLst>
          </c:dPt>
          <c:dPt>
            <c:idx val="6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0-82FC-421B-A80E-67ACC5454550}"/>
              </c:ext>
            </c:extLst>
          </c:dPt>
          <c:dPt>
            <c:idx val="6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1-82FC-421B-A80E-67ACC5454550}"/>
              </c:ext>
            </c:extLst>
          </c:dPt>
          <c:dPt>
            <c:idx val="6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2-82FC-421B-A80E-67ACC5454550}"/>
              </c:ext>
            </c:extLst>
          </c:dPt>
          <c:dPt>
            <c:idx val="6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3-82FC-421B-A80E-67ACC5454550}"/>
              </c:ext>
            </c:extLst>
          </c:dPt>
          <c:dPt>
            <c:idx val="6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4-82FC-421B-A80E-67ACC5454550}"/>
              </c:ext>
            </c:extLst>
          </c:dPt>
          <c:dPt>
            <c:idx val="6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5-82FC-421B-A80E-67ACC5454550}"/>
              </c:ext>
            </c:extLst>
          </c:dPt>
          <c:dPt>
            <c:idx val="6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6-82FC-421B-A80E-67ACC5454550}"/>
              </c:ext>
            </c:extLst>
          </c:dPt>
          <c:dPt>
            <c:idx val="6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7-82FC-421B-A80E-67ACC5454550}"/>
              </c:ext>
            </c:extLst>
          </c:dPt>
          <c:dPt>
            <c:idx val="6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8-82FC-421B-A80E-67ACC5454550}"/>
              </c:ext>
            </c:extLst>
          </c:dPt>
          <c:dPt>
            <c:idx val="6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9-82FC-421B-A80E-67ACC5454550}"/>
              </c:ext>
            </c:extLst>
          </c:dPt>
          <c:dPt>
            <c:idx val="6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A-82FC-421B-A80E-67ACC5454550}"/>
              </c:ext>
            </c:extLst>
          </c:dPt>
          <c:dPt>
            <c:idx val="6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B-82FC-421B-A80E-67ACC5454550}"/>
              </c:ext>
            </c:extLst>
          </c:dPt>
          <c:dPt>
            <c:idx val="6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C-82FC-421B-A80E-67ACC5454550}"/>
              </c:ext>
            </c:extLst>
          </c:dPt>
          <c:dPt>
            <c:idx val="6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D-82FC-421B-A80E-67ACC5454550}"/>
              </c:ext>
            </c:extLst>
          </c:dPt>
          <c:dPt>
            <c:idx val="6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E-82FC-421B-A80E-67ACC5454550}"/>
              </c:ext>
            </c:extLst>
          </c:dPt>
          <c:dPt>
            <c:idx val="6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1F-82FC-421B-A80E-67ACC5454550}"/>
              </c:ext>
            </c:extLst>
          </c:dPt>
          <c:dPt>
            <c:idx val="6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0-82FC-421B-A80E-67ACC5454550}"/>
              </c:ext>
            </c:extLst>
          </c:dPt>
          <c:dPt>
            <c:idx val="6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1-82FC-421B-A80E-67ACC5454550}"/>
              </c:ext>
            </c:extLst>
          </c:dPt>
          <c:dPt>
            <c:idx val="6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2-82FC-421B-A80E-67ACC5454550}"/>
              </c:ext>
            </c:extLst>
          </c:dPt>
          <c:dPt>
            <c:idx val="6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3-82FC-421B-A80E-67ACC5454550}"/>
              </c:ext>
            </c:extLst>
          </c:dPt>
          <c:dPt>
            <c:idx val="6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4-82FC-421B-A80E-67ACC5454550}"/>
              </c:ext>
            </c:extLst>
          </c:dPt>
          <c:dPt>
            <c:idx val="6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5-82FC-421B-A80E-67ACC5454550}"/>
              </c:ext>
            </c:extLst>
          </c:dPt>
          <c:dPt>
            <c:idx val="6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6-82FC-421B-A80E-67ACC5454550}"/>
              </c:ext>
            </c:extLst>
          </c:dPt>
          <c:dPt>
            <c:idx val="6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7-82FC-421B-A80E-67ACC5454550}"/>
              </c:ext>
            </c:extLst>
          </c:dPt>
          <c:dPt>
            <c:idx val="6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8-82FC-421B-A80E-67ACC5454550}"/>
              </c:ext>
            </c:extLst>
          </c:dPt>
          <c:dPt>
            <c:idx val="6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9-82FC-421B-A80E-67ACC5454550}"/>
              </c:ext>
            </c:extLst>
          </c:dPt>
          <c:dPt>
            <c:idx val="6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A-82FC-421B-A80E-67ACC5454550}"/>
              </c:ext>
            </c:extLst>
          </c:dPt>
          <c:dPt>
            <c:idx val="6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B-82FC-421B-A80E-67ACC5454550}"/>
              </c:ext>
            </c:extLst>
          </c:dPt>
          <c:dPt>
            <c:idx val="6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C-82FC-421B-A80E-67ACC5454550}"/>
              </c:ext>
            </c:extLst>
          </c:dPt>
          <c:dPt>
            <c:idx val="6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D-82FC-421B-A80E-67ACC5454550}"/>
              </c:ext>
            </c:extLst>
          </c:dPt>
          <c:dPt>
            <c:idx val="6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E-82FC-421B-A80E-67ACC5454550}"/>
              </c:ext>
            </c:extLst>
          </c:dPt>
          <c:dPt>
            <c:idx val="6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2F-82FC-421B-A80E-67ACC5454550}"/>
              </c:ext>
            </c:extLst>
          </c:dPt>
          <c:dPt>
            <c:idx val="6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0-82FC-421B-A80E-67ACC5454550}"/>
              </c:ext>
            </c:extLst>
          </c:dPt>
          <c:dPt>
            <c:idx val="6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1-82FC-421B-A80E-67ACC5454550}"/>
              </c:ext>
            </c:extLst>
          </c:dPt>
          <c:dPt>
            <c:idx val="6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2-82FC-421B-A80E-67ACC5454550}"/>
              </c:ext>
            </c:extLst>
          </c:dPt>
          <c:dPt>
            <c:idx val="6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3-82FC-421B-A80E-67ACC5454550}"/>
              </c:ext>
            </c:extLst>
          </c:dPt>
          <c:dPt>
            <c:idx val="6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4-82FC-421B-A80E-67ACC5454550}"/>
              </c:ext>
            </c:extLst>
          </c:dPt>
          <c:dPt>
            <c:idx val="6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5-82FC-421B-A80E-67ACC5454550}"/>
              </c:ext>
            </c:extLst>
          </c:dPt>
          <c:dPt>
            <c:idx val="6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6-82FC-421B-A80E-67ACC5454550}"/>
              </c:ext>
            </c:extLst>
          </c:dPt>
          <c:dPt>
            <c:idx val="6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7-82FC-421B-A80E-67ACC5454550}"/>
              </c:ext>
            </c:extLst>
          </c:dPt>
          <c:dPt>
            <c:idx val="7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8-82FC-421B-A80E-67ACC5454550}"/>
              </c:ext>
            </c:extLst>
          </c:dPt>
          <c:dPt>
            <c:idx val="7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9-82FC-421B-A80E-67ACC5454550}"/>
              </c:ext>
            </c:extLst>
          </c:dPt>
          <c:dPt>
            <c:idx val="7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A-82FC-421B-A80E-67ACC5454550}"/>
              </c:ext>
            </c:extLst>
          </c:dPt>
          <c:dPt>
            <c:idx val="7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B-82FC-421B-A80E-67ACC5454550}"/>
              </c:ext>
            </c:extLst>
          </c:dPt>
          <c:dPt>
            <c:idx val="7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C-82FC-421B-A80E-67ACC5454550}"/>
              </c:ext>
            </c:extLst>
          </c:dPt>
          <c:dPt>
            <c:idx val="7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D-82FC-421B-A80E-67ACC5454550}"/>
              </c:ext>
            </c:extLst>
          </c:dPt>
          <c:dPt>
            <c:idx val="7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E-82FC-421B-A80E-67ACC5454550}"/>
              </c:ext>
            </c:extLst>
          </c:dPt>
          <c:dPt>
            <c:idx val="7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3F-82FC-421B-A80E-67ACC5454550}"/>
              </c:ext>
            </c:extLst>
          </c:dPt>
          <c:dPt>
            <c:idx val="7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0-82FC-421B-A80E-67ACC5454550}"/>
              </c:ext>
            </c:extLst>
          </c:dPt>
          <c:dPt>
            <c:idx val="7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1-82FC-421B-A80E-67ACC5454550}"/>
              </c:ext>
            </c:extLst>
          </c:dPt>
          <c:dPt>
            <c:idx val="7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2-82FC-421B-A80E-67ACC5454550}"/>
              </c:ext>
            </c:extLst>
          </c:dPt>
          <c:dPt>
            <c:idx val="7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3-82FC-421B-A80E-67ACC5454550}"/>
              </c:ext>
            </c:extLst>
          </c:dPt>
          <c:dPt>
            <c:idx val="7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4-82FC-421B-A80E-67ACC5454550}"/>
              </c:ext>
            </c:extLst>
          </c:dPt>
          <c:dPt>
            <c:idx val="7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5-82FC-421B-A80E-67ACC5454550}"/>
              </c:ext>
            </c:extLst>
          </c:dPt>
          <c:dPt>
            <c:idx val="7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6-82FC-421B-A80E-67ACC5454550}"/>
              </c:ext>
            </c:extLst>
          </c:dPt>
          <c:dPt>
            <c:idx val="7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7-82FC-421B-A80E-67ACC5454550}"/>
              </c:ext>
            </c:extLst>
          </c:dPt>
          <c:dPt>
            <c:idx val="7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8-82FC-421B-A80E-67ACC5454550}"/>
              </c:ext>
            </c:extLst>
          </c:dPt>
          <c:dPt>
            <c:idx val="7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9-82FC-421B-A80E-67ACC5454550}"/>
              </c:ext>
            </c:extLst>
          </c:dPt>
          <c:dPt>
            <c:idx val="7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A-82FC-421B-A80E-67ACC5454550}"/>
              </c:ext>
            </c:extLst>
          </c:dPt>
          <c:dPt>
            <c:idx val="7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B-82FC-421B-A80E-67ACC5454550}"/>
              </c:ext>
            </c:extLst>
          </c:dPt>
          <c:dPt>
            <c:idx val="7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C-82FC-421B-A80E-67ACC5454550}"/>
              </c:ext>
            </c:extLst>
          </c:dPt>
          <c:dPt>
            <c:idx val="7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D-82FC-421B-A80E-67ACC5454550}"/>
              </c:ext>
            </c:extLst>
          </c:dPt>
          <c:dPt>
            <c:idx val="7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E-82FC-421B-A80E-67ACC5454550}"/>
              </c:ext>
            </c:extLst>
          </c:dPt>
          <c:dPt>
            <c:idx val="7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4F-82FC-421B-A80E-67ACC5454550}"/>
              </c:ext>
            </c:extLst>
          </c:dPt>
          <c:dPt>
            <c:idx val="7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0-82FC-421B-A80E-67ACC5454550}"/>
              </c:ext>
            </c:extLst>
          </c:dPt>
          <c:dPt>
            <c:idx val="7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1-82FC-421B-A80E-67ACC5454550}"/>
              </c:ext>
            </c:extLst>
          </c:dPt>
          <c:dPt>
            <c:idx val="7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2-82FC-421B-A80E-67ACC5454550}"/>
              </c:ext>
            </c:extLst>
          </c:dPt>
          <c:dPt>
            <c:idx val="7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3-82FC-421B-A80E-67ACC5454550}"/>
              </c:ext>
            </c:extLst>
          </c:dPt>
          <c:dPt>
            <c:idx val="7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4-82FC-421B-A80E-67ACC5454550}"/>
              </c:ext>
            </c:extLst>
          </c:dPt>
          <c:dPt>
            <c:idx val="7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5-82FC-421B-A80E-67ACC5454550}"/>
              </c:ext>
            </c:extLst>
          </c:dPt>
          <c:dPt>
            <c:idx val="7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6-82FC-421B-A80E-67ACC5454550}"/>
              </c:ext>
            </c:extLst>
          </c:dPt>
          <c:dPt>
            <c:idx val="7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7-82FC-421B-A80E-67ACC5454550}"/>
              </c:ext>
            </c:extLst>
          </c:dPt>
          <c:dPt>
            <c:idx val="7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8-82FC-421B-A80E-67ACC5454550}"/>
              </c:ext>
            </c:extLst>
          </c:dPt>
          <c:dPt>
            <c:idx val="7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9-82FC-421B-A80E-67ACC5454550}"/>
              </c:ext>
            </c:extLst>
          </c:dPt>
          <c:dPt>
            <c:idx val="7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A-82FC-421B-A80E-67ACC5454550}"/>
              </c:ext>
            </c:extLst>
          </c:dPt>
          <c:dPt>
            <c:idx val="7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B-82FC-421B-A80E-67ACC5454550}"/>
              </c:ext>
            </c:extLst>
          </c:dPt>
          <c:dPt>
            <c:idx val="7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C-82FC-421B-A80E-67ACC5454550}"/>
              </c:ext>
            </c:extLst>
          </c:dPt>
          <c:dPt>
            <c:idx val="7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D-82FC-421B-A80E-67ACC5454550}"/>
              </c:ext>
            </c:extLst>
          </c:dPt>
          <c:dPt>
            <c:idx val="7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E-82FC-421B-A80E-67ACC5454550}"/>
              </c:ext>
            </c:extLst>
          </c:dPt>
          <c:dPt>
            <c:idx val="7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5F-82FC-421B-A80E-67ACC5454550}"/>
              </c:ext>
            </c:extLst>
          </c:dPt>
          <c:dPt>
            <c:idx val="7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0-82FC-421B-A80E-67ACC5454550}"/>
              </c:ext>
            </c:extLst>
          </c:dPt>
          <c:dPt>
            <c:idx val="7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1-82FC-421B-A80E-67ACC5454550}"/>
              </c:ext>
            </c:extLst>
          </c:dPt>
          <c:dPt>
            <c:idx val="7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2-82FC-421B-A80E-67ACC5454550}"/>
              </c:ext>
            </c:extLst>
          </c:dPt>
          <c:dPt>
            <c:idx val="7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3-82FC-421B-A80E-67ACC5454550}"/>
              </c:ext>
            </c:extLst>
          </c:dPt>
          <c:dPt>
            <c:idx val="7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4-82FC-421B-A80E-67ACC5454550}"/>
              </c:ext>
            </c:extLst>
          </c:dPt>
          <c:dPt>
            <c:idx val="7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5-82FC-421B-A80E-67ACC5454550}"/>
              </c:ext>
            </c:extLst>
          </c:dPt>
          <c:dPt>
            <c:idx val="7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6-82FC-421B-A80E-67ACC5454550}"/>
              </c:ext>
            </c:extLst>
          </c:dPt>
          <c:dPt>
            <c:idx val="7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7-82FC-421B-A80E-67ACC5454550}"/>
              </c:ext>
            </c:extLst>
          </c:dPt>
          <c:dPt>
            <c:idx val="7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8-82FC-421B-A80E-67ACC5454550}"/>
              </c:ext>
            </c:extLst>
          </c:dPt>
          <c:dPt>
            <c:idx val="7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9-82FC-421B-A80E-67ACC5454550}"/>
              </c:ext>
            </c:extLst>
          </c:dPt>
          <c:dPt>
            <c:idx val="7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A-82FC-421B-A80E-67ACC5454550}"/>
              </c:ext>
            </c:extLst>
          </c:dPt>
          <c:dPt>
            <c:idx val="7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B-82FC-421B-A80E-67ACC5454550}"/>
              </c:ext>
            </c:extLst>
          </c:dPt>
          <c:dPt>
            <c:idx val="7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C-82FC-421B-A80E-67ACC5454550}"/>
              </c:ext>
            </c:extLst>
          </c:dPt>
          <c:dPt>
            <c:idx val="7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D-82FC-421B-A80E-67ACC5454550}"/>
              </c:ext>
            </c:extLst>
          </c:dPt>
          <c:dPt>
            <c:idx val="7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E-82FC-421B-A80E-67ACC5454550}"/>
              </c:ext>
            </c:extLst>
          </c:dPt>
          <c:dPt>
            <c:idx val="7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6F-82FC-421B-A80E-67ACC5454550}"/>
              </c:ext>
            </c:extLst>
          </c:dPt>
          <c:dPt>
            <c:idx val="7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0-82FC-421B-A80E-67ACC5454550}"/>
              </c:ext>
            </c:extLst>
          </c:dPt>
          <c:dPt>
            <c:idx val="7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1-82FC-421B-A80E-67ACC5454550}"/>
              </c:ext>
            </c:extLst>
          </c:dPt>
          <c:dPt>
            <c:idx val="7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2-82FC-421B-A80E-67ACC5454550}"/>
              </c:ext>
            </c:extLst>
          </c:dPt>
          <c:dPt>
            <c:idx val="7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3-82FC-421B-A80E-67ACC5454550}"/>
              </c:ext>
            </c:extLst>
          </c:dPt>
          <c:dPt>
            <c:idx val="7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4-82FC-421B-A80E-67ACC5454550}"/>
              </c:ext>
            </c:extLst>
          </c:dPt>
          <c:dPt>
            <c:idx val="7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5-82FC-421B-A80E-67ACC5454550}"/>
              </c:ext>
            </c:extLst>
          </c:dPt>
          <c:dPt>
            <c:idx val="7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6-82FC-421B-A80E-67ACC5454550}"/>
              </c:ext>
            </c:extLst>
          </c:dPt>
          <c:dPt>
            <c:idx val="7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7-82FC-421B-A80E-67ACC5454550}"/>
              </c:ext>
            </c:extLst>
          </c:dPt>
          <c:dPt>
            <c:idx val="7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8-82FC-421B-A80E-67ACC5454550}"/>
              </c:ext>
            </c:extLst>
          </c:dPt>
          <c:dPt>
            <c:idx val="7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9-82FC-421B-A80E-67ACC5454550}"/>
              </c:ext>
            </c:extLst>
          </c:dPt>
          <c:dPt>
            <c:idx val="7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A-82FC-421B-A80E-67ACC5454550}"/>
              </c:ext>
            </c:extLst>
          </c:dPt>
          <c:dPt>
            <c:idx val="7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B-82FC-421B-A80E-67ACC5454550}"/>
              </c:ext>
            </c:extLst>
          </c:dPt>
          <c:dPt>
            <c:idx val="7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C-82FC-421B-A80E-67ACC5454550}"/>
              </c:ext>
            </c:extLst>
          </c:dPt>
          <c:dPt>
            <c:idx val="7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D-82FC-421B-A80E-67ACC5454550}"/>
              </c:ext>
            </c:extLst>
          </c:dPt>
          <c:dPt>
            <c:idx val="7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E-82FC-421B-A80E-67ACC5454550}"/>
              </c:ext>
            </c:extLst>
          </c:dPt>
          <c:dPt>
            <c:idx val="7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7F-82FC-421B-A80E-67ACC5454550}"/>
              </c:ext>
            </c:extLst>
          </c:dPt>
          <c:dPt>
            <c:idx val="7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0-82FC-421B-A80E-67ACC5454550}"/>
              </c:ext>
            </c:extLst>
          </c:dPt>
          <c:dPt>
            <c:idx val="7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1-82FC-421B-A80E-67ACC5454550}"/>
              </c:ext>
            </c:extLst>
          </c:dPt>
          <c:dPt>
            <c:idx val="7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2-82FC-421B-A80E-67ACC5454550}"/>
              </c:ext>
            </c:extLst>
          </c:dPt>
          <c:dPt>
            <c:idx val="7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3-82FC-421B-A80E-67ACC5454550}"/>
              </c:ext>
            </c:extLst>
          </c:dPt>
          <c:dPt>
            <c:idx val="7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4-82FC-421B-A80E-67ACC5454550}"/>
              </c:ext>
            </c:extLst>
          </c:dPt>
          <c:dPt>
            <c:idx val="7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5-82FC-421B-A80E-67ACC5454550}"/>
              </c:ext>
            </c:extLst>
          </c:dPt>
          <c:dPt>
            <c:idx val="7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6-82FC-421B-A80E-67ACC5454550}"/>
              </c:ext>
            </c:extLst>
          </c:dPt>
          <c:dPt>
            <c:idx val="7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7-82FC-421B-A80E-67ACC5454550}"/>
              </c:ext>
            </c:extLst>
          </c:dPt>
          <c:dPt>
            <c:idx val="7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8-82FC-421B-A80E-67ACC5454550}"/>
              </c:ext>
            </c:extLst>
          </c:dPt>
          <c:dPt>
            <c:idx val="7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9-82FC-421B-A80E-67ACC5454550}"/>
              </c:ext>
            </c:extLst>
          </c:dPt>
          <c:dPt>
            <c:idx val="7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A-82FC-421B-A80E-67ACC5454550}"/>
              </c:ext>
            </c:extLst>
          </c:dPt>
          <c:dPt>
            <c:idx val="7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B-82FC-421B-A80E-67ACC5454550}"/>
              </c:ext>
            </c:extLst>
          </c:dPt>
          <c:dPt>
            <c:idx val="7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C-82FC-421B-A80E-67ACC5454550}"/>
              </c:ext>
            </c:extLst>
          </c:dPt>
          <c:dPt>
            <c:idx val="7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D-82FC-421B-A80E-67ACC5454550}"/>
              </c:ext>
            </c:extLst>
          </c:dPt>
          <c:dPt>
            <c:idx val="7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E-82FC-421B-A80E-67ACC5454550}"/>
              </c:ext>
            </c:extLst>
          </c:dPt>
          <c:dPt>
            <c:idx val="7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8F-82FC-421B-A80E-67ACC5454550}"/>
              </c:ext>
            </c:extLst>
          </c:dPt>
          <c:dPt>
            <c:idx val="7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0-82FC-421B-A80E-67ACC5454550}"/>
              </c:ext>
            </c:extLst>
          </c:dPt>
          <c:dPt>
            <c:idx val="7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1-82FC-421B-A80E-67ACC5454550}"/>
              </c:ext>
            </c:extLst>
          </c:dPt>
          <c:dPt>
            <c:idx val="7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2-82FC-421B-A80E-67ACC5454550}"/>
              </c:ext>
            </c:extLst>
          </c:dPt>
          <c:dPt>
            <c:idx val="7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3-82FC-421B-A80E-67ACC5454550}"/>
              </c:ext>
            </c:extLst>
          </c:dPt>
          <c:dPt>
            <c:idx val="7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4-82FC-421B-A80E-67ACC5454550}"/>
              </c:ext>
            </c:extLst>
          </c:dPt>
          <c:dPt>
            <c:idx val="7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5-82FC-421B-A80E-67ACC5454550}"/>
              </c:ext>
            </c:extLst>
          </c:dPt>
          <c:dPt>
            <c:idx val="7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6-82FC-421B-A80E-67ACC5454550}"/>
              </c:ext>
            </c:extLst>
          </c:dPt>
          <c:dPt>
            <c:idx val="7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7-82FC-421B-A80E-67ACC5454550}"/>
              </c:ext>
            </c:extLst>
          </c:dPt>
          <c:dPt>
            <c:idx val="7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8-82FC-421B-A80E-67ACC5454550}"/>
              </c:ext>
            </c:extLst>
          </c:dPt>
          <c:dPt>
            <c:idx val="7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9-82FC-421B-A80E-67ACC5454550}"/>
              </c:ext>
            </c:extLst>
          </c:dPt>
          <c:dPt>
            <c:idx val="7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A-82FC-421B-A80E-67ACC5454550}"/>
              </c:ext>
            </c:extLst>
          </c:dPt>
          <c:dPt>
            <c:idx val="7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B-82FC-421B-A80E-67ACC5454550}"/>
              </c:ext>
            </c:extLst>
          </c:dPt>
          <c:dPt>
            <c:idx val="8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C-82FC-421B-A80E-67ACC5454550}"/>
              </c:ext>
            </c:extLst>
          </c:dPt>
          <c:dPt>
            <c:idx val="8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D-82FC-421B-A80E-67ACC5454550}"/>
              </c:ext>
            </c:extLst>
          </c:dPt>
          <c:dPt>
            <c:idx val="8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E-82FC-421B-A80E-67ACC5454550}"/>
              </c:ext>
            </c:extLst>
          </c:dPt>
          <c:dPt>
            <c:idx val="8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9F-82FC-421B-A80E-67ACC5454550}"/>
              </c:ext>
            </c:extLst>
          </c:dPt>
          <c:dPt>
            <c:idx val="8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0-82FC-421B-A80E-67ACC5454550}"/>
              </c:ext>
            </c:extLst>
          </c:dPt>
          <c:dPt>
            <c:idx val="8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1-82FC-421B-A80E-67ACC5454550}"/>
              </c:ext>
            </c:extLst>
          </c:dPt>
          <c:dPt>
            <c:idx val="8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2-82FC-421B-A80E-67ACC5454550}"/>
              </c:ext>
            </c:extLst>
          </c:dPt>
          <c:dPt>
            <c:idx val="8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3-82FC-421B-A80E-67ACC5454550}"/>
              </c:ext>
            </c:extLst>
          </c:dPt>
          <c:dPt>
            <c:idx val="8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4-82FC-421B-A80E-67ACC5454550}"/>
              </c:ext>
            </c:extLst>
          </c:dPt>
          <c:dPt>
            <c:idx val="8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5-82FC-421B-A80E-67ACC5454550}"/>
              </c:ext>
            </c:extLst>
          </c:dPt>
          <c:dPt>
            <c:idx val="8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6-82FC-421B-A80E-67ACC5454550}"/>
              </c:ext>
            </c:extLst>
          </c:dPt>
          <c:dPt>
            <c:idx val="8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7-82FC-421B-A80E-67ACC5454550}"/>
              </c:ext>
            </c:extLst>
          </c:dPt>
          <c:dPt>
            <c:idx val="8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8-82FC-421B-A80E-67ACC5454550}"/>
              </c:ext>
            </c:extLst>
          </c:dPt>
          <c:dPt>
            <c:idx val="8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9-82FC-421B-A80E-67ACC5454550}"/>
              </c:ext>
            </c:extLst>
          </c:dPt>
          <c:dPt>
            <c:idx val="8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A-82FC-421B-A80E-67ACC5454550}"/>
              </c:ext>
            </c:extLst>
          </c:dPt>
          <c:dPt>
            <c:idx val="8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B-82FC-421B-A80E-67ACC5454550}"/>
              </c:ext>
            </c:extLst>
          </c:dPt>
          <c:dPt>
            <c:idx val="8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C-82FC-421B-A80E-67ACC5454550}"/>
              </c:ext>
            </c:extLst>
          </c:dPt>
          <c:dPt>
            <c:idx val="8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D-82FC-421B-A80E-67ACC5454550}"/>
              </c:ext>
            </c:extLst>
          </c:dPt>
          <c:dPt>
            <c:idx val="8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E-82FC-421B-A80E-67ACC5454550}"/>
              </c:ext>
            </c:extLst>
          </c:dPt>
          <c:dPt>
            <c:idx val="8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AF-82FC-421B-A80E-67ACC5454550}"/>
              </c:ext>
            </c:extLst>
          </c:dPt>
          <c:dPt>
            <c:idx val="8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0-82FC-421B-A80E-67ACC5454550}"/>
              </c:ext>
            </c:extLst>
          </c:dPt>
          <c:dPt>
            <c:idx val="8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1-82FC-421B-A80E-67ACC5454550}"/>
              </c:ext>
            </c:extLst>
          </c:dPt>
          <c:dPt>
            <c:idx val="8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2-82FC-421B-A80E-67ACC5454550}"/>
              </c:ext>
            </c:extLst>
          </c:dPt>
          <c:dPt>
            <c:idx val="8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3-82FC-421B-A80E-67ACC5454550}"/>
              </c:ext>
            </c:extLst>
          </c:dPt>
          <c:dPt>
            <c:idx val="8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4-82FC-421B-A80E-67ACC5454550}"/>
              </c:ext>
            </c:extLst>
          </c:dPt>
          <c:dPt>
            <c:idx val="8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5-82FC-421B-A80E-67ACC5454550}"/>
              </c:ext>
            </c:extLst>
          </c:dPt>
          <c:dPt>
            <c:idx val="8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6-82FC-421B-A80E-67ACC5454550}"/>
              </c:ext>
            </c:extLst>
          </c:dPt>
          <c:dPt>
            <c:idx val="8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7-82FC-421B-A80E-67ACC5454550}"/>
              </c:ext>
            </c:extLst>
          </c:dPt>
          <c:dPt>
            <c:idx val="8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8-82FC-421B-A80E-67ACC5454550}"/>
              </c:ext>
            </c:extLst>
          </c:dPt>
          <c:dPt>
            <c:idx val="8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9-82FC-421B-A80E-67ACC5454550}"/>
              </c:ext>
            </c:extLst>
          </c:dPt>
          <c:dPt>
            <c:idx val="8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A-82FC-421B-A80E-67ACC5454550}"/>
              </c:ext>
            </c:extLst>
          </c:dPt>
          <c:dPt>
            <c:idx val="8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B-82FC-421B-A80E-67ACC5454550}"/>
              </c:ext>
            </c:extLst>
          </c:dPt>
          <c:dPt>
            <c:idx val="8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C-82FC-421B-A80E-67ACC5454550}"/>
              </c:ext>
            </c:extLst>
          </c:dPt>
          <c:dPt>
            <c:idx val="8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D-82FC-421B-A80E-67ACC5454550}"/>
              </c:ext>
            </c:extLst>
          </c:dPt>
          <c:dPt>
            <c:idx val="8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E-82FC-421B-A80E-67ACC5454550}"/>
              </c:ext>
            </c:extLst>
          </c:dPt>
          <c:dPt>
            <c:idx val="8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BF-82FC-421B-A80E-67ACC5454550}"/>
              </c:ext>
            </c:extLst>
          </c:dPt>
          <c:dPt>
            <c:idx val="8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0-82FC-421B-A80E-67ACC5454550}"/>
              </c:ext>
            </c:extLst>
          </c:dPt>
          <c:dPt>
            <c:idx val="8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1-82FC-421B-A80E-67ACC5454550}"/>
              </c:ext>
            </c:extLst>
          </c:dPt>
          <c:dPt>
            <c:idx val="8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2-82FC-421B-A80E-67ACC5454550}"/>
              </c:ext>
            </c:extLst>
          </c:dPt>
          <c:dPt>
            <c:idx val="8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3-82FC-421B-A80E-67ACC5454550}"/>
              </c:ext>
            </c:extLst>
          </c:dPt>
          <c:dPt>
            <c:idx val="8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4-82FC-421B-A80E-67ACC5454550}"/>
              </c:ext>
            </c:extLst>
          </c:dPt>
          <c:dPt>
            <c:idx val="8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5-82FC-421B-A80E-67ACC5454550}"/>
              </c:ext>
            </c:extLst>
          </c:dPt>
          <c:dPt>
            <c:idx val="8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6-82FC-421B-A80E-67ACC5454550}"/>
              </c:ext>
            </c:extLst>
          </c:dPt>
          <c:dPt>
            <c:idx val="8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7-82FC-421B-A80E-67ACC5454550}"/>
              </c:ext>
            </c:extLst>
          </c:dPt>
          <c:dPt>
            <c:idx val="8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8-82FC-421B-A80E-67ACC5454550}"/>
              </c:ext>
            </c:extLst>
          </c:dPt>
          <c:dPt>
            <c:idx val="8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9-82FC-421B-A80E-67ACC5454550}"/>
              </c:ext>
            </c:extLst>
          </c:dPt>
          <c:dPt>
            <c:idx val="8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A-82FC-421B-A80E-67ACC5454550}"/>
              </c:ext>
            </c:extLst>
          </c:dPt>
          <c:dPt>
            <c:idx val="8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B-82FC-421B-A80E-67ACC5454550}"/>
              </c:ext>
            </c:extLst>
          </c:dPt>
          <c:dPt>
            <c:idx val="8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C-82FC-421B-A80E-67ACC5454550}"/>
              </c:ext>
            </c:extLst>
          </c:dPt>
          <c:dPt>
            <c:idx val="8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D-82FC-421B-A80E-67ACC5454550}"/>
              </c:ext>
            </c:extLst>
          </c:dPt>
          <c:dPt>
            <c:idx val="8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E-82FC-421B-A80E-67ACC5454550}"/>
              </c:ext>
            </c:extLst>
          </c:dPt>
          <c:dPt>
            <c:idx val="8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CF-82FC-421B-A80E-67ACC5454550}"/>
              </c:ext>
            </c:extLst>
          </c:dPt>
          <c:dPt>
            <c:idx val="8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0-82FC-421B-A80E-67ACC5454550}"/>
              </c:ext>
            </c:extLst>
          </c:dPt>
          <c:dPt>
            <c:idx val="8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1-82FC-421B-A80E-67ACC5454550}"/>
              </c:ext>
            </c:extLst>
          </c:dPt>
          <c:dPt>
            <c:idx val="8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2-82FC-421B-A80E-67ACC5454550}"/>
              </c:ext>
            </c:extLst>
          </c:dPt>
          <c:dPt>
            <c:idx val="8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3-82FC-421B-A80E-67ACC5454550}"/>
              </c:ext>
            </c:extLst>
          </c:dPt>
          <c:dPt>
            <c:idx val="8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4-82FC-421B-A80E-67ACC5454550}"/>
              </c:ext>
            </c:extLst>
          </c:dPt>
          <c:dPt>
            <c:idx val="8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5-82FC-421B-A80E-67ACC5454550}"/>
              </c:ext>
            </c:extLst>
          </c:dPt>
          <c:dPt>
            <c:idx val="8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6-82FC-421B-A80E-67ACC5454550}"/>
              </c:ext>
            </c:extLst>
          </c:dPt>
          <c:dPt>
            <c:idx val="8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7-82FC-421B-A80E-67ACC5454550}"/>
              </c:ext>
            </c:extLst>
          </c:dPt>
          <c:dPt>
            <c:idx val="8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8-82FC-421B-A80E-67ACC5454550}"/>
              </c:ext>
            </c:extLst>
          </c:dPt>
          <c:dPt>
            <c:idx val="8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9-82FC-421B-A80E-67ACC5454550}"/>
              </c:ext>
            </c:extLst>
          </c:dPt>
          <c:dPt>
            <c:idx val="8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A-82FC-421B-A80E-67ACC5454550}"/>
              </c:ext>
            </c:extLst>
          </c:dPt>
          <c:dPt>
            <c:idx val="8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B-82FC-421B-A80E-67ACC5454550}"/>
              </c:ext>
            </c:extLst>
          </c:dPt>
          <c:dPt>
            <c:idx val="8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C-82FC-421B-A80E-67ACC5454550}"/>
              </c:ext>
            </c:extLst>
          </c:dPt>
          <c:dPt>
            <c:idx val="8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D-82FC-421B-A80E-67ACC5454550}"/>
              </c:ext>
            </c:extLst>
          </c:dPt>
          <c:dPt>
            <c:idx val="8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E-82FC-421B-A80E-67ACC5454550}"/>
              </c:ext>
            </c:extLst>
          </c:dPt>
          <c:dPt>
            <c:idx val="8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DF-82FC-421B-A80E-67ACC5454550}"/>
              </c:ext>
            </c:extLst>
          </c:dPt>
          <c:dPt>
            <c:idx val="8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0-82FC-421B-A80E-67ACC5454550}"/>
              </c:ext>
            </c:extLst>
          </c:dPt>
          <c:dPt>
            <c:idx val="8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1-82FC-421B-A80E-67ACC5454550}"/>
              </c:ext>
            </c:extLst>
          </c:dPt>
          <c:dPt>
            <c:idx val="8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2-82FC-421B-A80E-67ACC5454550}"/>
              </c:ext>
            </c:extLst>
          </c:dPt>
          <c:dPt>
            <c:idx val="8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3-82FC-421B-A80E-67ACC5454550}"/>
              </c:ext>
            </c:extLst>
          </c:dPt>
          <c:dPt>
            <c:idx val="8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4-82FC-421B-A80E-67ACC5454550}"/>
              </c:ext>
            </c:extLst>
          </c:dPt>
          <c:dPt>
            <c:idx val="8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5-82FC-421B-A80E-67ACC5454550}"/>
              </c:ext>
            </c:extLst>
          </c:dPt>
          <c:dPt>
            <c:idx val="8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6-82FC-421B-A80E-67ACC5454550}"/>
              </c:ext>
            </c:extLst>
          </c:dPt>
          <c:dPt>
            <c:idx val="8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7-82FC-421B-A80E-67ACC5454550}"/>
              </c:ext>
            </c:extLst>
          </c:dPt>
          <c:dPt>
            <c:idx val="8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8-82FC-421B-A80E-67ACC5454550}"/>
              </c:ext>
            </c:extLst>
          </c:dPt>
          <c:dPt>
            <c:idx val="8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9-82FC-421B-A80E-67ACC5454550}"/>
              </c:ext>
            </c:extLst>
          </c:dPt>
          <c:dPt>
            <c:idx val="8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A-82FC-421B-A80E-67ACC5454550}"/>
              </c:ext>
            </c:extLst>
          </c:dPt>
          <c:dPt>
            <c:idx val="8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B-82FC-421B-A80E-67ACC5454550}"/>
              </c:ext>
            </c:extLst>
          </c:dPt>
          <c:dPt>
            <c:idx val="8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C-82FC-421B-A80E-67ACC5454550}"/>
              </c:ext>
            </c:extLst>
          </c:dPt>
          <c:dPt>
            <c:idx val="8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D-82FC-421B-A80E-67ACC5454550}"/>
              </c:ext>
            </c:extLst>
          </c:dPt>
          <c:dPt>
            <c:idx val="8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E-82FC-421B-A80E-67ACC5454550}"/>
              </c:ext>
            </c:extLst>
          </c:dPt>
          <c:dPt>
            <c:idx val="8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EF-82FC-421B-A80E-67ACC5454550}"/>
              </c:ext>
            </c:extLst>
          </c:dPt>
          <c:dPt>
            <c:idx val="8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0-82FC-421B-A80E-67ACC5454550}"/>
              </c:ext>
            </c:extLst>
          </c:dPt>
          <c:dPt>
            <c:idx val="8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1-82FC-421B-A80E-67ACC5454550}"/>
              </c:ext>
            </c:extLst>
          </c:dPt>
          <c:dPt>
            <c:idx val="8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2-82FC-421B-A80E-67ACC5454550}"/>
              </c:ext>
            </c:extLst>
          </c:dPt>
          <c:dPt>
            <c:idx val="8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3-82FC-421B-A80E-67ACC5454550}"/>
              </c:ext>
            </c:extLst>
          </c:dPt>
          <c:dPt>
            <c:idx val="8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4-82FC-421B-A80E-67ACC5454550}"/>
              </c:ext>
            </c:extLst>
          </c:dPt>
          <c:dPt>
            <c:idx val="8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5-82FC-421B-A80E-67ACC5454550}"/>
              </c:ext>
            </c:extLst>
          </c:dPt>
          <c:dPt>
            <c:idx val="8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6-82FC-421B-A80E-67ACC5454550}"/>
              </c:ext>
            </c:extLst>
          </c:dPt>
          <c:dPt>
            <c:idx val="8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7-82FC-421B-A80E-67ACC5454550}"/>
              </c:ext>
            </c:extLst>
          </c:dPt>
          <c:dPt>
            <c:idx val="8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8-82FC-421B-A80E-67ACC5454550}"/>
              </c:ext>
            </c:extLst>
          </c:dPt>
          <c:cat>
            <c:numRef>
              <c:f>EMU!$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EMU!$DZ$9:$DZ$901</c:f>
              <c:numCache>
                <c:formatCode>0.00</c:formatCode>
                <c:ptCount val="893"/>
                <c:pt idx="0">
                  <c:v>15.588861057246371</c:v>
                </c:pt>
                <c:pt idx="1">
                  <c:v>15.588861057246371</c:v>
                </c:pt>
                <c:pt idx="2">
                  <c:v>15.588861057246371</c:v>
                </c:pt>
                <c:pt idx="3">
                  <c:v>15.588861057246371</c:v>
                </c:pt>
                <c:pt idx="4">
                  <c:v>15.588861057246371</c:v>
                </c:pt>
                <c:pt idx="5">
                  <c:v>15.588861057246371</c:v>
                </c:pt>
                <c:pt idx="6">
                  <c:v>15.588861057246371</c:v>
                </c:pt>
                <c:pt idx="7">
                  <c:v>15.588861057246371</c:v>
                </c:pt>
                <c:pt idx="8">
                  <c:v>15.588861057246371</c:v>
                </c:pt>
                <c:pt idx="9">
                  <c:v>15.588861057246371</c:v>
                </c:pt>
                <c:pt idx="10">
                  <c:v>15.588861057246371</c:v>
                </c:pt>
                <c:pt idx="11">
                  <c:v>15.588861057246371</c:v>
                </c:pt>
                <c:pt idx="12">
                  <c:v>15.588861057246371</c:v>
                </c:pt>
                <c:pt idx="13">
                  <c:v>15.588861057246371</c:v>
                </c:pt>
                <c:pt idx="14">
                  <c:v>15.588861057246371</c:v>
                </c:pt>
                <c:pt idx="15">
                  <c:v>15.588861057246371</c:v>
                </c:pt>
                <c:pt idx="16">
                  <c:v>15.588861057246371</c:v>
                </c:pt>
                <c:pt idx="17">
                  <c:v>15.588861057246371</c:v>
                </c:pt>
                <c:pt idx="18">
                  <c:v>15.588861057246371</c:v>
                </c:pt>
                <c:pt idx="19">
                  <c:v>15.588861057246371</c:v>
                </c:pt>
                <c:pt idx="20">
                  <c:v>15.588861057246371</c:v>
                </c:pt>
                <c:pt idx="21">
                  <c:v>15.588861057246371</c:v>
                </c:pt>
                <c:pt idx="22">
                  <c:v>15.588861057246371</c:v>
                </c:pt>
                <c:pt idx="23">
                  <c:v>15.588861057246371</c:v>
                </c:pt>
                <c:pt idx="24">
                  <c:v>15.588861057246371</c:v>
                </c:pt>
                <c:pt idx="25">
                  <c:v>15.588861057246371</c:v>
                </c:pt>
                <c:pt idx="26">
                  <c:v>15.588861057246371</c:v>
                </c:pt>
                <c:pt idx="27">
                  <c:v>15.588861057246371</c:v>
                </c:pt>
                <c:pt idx="28">
                  <c:v>15.588861057246371</c:v>
                </c:pt>
                <c:pt idx="29">
                  <c:v>15.588861057246371</c:v>
                </c:pt>
                <c:pt idx="30">
                  <c:v>15.588861057246371</c:v>
                </c:pt>
                <c:pt idx="31">
                  <c:v>15.588861057246371</c:v>
                </c:pt>
                <c:pt idx="32">
                  <c:v>15.588861057246371</c:v>
                </c:pt>
                <c:pt idx="33">
                  <c:v>15.588861057246371</c:v>
                </c:pt>
                <c:pt idx="34">
                  <c:v>15.588861057246371</c:v>
                </c:pt>
                <c:pt idx="35">
                  <c:v>15.588861057246371</c:v>
                </c:pt>
                <c:pt idx="36">
                  <c:v>15.588861057246371</c:v>
                </c:pt>
                <c:pt idx="37">
                  <c:v>15.588861057246371</c:v>
                </c:pt>
                <c:pt idx="38">
                  <c:v>15.588861057246371</c:v>
                </c:pt>
                <c:pt idx="39">
                  <c:v>15.588861057246371</c:v>
                </c:pt>
                <c:pt idx="40">
                  <c:v>15.588861057246371</c:v>
                </c:pt>
                <c:pt idx="41">
                  <c:v>15.588861057246371</c:v>
                </c:pt>
                <c:pt idx="42">
                  <c:v>15.588861057246371</c:v>
                </c:pt>
                <c:pt idx="43">
                  <c:v>15.588861057246371</c:v>
                </c:pt>
                <c:pt idx="44">
                  <c:v>15.588861057246371</c:v>
                </c:pt>
                <c:pt idx="45">
                  <c:v>15.588861057246371</c:v>
                </c:pt>
                <c:pt idx="46">
                  <c:v>15.588861057246371</c:v>
                </c:pt>
                <c:pt idx="47">
                  <c:v>15.588861057246371</c:v>
                </c:pt>
                <c:pt idx="48">
                  <c:v>15.588861057246371</c:v>
                </c:pt>
                <c:pt idx="49">
                  <c:v>15.588861057246371</c:v>
                </c:pt>
                <c:pt idx="50">
                  <c:v>15.588861057246371</c:v>
                </c:pt>
                <c:pt idx="51">
                  <c:v>15.588861057246371</c:v>
                </c:pt>
                <c:pt idx="52">
                  <c:v>15.588861057246371</c:v>
                </c:pt>
                <c:pt idx="53">
                  <c:v>15.588861057246371</c:v>
                </c:pt>
                <c:pt idx="54">
                  <c:v>15.588861057246371</c:v>
                </c:pt>
                <c:pt idx="55">
                  <c:v>15.588861057246371</c:v>
                </c:pt>
                <c:pt idx="56">
                  <c:v>15.588861057246371</c:v>
                </c:pt>
                <c:pt idx="57">
                  <c:v>15.588861057246371</c:v>
                </c:pt>
                <c:pt idx="58">
                  <c:v>15.588861057246371</c:v>
                </c:pt>
                <c:pt idx="59">
                  <c:v>15.588861057246371</c:v>
                </c:pt>
                <c:pt idx="60">
                  <c:v>15.588861057246371</c:v>
                </c:pt>
                <c:pt idx="61">
                  <c:v>15.588861057246371</c:v>
                </c:pt>
                <c:pt idx="62">
                  <c:v>15.588861057246371</c:v>
                </c:pt>
                <c:pt idx="63">
                  <c:v>15.588861057246371</c:v>
                </c:pt>
                <c:pt idx="64">
                  <c:v>15.588861057246371</c:v>
                </c:pt>
                <c:pt idx="65">
                  <c:v>15.588861057246371</c:v>
                </c:pt>
                <c:pt idx="66">
                  <c:v>15.588861057246371</c:v>
                </c:pt>
                <c:pt idx="67">
                  <c:v>15.588861057246371</c:v>
                </c:pt>
                <c:pt idx="68">
                  <c:v>15.588861057246371</c:v>
                </c:pt>
                <c:pt idx="69">
                  <c:v>15.588861057246371</c:v>
                </c:pt>
                <c:pt idx="70">
                  <c:v>15.588861057246371</c:v>
                </c:pt>
                <c:pt idx="71">
                  <c:v>15.588861057246371</c:v>
                </c:pt>
                <c:pt idx="72">
                  <c:v>15.588861057246371</c:v>
                </c:pt>
                <c:pt idx="73">
                  <c:v>15.588861057246371</c:v>
                </c:pt>
                <c:pt idx="74">
                  <c:v>15.588861057246371</c:v>
                </c:pt>
                <c:pt idx="75">
                  <c:v>15.588861057246371</c:v>
                </c:pt>
                <c:pt idx="76">
                  <c:v>15.588861057246371</c:v>
                </c:pt>
                <c:pt idx="77">
                  <c:v>15.588861057246371</c:v>
                </c:pt>
                <c:pt idx="78">
                  <c:v>15.588861057246371</c:v>
                </c:pt>
                <c:pt idx="79">
                  <c:v>15.588861057246371</c:v>
                </c:pt>
                <c:pt idx="80">
                  <c:v>15.588861057246371</c:v>
                </c:pt>
                <c:pt idx="81">
                  <c:v>15.588861057246371</c:v>
                </c:pt>
                <c:pt idx="82">
                  <c:v>15.588861057246371</c:v>
                </c:pt>
                <c:pt idx="83">
                  <c:v>15.588861057246371</c:v>
                </c:pt>
                <c:pt idx="84">
                  <c:v>15.588861057246371</c:v>
                </c:pt>
                <c:pt idx="85">
                  <c:v>15.588861057246371</c:v>
                </c:pt>
                <c:pt idx="86">
                  <c:v>15.588861057246371</c:v>
                </c:pt>
                <c:pt idx="87">
                  <c:v>15.588861057246371</c:v>
                </c:pt>
                <c:pt idx="88">
                  <c:v>15.588861057246371</c:v>
                </c:pt>
                <c:pt idx="89">
                  <c:v>15.588861057246371</c:v>
                </c:pt>
                <c:pt idx="90">
                  <c:v>15.588861057246371</c:v>
                </c:pt>
                <c:pt idx="91">
                  <c:v>15.588861057246371</c:v>
                </c:pt>
                <c:pt idx="92">
                  <c:v>15.588861057246371</c:v>
                </c:pt>
                <c:pt idx="93">
                  <c:v>15.588861057246371</c:v>
                </c:pt>
                <c:pt idx="94">
                  <c:v>15.588861057246371</c:v>
                </c:pt>
                <c:pt idx="95">
                  <c:v>15.588861057246371</c:v>
                </c:pt>
                <c:pt idx="96">
                  <c:v>15.588861057246371</c:v>
                </c:pt>
                <c:pt idx="97">
                  <c:v>15.588861057246371</c:v>
                </c:pt>
                <c:pt idx="98">
                  <c:v>15.588861057246371</c:v>
                </c:pt>
                <c:pt idx="99">
                  <c:v>15.588861057246371</c:v>
                </c:pt>
                <c:pt idx="100">
                  <c:v>15.588861057246371</c:v>
                </c:pt>
                <c:pt idx="101">
                  <c:v>15.588861057246371</c:v>
                </c:pt>
                <c:pt idx="102">
                  <c:v>15.588861057246371</c:v>
                </c:pt>
                <c:pt idx="103">
                  <c:v>15.588861057246371</c:v>
                </c:pt>
                <c:pt idx="104">
                  <c:v>15.588861057246371</c:v>
                </c:pt>
                <c:pt idx="105">
                  <c:v>15.588861057246371</c:v>
                </c:pt>
                <c:pt idx="106">
                  <c:v>15.588861057246371</c:v>
                </c:pt>
                <c:pt idx="107">
                  <c:v>15.588861057246371</c:v>
                </c:pt>
                <c:pt idx="108">
                  <c:v>15.588861057246371</c:v>
                </c:pt>
                <c:pt idx="109">
                  <c:v>15.588861057246371</c:v>
                </c:pt>
                <c:pt idx="110">
                  <c:v>15.588861057246371</c:v>
                </c:pt>
                <c:pt idx="111">
                  <c:v>15.588861057246371</c:v>
                </c:pt>
                <c:pt idx="112">
                  <c:v>15.588861057246371</c:v>
                </c:pt>
                <c:pt idx="113">
                  <c:v>15.588861057246371</c:v>
                </c:pt>
                <c:pt idx="114">
                  <c:v>15.588861057246371</c:v>
                </c:pt>
                <c:pt idx="115">
                  <c:v>15.588861057246371</c:v>
                </c:pt>
                <c:pt idx="116">
                  <c:v>15.588861057246371</c:v>
                </c:pt>
                <c:pt idx="117">
                  <c:v>15.588861057246371</c:v>
                </c:pt>
                <c:pt idx="118">
                  <c:v>15.588861057246371</c:v>
                </c:pt>
                <c:pt idx="119">
                  <c:v>15.588861057246371</c:v>
                </c:pt>
                <c:pt idx="120">
                  <c:v>15.588861057246371</c:v>
                </c:pt>
                <c:pt idx="121">
                  <c:v>15.588861057246371</c:v>
                </c:pt>
                <c:pt idx="122">
                  <c:v>15.588861057246371</c:v>
                </c:pt>
                <c:pt idx="123">
                  <c:v>15.588861057246371</c:v>
                </c:pt>
                <c:pt idx="124">
                  <c:v>15.588861057246371</c:v>
                </c:pt>
                <c:pt idx="125">
                  <c:v>15.588861057246371</c:v>
                </c:pt>
                <c:pt idx="126">
                  <c:v>15.588861057246371</c:v>
                </c:pt>
                <c:pt idx="127">
                  <c:v>15.588861057246371</c:v>
                </c:pt>
                <c:pt idx="128">
                  <c:v>15.588861057246371</c:v>
                </c:pt>
                <c:pt idx="129">
                  <c:v>15.588861057246371</c:v>
                </c:pt>
                <c:pt idx="130">
                  <c:v>15.588861057246371</c:v>
                </c:pt>
                <c:pt idx="131">
                  <c:v>15.588861057246371</c:v>
                </c:pt>
                <c:pt idx="132">
                  <c:v>15.588861057246371</c:v>
                </c:pt>
                <c:pt idx="133">
                  <c:v>15.588861057246371</c:v>
                </c:pt>
                <c:pt idx="134">
                  <c:v>15.588861057246371</c:v>
                </c:pt>
                <c:pt idx="135">
                  <c:v>15.588861057246371</c:v>
                </c:pt>
                <c:pt idx="136">
                  <c:v>15.588861057246371</c:v>
                </c:pt>
                <c:pt idx="137">
                  <c:v>15.588861057246371</c:v>
                </c:pt>
                <c:pt idx="138">
                  <c:v>15.588861057246371</c:v>
                </c:pt>
                <c:pt idx="139">
                  <c:v>15.588861057246371</c:v>
                </c:pt>
                <c:pt idx="140">
                  <c:v>15.588861057246371</c:v>
                </c:pt>
                <c:pt idx="141">
                  <c:v>15.588861057246371</c:v>
                </c:pt>
                <c:pt idx="142">
                  <c:v>15.588861057246371</c:v>
                </c:pt>
                <c:pt idx="143">
                  <c:v>15.588861057246371</c:v>
                </c:pt>
                <c:pt idx="144">
                  <c:v>15.588861057246371</c:v>
                </c:pt>
                <c:pt idx="145">
                  <c:v>15.588861057246371</c:v>
                </c:pt>
                <c:pt idx="146">
                  <c:v>15.588861057246371</c:v>
                </c:pt>
                <c:pt idx="147">
                  <c:v>15.588861057246371</c:v>
                </c:pt>
                <c:pt idx="148">
                  <c:v>15.588861057246371</c:v>
                </c:pt>
                <c:pt idx="149">
                  <c:v>15.588861057246371</c:v>
                </c:pt>
                <c:pt idx="150">
                  <c:v>15.588861057246371</c:v>
                </c:pt>
                <c:pt idx="151">
                  <c:v>15.588861057246371</c:v>
                </c:pt>
                <c:pt idx="152">
                  <c:v>15.588861057246371</c:v>
                </c:pt>
                <c:pt idx="153">
                  <c:v>15.588861057246371</c:v>
                </c:pt>
                <c:pt idx="154">
                  <c:v>15.588861057246371</c:v>
                </c:pt>
                <c:pt idx="155">
                  <c:v>15.588861057246371</c:v>
                </c:pt>
                <c:pt idx="156">
                  <c:v>15.588861057246371</c:v>
                </c:pt>
                <c:pt idx="157">
                  <c:v>15.588861057246371</c:v>
                </c:pt>
                <c:pt idx="158">
                  <c:v>15.588861057246371</c:v>
                </c:pt>
                <c:pt idx="159">
                  <c:v>15.588861057246371</c:v>
                </c:pt>
                <c:pt idx="160">
                  <c:v>15.588861057246371</c:v>
                </c:pt>
                <c:pt idx="161">
                  <c:v>15.588861057246371</c:v>
                </c:pt>
                <c:pt idx="162">
                  <c:v>15.588861057246371</c:v>
                </c:pt>
                <c:pt idx="163">
                  <c:v>15.588861057246371</c:v>
                </c:pt>
                <c:pt idx="164">
                  <c:v>15.588861057246371</c:v>
                </c:pt>
                <c:pt idx="165">
                  <c:v>15.588861057246371</c:v>
                </c:pt>
                <c:pt idx="166">
                  <c:v>15.588861057246371</c:v>
                </c:pt>
                <c:pt idx="167">
                  <c:v>15.588861057246371</c:v>
                </c:pt>
                <c:pt idx="168">
                  <c:v>15.588861057246371</c:v>
                </c:pt>
                <c:pt idx="169">
                  <c:v>15.588861057246371</c:v>
                </c:pt>
                <c:pt idx="170">
                  <c:v>15.588861057246371</c:v>
                </c:pt>
                <c:pt idx="171">
                  <c:v>15.588861057246371</c:v>
                </c:pt>
                <c:pt idx="172">
                  <c:v>15.588861057246371</c:v>
                </c:pt>
                <c:pt idx="173">
                  <c:v>15.588861057246371</c:v>
                </c:pt>
                <c:pt idx="174">
                  <c:v>15.588861057246371</c:v>
                </c:pt>
                <c:pt idx="175">
                  <c:v>15.588861057246371</c:v>
                </c:pt>
                <c:pt idx="176">
                  <c:v>15.588861057246371</c:v>
                </c:pt>
                <c:pt idx="177">
                  <c:v>15.588861057246371</c:v>
                </c:pt>
                <c:pt idx="178">
                  <c:v>15.588861057246371</c:v>
                </c:pt>
                <c:pt idx="179">
                  <c:v>15.588861057246371</c:v>
                </c:pt>
                <c:pt idx="180">
                  <c:v>15.588861057246371</c:v>
                </c:pt>
                <c:pt idx="181">
                  <c:v>15.588861057246371</c:v>
                </c:pt>
                <c:pt idx="182">
                  <c:v>15.588861057246371</c:v>
                </c:pt>
                <c:pt idx="183">
                  <c:v>15.588861057246371</c:v>
                </c:pt>
                <c:pt idx="184">
                  <c:v>15.588861057246371</c:v>
                </c:pt>
                <c:pt idx="185">
                  <c:v>15.588861057246371</c:v>
                </c:pt>
                <c:pt idx="186">
                  <c:v>15.588861057246371</c:v>
                </c:pt>
                <c:pt idx="187">
                  <c:v>15.588861057246371</c:v>
                </c:pt>
                <c:pt idx="188">
                  <c:v>15.588861057246371</c:v>
                </c:pt>
                <c:pt idx="189">
                  <c:v>15.588861057246371</c:v>
                </c:pt>
                <c:pt idx="190">
                  <c:v>15.588861057246371</c:v>
                </c:pt>
                <c:pt idx="191">
                  <c:v>15.588861057246371</c:v>
                </c:pt>
                <c:pt idx="192">
                  <c:v>15.588861057246371</c:v>
                </c:pt>
                <c:pt idx="193">
                  <c:v>15.588861057246371</c:v>
                </c:pt>
                <c:pt idx="194">
                  <c:v>15.588861057246371</c:v>
                </c:pt>
                <c:pt idx="195">
                  <c:v>15.588861057246371</c:v>
                </c:pt>
                <c:pt idx="196">
                  <c:v>15.588861057246371</c:v>
                </c:pt>
                <c:pt idx="197">
                  <c:v>15.588861057246371</c:v>
                </c:pt>
                <c:pt idx="198">
                  <c:v>15.588861057246371</c:v>
                </c:pt>
                <c:pt idx="199">
                  <c:v>15.588861057246371</c:v>
                </c:pt>
                <c:pt idx="200">
                  <c:v>15.588861057246371</c:v>
                </c:pt>
                <c:pt idx="201">
                  <c:v>15.588861057246371</c:v>
                </c:pt>
                <c:pt idx="202">
                  <c:v>15.588861057246371</c:v>
                </c:pt>
                <c:pt idx="203">
                  <c:v>15.588861057246371</c:v>
                </c:pt>
                <c:pt idx="204">
                  <c:v>15.588861057246371</c:v>
                </c:pt>
                <c:pt idx="205">
                  <c:v>15.588861057246371</c:v>
                </c:pt>
                <c:pt idx="206">
                  <c:v>15.588861057246371</c:v>
                </c:pt>
                <c:pt idx="207">
                  <c:v>15.588861057246371</c:v>
                </c:pt>
                <c:pt idx="208">
                  <c:v>15.588861057246371</c:v>
                </c:pt>
                <c:pt idx="209">
                  <c:v>15.588861057246371</c:v>
                </c:pt>
                <c:pt idx="210">
                  <c:v>15.588861057246371</c:v>
                </c:pt>
                <c:pt idx="211">
                  <c:v>15.588861057246371</c:v>
                </c:pt>
                <c:pt idx="212">
                  <c:v>15.588861057246371</c:v>
                </c:pt>
                <c:pt idx="213">
                  <c:v>15.588861057246371</c:v>
                </c:pt>
                <c:pt idx="214">
                  <c:v>15.588861057246371</c:v>
                </c:pt>
                <c:pt idx="215">
                  <c:v>15.588861057246371</c:v>
                </c:pt>
                <c:pt idx="216">
                  <c:v>15.588861057246371</c:v>
                </c:pt>
                <c:pt idx="217">
                  <c:v>15.588861057246371</c:v>
                </c:pt>
                <c:pt idx="218">
                  <c:v>15.588861057246371</c:v>
                </c:pt>
                <c:pt idx="219">
                  <c:v>15.588861057246371</c:v>
                </c:pt>
                <c:pt idx="220">
                  <c:v>15.588861057246371</c:v>
                </c:pt>
                <c:pt idx="221">
                  <c:v>15.588861057246371</c:v>
                </c:pt>
                <c:pt idx="222">
                  <c:v>15.588861057246371</c:v>
                </c:pt>
                <c:pt idx="223">
                  <c:v>15.588861057246371</c:v>
                </c:pt>
                <c:pt idx="224">
                  <c:v>15.588861057246371</c:v>
                </c:pt>
                <c:pt idx="225">
                  <c:v>15.588861057246371</c:v>
                </c:pt>
                <c:pt idx="226">
                  <c:v>15.588861057246371</c:v>
                </c:pt>
                <c:pt idx="227">
                  <c:v>15.588861057246371</c:v>
                </c:pt>
                <c:pt idx="228">
                  <c:v>15.588861057246371</c:v>
                </c:pt>
                <c:pt idx="229">
                  <c:v>15.588861057246371</c:v>
                </c:pt>
                <c:pt idx="230">
                  <c:v>15.588861057246371</c:v>
                </c:pt>
                <c:pt idx="231">
                  <c:v>15.588861057246371</c:v>
                </c:pt>
                <c:pt idx="232">
                  <c:v>15.588861057246371</c:v>
                </c:pt>
                <c:pt idx="233">
                  <c:v>15.588861057246371</c:v>
                </c:pt>
                <c:pt idx="234">
                  <c:v>15.588861057246371</c:v>
                </c:pt>
                <c:pt idx="235">
                  <c:v>15.588861057246371</c:v>
                </c:pt>
                <c:pt idx="236">
                  <c:v>15.588861057246371</c:v>
                </c:pt>
                <c:pt idx="237">
                  <c:v>15.588861057246371</c:v>
                </c:pt>
                <c:pt idx="238">
                  <c:v>15.588861057246371</c:v>
                </c:pt>
                <c:pt idx="239">
                  <c:v>15.588861057246371</c:v>
                </c:pt>
                <c:pt idx="240">
                  <c:v>15.588861057246371</c:v>
                </c:pt>
                <c:pt idx="241">
                  <c:v>15.588861057246371</c:v>
                </c:pt>
                <c:pt idx="242">
                  <c:v>15.588861057246371</c:v>
                </c:pt>
                <c:pt idx="243">
                  <c:v>15.588861057246371</c:v>
                </c:pt>
                <c:pt idx="244">
                  <c:v>15.588861057246371</c:v>
                </c:pt>
                <c:pt idx="245">
                  <c:v>15.588861057246371</c:v>
                </c:pt>
                <c:pt idx="246">
                  <c:v>15.588861057246371</c:v>
                </c:pt>
                <c:pt idx="247">
                  <c:v>15.588861057246371</c:v>
                </c:pt>
                <c:pt idx="248">
                  <c:v>15.588861057246371</c:v>
                </c:pt>
                <c:pt idx="249">
                  <c:v>15.588861057246371</c:v>
                </c:pt>
                <c:pt idx="250">
                  <c:v>15.588861057246371</c:v>
                </c:pt>
                <c:pt idx="251">
                  <c:v>15.588861057246371</c:v>
                </c:pt>
                <c:pt idx="252">
                  <c:v>15.588861057246371</c:v>
                </c:pt>
                <c:pt idx="253">
                  <c:v>15.588861057246371</c:v>
                </c:pt>
                <c:pt idx="254">
                  <c:v>15.588861057246371</c:v>
                </c:pt>
                <c:pt idx="255">
                  <c:v>15.588861057246371</c:v>
                </c:pt>
                <c:pt idx="256">
                  <c:v>15.588861057246371</c:v>
                </c:pt>
                <c:pt idx="257">
                  <c:v>15.588861057246371</c:v>
                </c:pt>
                <c:pt idx="258">
                  <c:v>15.588861057246371</c:v>
                </c:pt>
                <c:pt idx="259">
                  <c:v>15.588861057246371</c:v>
                </c:pt>
                <c:pt idx="260">
                  <c:v>15.588861057246371</c:v>
                </c:pt>
                <c:pt idx="261">
                  <c:v>15.588861057246371</c:v>
                </c:pt>
                <c:pt idx="262">
                  <c:v>15.588861057246371</c:v>
                </c:pt>
                <c:pt idx="263">
                  <c:v>15.588861057246371</c:v>
                </c:pt>
                <c:pt idx="264">
                  <c:v>15.588861057246371</c:v>
                </c:pt>
                <c:pt idx="265">
                  <c:v>15.588861057246371</c:v>
                </c:pt>
                <c:pt idx="266">
                  <c:v>15.588861057246371</c:v>
                </c:pt>
                <c:pt idx="267">
                  <c:v>15.588861057246371</c:v>
                </c:pt>
                <c:pt idx="268">
                  <c:v>15.588861057246371</c:v>
                </c:pt>
                <c:pt idx="269">
                  <c:v>15.588861057246371</c:v>
                </c:pt>
                <c:pt idx="270">
                  <c:v>15.588861057246371</c:v>
                </c:pt>
                <c:pt idx="271">
                  <c:v>15.588861057246371</c:v>
                </c:pt>
                <c:pt idx="272">
                  <c:v>15.588861057246371</c:v>
                </c:pt>
                <c:pt idx="273">
                  <c:v>15.588861057246371</c:v>
                </c:pt>
                <c:pt idx="274">
                  <c:v>15.588861057246371</c:v>
                </c:pt>
                <c:pt idx="275">
                  <c:v>15.588861057246371</c:v>
                </c:pt>
                <c:pt idx="276">
                  <c:v>15.588861057246371</c:v>
                </c:pt>
                <c:pt idx="277">
                  <c:v>15.588861057246371</c:v>
                </c:pt>
                <c:pt idx="278">
                  <c:v>15.588861057246371</c:v>
                </c:pt>
                <c:pt idx="279">
                  <c:v>15.588861057246371</c:v>
                </c:pt>
                <c:pt idx="280">
                  <c:v>15.588861057246371</c:v>
                </c:pt>
                <c:pt idx="281">
                  <c:v>15.588861057246371</c:v>
                </c:pt>
                <c:pt idx="282">
                  <c:v>15.588861057246371</c:v>
                </c:pt>
                <c:pt idx="283">
                  <c:v>15.588861057246371</c:v>
                </c:pt>
                <c:pt idx="284">
                  <c:v>15.588861057246371</c:v>
                </c:pt>
                <c:pt idx="285">
                  <c:v>15.588861057246371</c:v>
                </c:pt>
                <c:pt idx="286">
                  <c:v>15.588861057246371</c:v>
                </c:pt>
                <c:pt idx="287">
                  <c:v>15.588861057246371</c:v>
                </c:pt>
                <c:pt idx="288">
                  <c:v>15.588861057246371</c:v>
                </c:pt>
                <c:pt idx="289">
                  <c:v>15.588861057246371</c:v>
                </c:pt>
                <c:pt idx="290">
                  <c:v>15.588861057246371</c:v>
                </c:pt>
                <c:pt idx="291">
                  <c:v>15.588861057246371</c:v>
                </c:pt>
                <c:pt idx="292">
                  <c:v>15.588861057246371</c:v>
                </c:pt>
                <c:pt idx="293">
                  <c:v>15.588861057246371</c:v>
                </c:pt>
                <c:pt idx="294">
                  <c:v>15.588861057246371</c:v>
                </c:pt>
                <c:pt idx="295">
                  <c:v>15.588861057246371</c:v>
                </c:pt>
                <c:pt idx="296">
                  <c:v>15.588861057246371</c:v>
                </c:pt>
                <c:pt idx="297">
                  <c:v>15.588861057246371</c:v>
                </c:pt>
                <c:pt idx="298">
                  <c:v>15.588861057246371</c:v>
                </c:pt>
                <c:pt idx="299">
                  <c:v>15.588861057246371</c:v>
                </c:pt>
                <c:pt idx="300">
                  <c:v>15.588861057246371</c:v>
                </c:pt>
                <c:pt idx="301">
                  <c:v>15.588861057246371</c:v>
                </c:pt>
                <c:pt idx="302">
                  <c:v>15.588861057246371</c:v>
                </c:pt>
                <c:pt idx="303">
                  <c:v>15.588861057246371</c:v>
                </c:pt>
                <c:pt idx="304">
                  <c:v>15.588861057246371</c:v>
                </c:pt>
                <c:pt idx="305">
                  <c:v>15.588861057246371</c:v>
                </c:pt>
                <c:pt idx="306">
                  <c:v>15.588861057246371</c:v>
                </c:pt>
                <c:pt idx="307">
                  <c:v>15.588861057246371</c:v>
                </c:pt>
                <c:pt idx="308">
                  <c:v>15.588861057246371</c:v>
                </c:pt>
                <c:pt idx="309">
                  <c:v>15.588861057246371</c:v>
                </c:pt>
                <c:pt idx="310">
                  <c:v>15.588861057246371</c:v>
                </c:pt>
                <c:pt idx="311">
                  <c:v>15.588861057246371</c:v>
                </c:pt>
                <c:pt idx="312">
                  <c:v>15.588861057246371</c:v>
                </c:pt>
                <c:pt idx="313">
                  <c:v>15.588861057246371</c:v>
                </c:pt>
                <c:pt idx="314">
                  <c:v>15.588861057246371</c:v>
                </c:pt>
                <c:pt idx="315">
                  <c:v>15.588861057246371</c:v>
                </c:pt>
                <c:pt idx="316">
                  <c:v>15.588861057246371</c:v>
                </c:pt>
                <c:pt idx="317">
                  <c:v>15.588861057246371</c:v>
                </c:pt>
                <c:pt idx="318">
                  <c:v>15.588861057246371</c:v>
                </c:pt>
                <c:pt idx="319">
                  <c:v>15.588861057246371</c:v>
                </c:pt>
                <c:pt idx="320">
                  <c:v>15.588861057246371</c:v>
                </c:pt>
                <c:pt idx="321">
                  <c:v>15.588861057246371</c:v>
                </c:pt>
                <c:pt idx="322">
                  <c:v>15.588861057246371</c:v>
                </c:pt>
                <c:pt idx="323">
                  <c:v>15.588861057246371</c:v>
                </c:pt>
                <c:pt idx="324">
                  <c:v>15.588861057246371</c:v>
                </c:pt>
                <c:pt idx="325">
                  <c:v>15.588861057246371</c:v>
                </c:pt>
                <c:pt idx="326">
                  <c:v>15.588861057246371</c:v>
                </c:pt>
                <c:pt idx="327">
                  <c:v>15.588861057246371</c:v>
                </c:pt>
                <c:pt idx="328">
                  <c:v>15.588861057246371</c:v>
                </c:pt>
                <c:pt idx="329">
                  <c:v>15.588861057246371</c:v>
                </c:pt>
                <c:pt idx="330">
                  <c:v>15.588861057246371</c:v>
                </c:pt>
                <c:pt idx="331">
                  <c:v>15.588861057246371</c:v>
                </c:pt>
                <c:pt idx="332">
                  <c:v>15.588861057246371</c:v>
                </c:pt>
                <c:pt idx="333">
                  <c:v>15.588861057246371</c:v>
                </c:pt>
                <c:pt idx="334">
                  <c:v>15.588861057246371</c:v>
                </c:pt>
                <c:pt idx="335">
                  <c:v>15.588861057246371</c:v>
                </c:pt>
                <c:pt idx="336">
                  <c:v>15.588861057246371</c:v>
                </c:pt>
                <c:pt idx="337">
                  <c:v>15.588861057246371</c:v>
                </c:pt>
                <c:pt idx="338">
                  <c:v>15.588861057246371</c:v>
                </c:pt>
                <c:pt idx="339">
                  <c:v>15.588861057246371</c:v>
                </c:pt>
                <c:pt idx="340">
                  <c:v>15.588861057246371</c:v>
                </c:pt>
                <c:pt idx="341">
                  <c:v>15.588861057246371</c:v>
                </c:pt>
                <c:pt idx="342">
                  <c:v>15.588861057246371</c:v>
                </c:pt>
                <c:pt idx="343">
                  <c:v>15.588861057246371</c:v>
                </c:pt>
                <c:pt idx="344">
                  <c:v>15.588861057246371</c:v>
                </c:pt>
                <c:pt idx="345">
                  <c:v>15.588861057246371</c:v>
                </c:pt>
                <c:pt idx="346">
                  <c:v>15.588861057246371</c:v>
                </c:pt>
                <c:pt idx="347">
                  <c:v>15.588861057246371</c:v>
                </c:pt>
                <c:pt idx="348">
                  <c:v>15.588861057246371</c:v>
                </c:pt>
                <c:pt idx="349">
                  <c:v>15.588861057246371</c:v>
                </c:pt>
                <c:pt idx="350">
                  <c:v>15.588861057246371</c:v>
                </c:pt>
                <c:pt idx="351">
                  <c:v>15.588861057246371</c:v>
                </c:pt>
                <c:pt idx="352">
                  <c:v>15.588861057246371</c:v>
                </c:pt>
                <c:pt idx="353">
                  <c:v>15.588861057246371</c:v>
                </c:pt>
                <c:pt idx="354">
                  <c:v>15.588861057246371</c:v>
                </c:pt>
                <c:pt idx="355">
                  <c:v>15.588861057246371</c:v>
                </c:pt>
                <c:pt idx="356">
                  <c:v>15.588861057246371</c:v>
                </c:pt>
                <c:pt idx="357">
                  <c:v>15.588861057246371</c:v>
                </c:pt>
                <c:pt idx="358">
                  <c:v>15.588861057246371</c:v>
                </c:pt>
                <c:pt idx="359">
                  <c:v>15.588861057246371</c:v>
                </c:pt>
                <c:pt idx="360">
                  <c:v>15.588861057246371</c:v>
                </c:pt>
                <c:pt idx="361">
                  <c:v>15.588861057246371</c:v>
                </c:pt>
                <c:pt idx="362">
                  <c:v>15.588861057246371</c:v>
                </c:pt>
                <c:pt idx="363">
                  <c:v>15.588861057246371</c:v>
                </c:pt>
                <c:pt idx="364">
                  <c:v>15.588861057246371</c:v>
                </c:pt>
                <c:pt idx="365">
                  <c:v>15.588861057246371</c:v>
                </c:pt>
                <c:pt idx="366">
                  <c:v>15.588861057246371</c:v>
                </c:pt>
                <c:pt idx="367">
                  <c:v>15.588861057246371</c:v>
                </c:pt>
                <c:pt idx="368">
                  <c:v>15.588861057246371</c:v>
                </c:pt>
                <c:pt idx="369">
                  <c:v>15.588861057246371</c:v>
                </c:pt>
                <c:pt idx="370">
                  <c:v>15.588861057246371</c:v>
                </c:pt>
                <c:pt idx="371">
                  <c:v>15.588861057246371</c:v>
                </c:pt>
                <c:pt idx="372">
                  <c:v>15.588861057246371</c:v>
                </c:pt>
                <c:pt idx="373">
                  <c:v>15.588861057246371</c:v>
                </c:pt>
                <c:pt idx="374">
                  <c:v>15.588861057246371</c:v>
                </c:pt>
                <c:pt idx="375">
                  <c:v>15.588861057246371</c:v>
                </c:pt>
                <c:pt idx="376">
                  <c:v>15.588861057246371</c:v>
                </c:pt>
                <c:pt idx="377">
                  <c:v>15.588861057246371</c:v>
                </c:pt>
                <c:pt idx="378">
                  <c:v>15.588861057246371</c:v>
                </c:pt>
                <c:pt idx="379">
                  <c:v>15.588861057246371</c:v>
                </c:pt>
                <c:pt idx="380">
                  <c:v>15.588861057246371</c:v>
                </c:pt>
                <c:pt idx="381">
                  <c:v>15.588861057246371</c:v>
                </c:pt>
                <c:pt idx="382">
                  <c:v>15.588861057246371</c:v>
                </c:pt>
                <c:pt idx="383">
                  <c:v>15.588861057246371</c:v>
                </c:pt>
                <c:pt idx="384">
                  <c:v>15.588861057246371</c:v>
                </c:pt>
                <c:pt idx="385">
                  <c:v>15.588861057246371</c:v>
                </c:pt>
                <c:pt idx="386">
                  <c:v>15.588861057246371</c:v>
                </c:pt>
                <c:pt idx="387">
                  <c:v>15.588861057246371</c:v>
                </c:pt>
                <c:pt idx="388">
                  <c:v>15.588861057246371</c:v>
                </c:pt>
                <c:pt idx="389">
                  <c:v>15.588861057246371</c:v>
                </c:pt>
                <c:pt idx="390">
                  <c:v>15.588861057246371</c:v>
                </c:pt>
                <c:pt idx="391">
                  <c:v>15.588861057246371</c:v>
                </c:pt>
                <c:pt idx="392">
                  <c:v>15.588861057246371</c:v>
                </c:pt>
                <c:pt idx="393">
                  <c:v>15.588861057246371</c:v>
                </c:pt>
                <c:pt idx="394">
                  <c:v>15.588861057246371</c:v>
                </c:pt>
                <c:pt idx="395">
                  <c:v>15.588861057246371</c:v>
                </c:pt>
                <c:pt idx="396">
                  <c:v>15.588861057246371</c:v>
                </c:pt>
                <c:pt idx="397">
                  <c:v>15.588861057246371</c:v>
                </c:pt>
                <c:pt idx="398">
                  <c:v>15.588861057246371</c:v>
                </c:pt>
                <c:pt idx="399">
                  <c:v>15.588861057246371</c:v>
                </c:pt>
                <c:pt idx="400">
                  <c:v>15.588861057246371</c:v>
                </c:pt>
                <c:pt idx="401">
                  <c:v>15.588861057246371</c:v>
                </c:pt>
                <c:pt idx="402">
                  <c:v>15.588861057246371</c:v>
                </c:pt>
                <c:pt idx="403">
                  <c:v>15.588861057246371</c:v>
                </c:pt>
                <c:pt idx="404">
                  <c:v>15.588861057246371</c:v>
                </c:pt>
                <c:pt idx="405">
                  <c:v>15.588861057246371</c:v>
                </c:pt>
                <c:pt idx="406">
                  <c:v>15.588861057246371</c:v>
                </c:pt>
                <c:pt idx="407">
                  <c:v>15.588861057246371</c:v>
                </c:pt>
                <c:pt idx="408">
                  <c:v>15.588861057246371</c:v>
                </c:pt>
                <c:pt idx="409">
                  <c:v>15.588861057246371</c:v>
                </c:pt>
                <c:pt idx="410">
                  <c:v>15.588861057246371</c:v>
                </c:pt>
                <c:pt idx="411">
                  <c:v>15.588861057246371</c:v>
                </c:pt>
                <c:pt idx="412">
                  <c:v>15.588861057246371</c:v>
                </c:pt>
                <c:pt idx="413">
                  <c:v>15.588861057246371</c:v>
                </c:pt>
                <c:pt idx="414">
                  <c:v>15.588861057246371</c:v>
                </c:pt>
                <c:pt idx="415">
                  <c:v>15.588861057246371</c:v>
                </c:pt>
                <c:pt idx="416">
                  <c:v>15.588861057246371</c:v>
                </c:pt>
                <c:pt idx="417">
                  <c:v>15.588861057246371</c:v>
                </c:pt>
                <c:pt idx="418">
                  <c:v>15.588861057246371</c:v>
                </c:pt>
                <c:pt idx="419">
                  <c:v>15.588861057246371</c:v>
                </c:pt>
                <c:pt idx="420">
                  <c:v>15.588861057246371</c:v>
                </c:pt>
                <c:pt idx="421">
                  <c:v>15.588861057246371</c:v>
                </c:pt>
                <c:pt idx="422">
                  <c:v>15.588861057246371</c:v>
                </c:pt>
                <c:pt idx="423">
                  <c:v>15.588861057246371</c:v>
                </c:pt>
                <c:pt idx="424">
                  <c:v>15.588861057246371</c:v>
                </c:pt>
                <c:pt idx="425">
                  <c:v>15.588861057246371</c:v>
                </c:pt>
                <c:pt idx="426">
                  <c:v>15.588861057246371</c:v>
                </c:pt>
                <c:pt idx="427">
                  <c:v>15.588861057246371</c:v>
                </c:pt>
                <c:pt idx="428">
                  <c:v>15.588861057246371</c:v>
                </c:pt>
                <c:pt idx="429">
                  <c:v>15.588861057246371</c:v>
                </c:pt>
                <c:pt idx="430">
                  <c:v>15.588861057246371</c:v>
                </c:pt>
                <c:pt idx="431">
                  <c:v>15.588861057246371</c:v>
                </c:pt>
                <c:pt idx="432">
                  <c:v>15.588861057246371</c:v>
                </c:pt>
                <c:pt idx="433">
                  <c:v>15.588861057246371</c:v>
                </c:pt>
                <c:pt idx="434">
                  <c:v>15.588861057246371</c:v>
                </c:pt>
                <c:pt idx="435">
                  <c:v>15.588861057246371</c:v>
                </c:pt>
                <c:pt idx="436">
                  <c:v>15.588861057246371</c:v>
                </c:pt>
                <c:pt idx="437">
                  <c:v>15.588861057246371</c:v>
                </c:pt>
                <c:pt idx="438">
                  <c:v>15.588861057246371</c:v>
                </c:pt>
                <c:pt idx="439">
                  <c:v>15.588861057246371</c:v>
                </c:pt>
                <c:pt idx="440">
                  <c:v>15.588861057246371</c:v>
                </c:pt>
                <c:pt idx="441">
                  <c:v>15.588861057246371</c:v>
                </c:pt>
                <c:pt idx="442">
                  <c:v>15.588861057246371</c:v>
                </c:pt>
                <c:pt idx="443">
                  <c:v>15.588861057246371</c:v>
                </c:pt>
                <c:pt idx="444">
                  <c:v>15.588861057246371</c:v>
                </c:pt>
                <c:pt idx="445">
                  <c:v>15.588861057246371</c:v>
                </c:pt>
                <c:pt idx="446">
                  <c:v>15.588861057246371</c:v>
                </c:pt>
                <c:pt idx="447">
                  <c:v>15.588861057246371</c:v>
                </c:pt>
                <c:pt idx="448">
                  <c:v>15.588861057246371</c:v>
                </c:pt>
                <c:pt idx="449">
                  <c:v>15.588861057246371</c:v>
                </c:pt>
                <c:pt idx="450">
                  <c:v>15.588861057246371</c:v>
                </c:pt>
                <c:pt idx="451">
                  <c:v>15.588861057246371</c:v>
                </c:pt>
                <c:pt idx="452">
                  <c:v>15.588861057246371</c:v>
                </c:pt>
                <c:pt idx="453">
                  <c:v>15.588861057246371</c:v>
                </c:pt>
                <c:pt idx="454">
                  <c:v>15.588861057246371</c:v>
                </c:pt>
                <c:pt idx="455">
                  <c:v>15.588861057246371</c:v>
                </c:pt>
                <c:pt idx="456">
                  <c:v>15.588861057246371</c:v>
                </c:pt>
                <c:pt idx="457">
                  <c:v>15.588861057246371</c:v>
                </c:pt>
                <c:pt idx="458">
                  <c:v>15.588861057246371</c:v>
                </c:pt>
                <c:pt idx="459">
                  <c:v>15.588861057246371</c:v>
                </c:pt>
                <c:pt idx="460">
                  <c:v>15.588861057246371</c:v>
                </c:pt>
                <c:pt idx="461">
                  <c:v>15.588861057246371</c:v>
                </c:pt>
                <c:pt idx="462">
                  <c:v>15.588861057246371</c:v>
                </c:pt>
                <c:pt idx="463">
                  <c:v>15.588861057246371</c:v>
                </c:pt>
                <c:pt idx="464">
                  <c:v>15.588861057246371</c:v>
                </c:pt>
                <c:pt idx="465">
                  <c:v>15.588861057246371</c:v>
                </c:pt>
                <c:pt idx="466">
                  <c:v>15.588861057246371</c:v>
                </c:pt>
                <c:pt idx="467">
                  <c:v>15.588861057246371</c:v>
                </c:pt>
                <c:pt idx="468">
                  <c:v>15.588861057246371</c:v>
                </c:pt>
                <c:pt idx="469">
                  <c:v>15.588861057246371</c:v>
                </c:pt>
                <c:pt idx="470">
                  <c:v>15.588861057246371</c:v>
                </c:pt>
                <c:pt idx="471">
                  <c:v>15.588861057246371</c:v>
                </c:pt>
                <c:pt idx="472">
                  <c:v>15.588861057246371</c:v>
                </c:pt>
                <c:pt idx="473">
                  <c:v>15.588861057246371</c:v>
                </c:pt>
                <c:pt idx="474">
                  <c:v>15.588861057246371</c:v>
                </c:pt>
                <c:pt idx="475">
                  <c:v>15.588861057246371</c:v>
                </c:pt>
                <c:pt idx="476">
                  <c:v>15.588861057246371</c:v>
                </c:pt>
                <c:pt idx="477">
                  <c:v>15.588861057246371</c:v>
                </c:pt>
                <c:pt idx="478">
                  <c:v>15.588861057246371</c:v>
                </c:pt>
                <c:pt idx="479">
                  <c:v>15.588861057246371</c:v>
                </c:pt>
                <c:pt idx="480">
                  <c:v>15.588861057246371</c:v>
                </c:pt>
                <c:pt idx="481">
                  <c:v>15.588861057246371</c:v>
                </c:pt>
                <c:pt idx="482">
                  <c:v>15.588861057246371</c:v>
                </c:pt>
                <c:pt idx="483">
                  <c:v>15.588861057246371</c:v>
                </c:pt>
                <c:pt idx="484">
                  <c:v>15.588861057246371</c:v>
                </c:pt>
                <c:pt idx="485">
                  <c:v>15.588861057246371</c:v>
                </c:pt>
                <c:pt idx="486">
                  <c:v>15.588861057246371</c:v>
                </c:pt>
                <c:pt idx="487">
                  <c:v>15.588861057246371</c:v>
                </c:pt>
                <c:pt idx="488">
                  <c:v>15.588861057246371</c:v>
                </c:pt>
                <c:pt idx="489">
                  <c:v>15.588861057246371</c:v>
                </c:pt>
                <c:pt idx="490">
                  <c:v>15.588861057246371</c:v>
                </c:pt>
                <c:pt idx="491">
                  <c:v>15.588861057246371</c:v>
                </c:pt>
                <c:pt idx="492">
                  <c:v>15.588861057246371</c:v>
                </c:pt>
                <c:pt idx="493">
                  <c:v>15.588861057246371</c:v>
                </c:pt>
                <c:pt idx="494">
                  <c:v>15.588861057246371</c:v>
                </c:pt>
                <c:pt idx="495">
                  <c:v>15.588861057246371</c:v>
                </c:pt>
                <c:pt idx="496">
                  <c:v>15.588861057246371</c:v>
                </c:pt>
                <c:pt idx="497">
                  <c:v>15.588861057246371</c:v>
                </c:pt>
                <c:pt idx="498">
                  <c:v>15.588861057246371</c:v>
                </c:pt>
                <c:pt idx="499">
                  <c:v>15.588861057246371</c:v>
                </c:pt>
                <c:pt idx="500">
                  <c:v>15.588861057246371</c:v>
                </c:pt>
                <c:pt idx="501">
                  <c:v>15.588861057246371</c:v>
                </c:pt>
                <c:pt idx="502">
                  <c:v>15.588861057246371</c:v>
                </c:pt>
                <c:pt idx="503">
                  <c:v>15.588861057246371</c:v>
                </c:pt>
                <c:pt idx="504">
                  <c:v>15.588861057246371</c:v>
                </c:pt>
                <c:pt idx="505">
                  <c:v>15.588861057246371</c:v>
                </c:pt>
                <c:pt idx="506">
                  <c:v>15.588861057246371</c:v>
                </c:pt>
                <c:pt idx="507">
                  <c:v>15.588861057246371</c:v>
                </c:pt>
                <c:pt idx="508">
                  <c:v>15.588861057246371</c:v>
                </c:pt>
                <c:pt idx="509">
                  <c:v>15.588861057246371</c:v>
                </c:pt>
                <c:pt idx="510">
                  <c:v>15.588861057246371</c:v>
                </c:pt>
                <c:pt idx="511">
                  <c:v>15.588861057246371</c:v>
                </c:pt>
                <c:pt idx="512">
                  <c:v>15.588861057246371</c:v>
                </c:pt>
                <c:pt idx="513">
                  <c:v>15.588861057246371</c:v>
                </c:pt>
                <c:pt idx="514">
                  <c:v>15.588861057246371</c:v>
                </c:pt>
                <c:pt idx="515">
                  <c:v>15.588861057246371</c:v>
                </c:pt>
                <c:pt idx="516">
                  <c:v>15.588861057246371</c:v>
                </c:pt>
                <c:pt idx="517">
                  <c:v>15.588861057246371</c:v>
                </c:pt>
                <c:pt idx="518">
                  <c:v>15.588861057246371</c:v>
                </c:pt>
                <c:pt idx="519">
                  <c:v>15.588861057246371</c:v>
                </c:pt>
                <c:pt idx="520">
                  <c:v>15.588861057246371</c:v>
                </c:pt>
                <c:pt idx="521">
                  <c:v>15.588861057246371</c:v>
                </c:pt>
                <c:pt idx="522">
                  <c:v>15.588861057246371</c:v>
                </c:pt>
                <c:pt idx="523">
                  <c:v>15.588861057246371</c:v>
                </c:pt>
                <c:pt idx="524">
                  <c:v>15.588861057246371</c:v>
                </c:pt>
                <c:pt idx="525">
                  <c:v>15.588861057246371</c:v>
                </c:pt>
                <c:pt idx="526">
                  <c:v>15.588861057246371</c:v>
                </c:pt>
                <c:pt idx="527">
                  <c:v>15.588861057246371</c:v>
                </c:pt>
                <c:pt idx="528">
                  <c:v>15.588861057246371</c:v>
                </c:pt>
                <c:pt idx="529">
                  <c:v>15.588861057246371</c:v>
                </c:pt>
                <c:pt idx="530">
                  <c:v>15.588861057246371</c:v>
                </c:pt>
                <c:pt idx="531">
                  <c:v>15.588861057246371</c:v>
                </c:pt>
                <c:pt idx="532">
                  <c:v>15.588861057246371</c:v>
                </c:pt>
                <c:pt idx="533">
                  <c:v>15.588861057246371</c:v>
                </c:pt>
                <c:pt idx="534">
                  <c:v>15.588861057246371</c:v>
                </c:pt>
                <c:pt idx="535">
                  <c:v>15.588861057246371</c:v>
                </c:pt>
                <c:pt idx="536">
                  <c:v>15.588861057246371</c:v>
                </c:pt>
                <c:pt idx="537">
                  <c:v>15.588861057246371</c:v>
                </c:pt>
                <c:pt idx="538">
                  <c:v>15.588861057246371</c:v>
                </c:pt>
                <c:pt idx="539">
                  <c:v>15.588861057246371</c:v>
                </c:pt>
                <c:pt idx="540">
                  <c:v>15.588861057246371</c:v>
                </c:pt>
                <c:pt idx="541">
                  <c:v>15.588861057246371</c:v>
                </c:pt>
                <c:pt idx="542">
                  <c:v>15.588861057246371</c:v>
                </c:pt>
                <c:pt idx="543">
                  <c:v>15.588861057246371</c:v>
                </c:pt>
                <c:pt idx="544">
                  <c:v>15.588861057246371</c:v>
                </c:pt>
                <c:pt idx="545">
                  <c:v>15.588861057246371</c:v>
                </c:pt>
                <c:pt idx="546">
                  <c:v>15.588861057246371</c:v>
                </c:pt>
                <c:pt idx="547">
                  <c:v>15.588861057246371</c:v>
                </c:pt>
                <c:pt idx="548">
                  <c:v>15.588861057246371</c:v>
                </c:pt>
                <c:pt idx="549">
                  <c:v>15.588861057246371</c:v>
                </c:pt>
                <c:pt idx="550">
                  <c:v>15.588861057246371</c:v>
                </c:pt>
                <c:pt idx="551">
                  <c:v>15.588861057246371</c:v>
                </c:pt>
                <c:pt idx="552">
                  <c:v>15.588861057246371</c:v>
                </c:pt>
                <c:pt idx="553">
                  <c:v>15.588861057246371</c:v>
                </c:pt>
                <c:pt idx="554">
                  <c:v>15.588861057246371</c:v>
                </c:pt>
                <c:pt idx="555">
                  <c:v>15.588861057246371</c:v>
                </c:pt>
                <c:pt idx="556">
                  <c:v>15.588861057246371</c:v>
                </c:pt>
                <c:pt idx="557">
                  <c:v>15.588861057246371</c:v>
                </c:pt>
                <c:pt idx="558">
                  <c:v>15.588861057246371</c:v>
                </c:pt>
                <c:pt idx="559">
                  <c:v>15.588861057246371</c:v>
                </c:pt>
                <c:pt idx="560">
                  <c:v>15.588861057246371</c:v>
                </c:pt>
                <c:pt idx="561">
                  <c:v>15.588861057246371</c:v>
                </c:pt>
                <c:pt idx="562">
                  <c:v>15.588861057246371</c:v>
                </c:pt>
                <c:pt idx="563">
                  <c:v>15.588861057246371</c:v>
                </c:pt>
                <c:pt idx="564">
                  <c:v>15.588861057246371</c:v>
                </c:pt>
                <c:pt idx="565">
                  <c:v>15.588861057246371</c:v>
                </c:pt>
                <c:pt idx="566">
                  <c:v>15.588861057246371</c:v>
                </c:pt>
                <c:pt idx="567">
                  <c:v>15.588861057246371</c:v>
                </c:pt>
                <c:pt idx="568">
                  <c:v>15.588861057246371</c:v>
                </c:pt>
                <c:pt idx="569">
                  <c:v>15.588861057246371</c:v>
                </c:pt>
                <c:pt idx="570">
                  <c:v>15.588861057246371</c:v>
                </c:pt>
                <c:pt idx="571">
                  <c:v>15.588861057246371</c:v>
                </c:pt>
                <c:pt idx="572">
                  <c:v>15.588861057246371</c:v>
                </c:pt>
                <c:pt idx="573">
                  <c:v>15.588861057246371</c:v>
                </c:pt>
                <c:pt idx="574">
                  <c:v>15.588861057246371</c:v>
                </c:pt>
                <c:pt idx="575">
                  <c:v>15.588861057246371</c:v>
                </c:pt>
                <c:pt idx="576">
                  <c:v>15.588861057246371</c:v>
                </c:pt>
                <c:pt idx="577">
                  <c:v>15.588861057246371</c:v>
                </c:pt>
                <c:pt idx="578">
                  <c:v>15.588861057246371</c:v>
                </c:pt>
                <c:pt idx="579">
                  <c:v>15.588861057246371</c:v>
                </c:pt>
                <c:pt idx="580">
                  <c:v>15.588861057246371</c:v>
                </c:pt>
                <c:pt idx="581">
                  <c:v>15.588861057246371</c:v>
                </c:pt>
                <c:pt idx="582">
                  <c:v>15.588861057246371</c:v>
                </c:pt>
                <c:pt idx="583">
                  <c:v>15.588861057246371</c:v>
                </c:pt>
                <c:pt idx="584">
                  <c:v>15.588861057246371</c:v>
                </c:pt>
                <c:pt idx="585">
                  <c:v>15.588861057246371</c:v>
                </c:pt>
                <c:pt idx="586">
                  <c:v>15.588861057246371</c:v>
                </c:pt>
                <c:pt idx="587">
                  <c:v>15.588861057246371</c:v>
                </c:pt>
                <c:pt idx="588">
                  <c:v>15.588861057246371</c:v>
                </c:pt>
                <c:pt idx="589">
                  <c:v>15.588861057246371</c:v>
                </c:pt>
                <c:pt idx="590">
                  <c:v>15.588861057246371</c:v>
                </c:pt>
                <c:pt idx="591">
                  <c:v>15.588861057246371</c:v>
                </c:pt>
                <c:pt idx="592">
                  <c:v>15.588861057246371</c:v>
                </c:pt>
                <c:pt idx="593">
                  <c:v>15.588861057246371</c:v>
                </c:pt>
                <c:pt idx="594">
                  <c:v>15.588861057246371</c:v>
                </c:pt>
                <c:pt idx="595">
                  <c:v>15.588861057246371</c:v>
                </c:pt>
                <c:pt idx="596">
                  <c:v>15.588861057246371</c:v>
                </c:pt>
                <c:pt idx="597">
                  <c:v>15.588861057246371</c:v>
                </c:pt>
                <c:pt idx="598">
                  <c:v>15.588861057246371</c:v>
                </c:pt>
                <c:pt idx="599">
                  <c:v>15.588861057246371</c:v>
                </c:pt>
                <c:pt idx="600">
                  <c:v>15.588861057246371</c:v>
                </c:pt>
                <c:pt idx="601">
                  <c:v>15.588861057246371</c:v>
                </c:pt>
                <c:pt idx="602">
                  <c:v>15.588861057246371</c:v>
                </c:pt>
                <c:pt idx="603">
                  <c:v>15.588861057246371</c:v>
                </c:pt>
                <c:pt idx="604">
                  <c:v>15.588861057246371</c:v>
                </c:pt>
                <c:pt idx="605">
                  <c:v>15.588861057246371</c:v>
                </c:pt>
                <c:pt idx="606">
                  <c:v>15.588861057246371</c:v>
                </c:pt>
                <c:pt idx="607">
                  <c:v>15.588861057246371</c:v>
                </c:pt>
                <c:pt idx="608">
                  <c:v>15.588861057246371</c:v>
                </c:pt>
                <c:pt idx="609">
                  <c:v>15.588861057246371</c:v>
                </c:pt>
                <c:pt idx="610">
                  <c:v>15.588861057246371</c:v>
                </c:pt>
                <c:pt idx="611">
                  <c:v>15.588861057246371</c:v>
                </c:pt>
                <c:pt idx="612">
                  <c:v>15.588861057246371</c:v>
                </c:pt>
                <c:pt idx="613">
                  <c:v>15.588861057246371</c:v>
                </c:pt>
                <c:pt idx="614">
                  <c:v>15.588861057246371</c:v>
                </c:pt>
                <c:pt idx="615">
                  <c:v>15.588861057246371</c:v>
                </c:pt>
                <c:pt idx="616">
                  <c:v>15.588861057246371</c:v>
                </c:pt>
                <c:pt idx="617">
                  <c:v>15.588861057246371</c:v>
                </c:pt>
                <c:pt idx="618">
                  <c:v>15.588861057246371</c:v>
                </c:pt>
                <c:pt idx="619">
                  <c:v>15.588861057246371</c:v>
                </c:pt>
                <c:pt idx="620">
                  <c:v>15.588861057246371</c:v>
                </c:pt>
                <c:pt idx="621">
                  <c:v>15.588861057246371</c:v>
                </c:pt>
                <c:pt idx="622">
                  <c:v>15.588861057246371</c:v>
                </c:pt>
                <c:pt idx="623">
                  <c:v>15.588861057246371</c:v>
                </c:pt>
                <c:pt idx="624">
                  <c:v>15.588861057246371</c:v>
                </c:pt>
                <c:pt idx="625">
                  <c:v>15.588861057246371</c:v>
                </c:pt>
                <c:pt idx="626">
                  <c:v>15.588861057246371</c:v>
                </c:pt>
                <c:pt idx="627">
                  <c:v>15.588861057246371</c:v>
                </c:pt>
                <c:pt idx="628">
                  <c:v>15.588861057246371</c:v>
                </c:pt>
                <c:pt idx="629">
                  <c:v>15.588861057246371</c:v>
                </c:pt>
                <c:pt idx="630">
                  <c:v>15.588861057246371</c:v>
                </c:pt>
                <c:pt idx="631">
                  <c:v>15.588861057246371</c:v>
                </c:pt>
                <c:pt idx="632">
                  <c:v>15.588861057246371</c:v>
                </c:pt>
                <c:pt idx="633">
                  <c:v>15.588861057246371</c:v>
                </c:pt>
                <c:pt idx="634">
                  <c:v>15.588861057246371</c:v>
                </c:pt>
                <c:pt idx="635">
                  <c:v>15.588861057246371</c:v>
                </c:pt>
                <c:pt idx="636">
                  <c:v>15.588861057246371</c:v>
                </c:pt>
                <c:pt idx="637">
                  <c:v>15.588861057246371</c:v>
                </c:pt>
                <c:pt idx="638">
                  <c:v>15.588861057246371</c:v>
                </c:pt>
                <c:pt idx="639">
                  <c:v>15.588861057246371</c:v>
                </c:pt>
                <c:pt idx="640">
                  <c:v>15.588861057246371</c:v>
                </c:pt>
                <c:pt idx="641">
                  <c:v>15.588861057246371</c:v>
                </c:pt>
                <c:pt idx="642">
                  <c:v>15.588861057246371</c:v>
                </c:pt>
                <c:pt idx="643">
                  <c:v>15.588861057246371</c:v>
                </c:pt>
                <c:pt idx="644">
                  <c:v>15.588861057246371</c:v>
                </c:pt>
                <c:pt idx="645">
                  <c:v>15.588861057246371</c:v>
                </c:pt>
                <c:pt idx="646">
                  <c:v>15.588861057246371</c:v>
                </c:pt>
                <c:pt idx="647">
                  <c:v>15.588861057246371</c:v>
                </c:pt>
                <c:pt idx="648">
                  <c:v>15.588861057246371</c:v>
                </c:pt>
                <c:pt idx="649">
                  <c:v>15.588861057246371</c:v>
                </c:pt>
                <c:pt idx="650">
                  <c:v>15.588861057246371</c:v>
                </c:pt>
                <c:pt idx="651">
                  <c:v>15.588861057246371</c:v>
                </c:pt>
                <c:pt idx="652">
                  <c:v>15.588861057246371</c:v>
                </c:pt>
                <c:pt idx="653">
                  <c:v>15.588861057246371</c:v>
                </c:pt>
                <c:pt idx="654">
                  <c:v>15.588861057246371</c:v>
                </c:pt>
                <c:pt idx="655">
                  <c:v>15.588861057246371</c:v>
                </c:pt>
                <c:pt idx="656">
                  <c:v>15.588861057246371</c:v>
                </c:pt>
                <c:pt idx="657">
                  <c:v>15.588861057246371</c:v>
                </c:pt>
                <c:pt idx="658">
                  <c:v>15.588861057246371</c:v>
                </c:pt>
                <c:pt idx="659">
                  <c:v>15.588861057246371</c:v>
                </c:pt>
                <c:pt idx="660">
                  <c:v>15.588861057246371</c:v>
                </c:pt>
                <c:pt idx="661">
                  <c:v>15.588861057246371</c:v>
                </c:pt>
                <c:pt idx="662">
                  <c:v>15.588861057246371</c:v>
                </c:pt>
                <c:pt idx="663">
                  <c:v>15.588861057246371</c:v>
                </c:pt>
                <c:pt idx="664">
                  <c:v>15.588861057246371</c:v>
                </c:pt>
                <c:pt idx="665">
                  <c:v>15.588861057246371</c:v>
                </c:pt>
                <c:pt idx="666">
                  <c:v>15.588861057246371</c:v>
                </c:pt>
                <c:pt idx="667">
                  <c:v>15.588861057246371</c:v>
                </c:pt>
                <c:pt idx="668">
                  <c:v>15.588861057246371</c:v>
                </c:pt>
                <c:pt idx="669">
                  <c:v>15.588861057246371</c:v>
                </c:pt>
                <c:pt idx="670">
                  <c:v>15.588861057246371</c:v>
                </c:pt>
                <c:pt idx="671">
                  <c:v>15.588861057246371</c:v>
                </c:pt>
                <c:pt idx="672">
                  <c:v>15.588861057246371</c:v>
                </c:pt>
                <c:pt idx="673">
                  <c:v>15.588861057246371</c:v>
                </c:pt>
                <c:pt idx="674">
                  <c:v>15.588861057246371</c:v>
                </c:pt>
                <c:pt idx="675">
                  <c:v>15.588861057246371</c:v>
                </c:pt>
                <c:pt idx="676">
                  <c:v>15.588861057246371</c:v>
                </c:pt>
                <c:pt idx="677">
                  <c:v>15.588861057246371</c:v>
                </c:pt>
                <c:pt idx="678">
                  <c:v>15.588861057246371</c:v>
                </c:pt>
                <c:pt idx="679">
                  <c:v>15.588861057246371</c:v>
                </c:pt>
                <c:pt idx="680">
                  <c:v>15.588861057246371</c:v>
                </c:pt>
                <c:pt idx="681">
                  <c:v>15.588861057246371</c:v>
                </c:pt>
                <c:pt idx="682">
                  <c:v>15.588861057246371</c:v>
                </c:pt>
                <c:pt idx="683">
                  <c:v>15.588861057246371</c:v>
                </c:pt>
                <c:pt idx="684">
                  <c:v>15.588861057246371</c:v>
                </c:pt>
                <c:pt idx="685">
                  <c:v>15.588861057246371</c:v>
                </c:pt>
                <c:pt idx="686">
                  <c:v>15.588861057246371</c:v>
                </c:pt>
                <c:pt idx="687">
                  <c:v>15.588861057246371</c:v>
                </c:pt>
                <c:pt idx="688">
                  <c:v>15.588861057246371</c:v>
                </c:pt>
                <c:pt idx="689">
                  <c:v>15.588861057246371</c:v>
                </c:pt>
                <c:pt idx="690">
                  <c:v>15.588861057246371</c:v>
                </c:pt>
                <c:pt idx="691">
                  <c:v>15.588861057246371</c:v>
                </c:pt>
                <c:pt idx="692">
                  <c:v>15.588861057246371</c:v>
                </c:pt>
                <c:pt idx="693">
                  <c:v>15.588861057246371</c:v>
                </c:pt>
                <c:pt idx="694">
                  <c:v>15.588861057246371</c:v>
                </c:pt>
                <c:pt idx="695">
                  <c:v>15.588861057246371</c:v>
                </c:pt>
                <c:pt idx="696">
                  <c:v>15.588861057246371</c:v>
                </c:pt>
                <c:pt idx="697">
                  <c:v>15.588861057246371</c:v>
                </c:pt>
                <c:pt idx="698">
                  <c:v>15.588861057246371</c:v>
                </c:pt>
                <c:pt idx="699">
                  <c:v>15.588861057246371</c:v>
                </c:pt>
                <c:pt idx="700">
                  <c:v>15.588861057246371</c:v>
                </c:pt>
                <c:pt idx="701">
                  <c:v>15.588861057246371</c:v>
                </c:pt>
                <c:pt idx="702">
                  <c:v>15.588861057246371</c:v>
                </c:pt>
                <c:pt idx="703">
                  <c:v>15.588861057246371</c:v>
                </c:pt>
                <c:pt idx="704">
                  <c:v>15.588861057246371</c:v>
                </c:pt>
                <c:pt idx="705">
                  <c:v>15.588861057246371</c:v>
                </c:pt>
                <c:pt idx="706">
                  <c:v>15.588861057246371</c:v>
                </c:pt>
                <c:pt idx="707">
                  <c:v>15.588861057246371</c:v>
                </c:pt>
                <c:pt idx="708">
                  <c:v>15.588861057246371</c:v>
                </c:pt>
                <c:pt idx="709">
                  <c:v>15.588861057246371</c:v>
                </c:pt>
                <c:pt idx="710">
                  <c:v>15.588861057246371</c:v>
                </c:pt>
                <c:pt idx="711">
                  <c:v>15.588861057246371</c:v>
                </c:pt>
                <c:pt idx="712">
                  <c:v>15.588861057246371</c:v>
                </c:pt>
                <c:pt idx="713">
                  <c:v>15.588861057246371</c:v>
                </c:pt>
                <c:pt idx="714">
                  <c:v>15.588861057246371</c:v>
                </c:pt>
                <c:pt idx="715">
                  <c:v>15.588861057246371</c:v>
                </c:pt>
                <c:pt idx="716">
                  <c:v>15.588861057246371</c:v>
                </c:pt>
                <c:pt idx="717">
                  <c:v>15.588861057246371</c:v>
                </c:pt>
                <c:pt idx="718">
                  <c:v>15.588861057246371</c:v>
                </c:pt>
                <c:pt idx="719">
                  <c:v>15.588861057246371</c:v>
                </c:pt>
                <c:pt idx="720">
                  <c:v>15.588861057246371</c:v>
                </c:pt>
                <c:pt idx="721">
                  <c:v>15.588861057246371</c:v>
                </c:pt>
                <c:pt idx="722">
                  <c:v>15.588861057246371</c:v>
                </c:pt>
                <c:pt idx="723">
                  <c:v>15.588861057246371</c:v>
                </c:pt>
                <c:pt idx="724">
                  <c:v>15.588861057246371</c:v>
                </c:pt>
                <c:pt idx="725">
                  <c:v>15.588861057246371</c:v>
                </c:pt>
                <c:pt idx="726">
                  <c:v>15.588861057246371</c:v>
                </c:pt>
                <c:pt idx="727">
                  <c:v>15.588861057246371</c:v>
                </c:pt>
                <c:pt idx="728">
                  <c:v>15.588861057246371</c:v>
                </c:pt>
                <c:pt idx="729">
                  <c:v>15.588861057246371</c:v>
                </c:pt>
                <c:pt idx="730">
                  <c:v>15.588861057246371</c:v>
                </c:pt>
                <c:pt idx="731">
                  <c:v>15.588861057246371</c:v>
                </c:pt>
                <c:pt idx="732">
                  <c:v>15.588861057246371</c:v>
                </c:pt>
                <c:pt idx="733">
                  <c:v>15.588861057246371</c:v>
                </c:pt>
                <c:pt idx="734">
                  <c:v>15.588861057246371</c:v>
                </c:pt>
                <c:pt idx="735">
                  <c:v>15.588861057246371</c:v>
                </c:pt>
                <c:pt idx="736">
                  <c:v>15.588861057246371</c:v>
                </c:pt>
                <c:pt idx="737">
                  <c:v>15.588861057246371</c:v>
                </c:pt>
                <c:pt idx="738">
                  <c:v>15.588861057246371</c:v>
                </c:pt>
                <c:pt idx="739">
                  <c:v>15.588861057246371</c:v>
                </c:pt>
                <c:pt idx="740">
                  <c:v>15.588861057246371</c:v>
                </c:pt>
                <c:pt idx="741">
                  <c:v>15.588861057246371</c:v>
                </c:pt>
                <c:pt idx="742">
                  <c:v>15.588861057246371</c:v>
                </c:pt>
                <c:pt idx="743">
                  <c:v>15.588861057246371</c:v>
                </c:pt>
                <c:pt idx="744">
                  <c:v>15.588861057246371</c:v>
                </c:pt>
                <c:pt idx="745">
                  <c:v>15.588861057246371</c:v>
                </c:pt>
                <c:pt idx="746">
                  <c:v>15.588861057246371</c:v>
                </c:pt>
                <c:pt idx="747">
                  <c:v>15.588861057246371</c:v>
                </c:pt>
                <c:pt idx="748">
                  <c:v>15.588861057246371</c:v>
                </c:pt>
                <c:pt idx="749">
                  <c:v>15.588861057246371</c:v>
                </c:pt>
                <c:pt idx="750">
                  <c:v>15.588861057246371</c:v>
                </c:pt>
                <c:pt idx="751">
                  <c:v>15.588861057246371</c:v>
                </c:pt>
                <c:pt idx="752">
                  <c:v>15.588861057246371</c:v>
                </c:pt>
                <c:pt idx="753">
                  <c:v>15.588861057246371</c:v>
                </c:pt>
                <c:pt idx="754">
                  <c:v>15.588861057246371</c:v>
                </c:pt>
                <c:pt idx="755">
                  <c:v>15.588861057246371</c:v>
                </c:pt>
                <c:pt idx="756">
                  <c:v>15.588861057246371</c:v>
                </c:pt>
                <c:pt idx="757">
                  <c:v>15.588861057246371</c:v>
                </c:pt>
                <c:pt idx="758">
                  <c:v>15.588861057246371</c:v>
                </c:pt>
                <c:pt idx="759">
                  <c:v>15.588861057246371</c:v>
                </c:pt>
                <c:pt idx="760">
                  <c:v>15.588861057246371</c:v>
                </c:pt>
                <c:pt idx="761">
                  <c:v>15.588861057246371</c:v>
                </c:pt>
                <c:pt idx="762">
                  <c:v>15.588861057246371</c:v>
                </c:pt>
                <c:pt idx="763">
                  <c:v>15.588861057246371</c:v>
                </c:pt>
                <c:pt idx="764">
                  <c:v>15.588861057246371</c:v>
                </c:pt>
                <c:pt idx="765">
                  <c:v>15.588861057246371</c:v>
                </c:pt>
                <c:pt idx="766">
                  <c:v>15.588861057246371</c:v>
                </c:pt>
                <c:pt idx="767">
                  <c:v>15.588861057246371</c:v>
                </c:pt>
                <c:pt idx="768">
                  <c:v>15.588861057246371</c:v>
                </c:pt>
                <c:pt idx="769">
                  <c:v>15.588861057246371</c:v>
                </c:pt>
                <c:pt idx="770">
                  <c:v>15.588861057246371</c:v>
                </c:pt>
                <c:pt idx="771">
                  <c:v>15.588861057246371</c:v>
                </c:pt>
                <c:pt idx="772">
                  <c:v>15.588861057246371</c:v>
                </c:pt>
                <c:pt idx="773">
                  <c:v>15.588861057246371</c:v>
                </c:pt>
                <c:pt idx="774">
                  <c:v>15.588861057246371</c:v>
                </c:pt>
                <c:pt idx="775">
                  <c:v>15.588861057246371</c:v>
                </c:pt>
                <c:pt idx="776">
                  <c:v>15.588861057246371</c:v>
                </c:pt>
                <c:pt idx="777">
                  <c:v>15.588861057246371</c:v>
                </c:pt>
                <c:pt idx="778">
                  <c:v>15.588861057246371</c:v>
                </c:pt>
                <c:pt idx="779">
                  <c:v>15.588861057246371</c:v>
                </c:pt>
                <c:pt idx="780">
                  <c:v>15.588861057246371</c:v>
                </c:pt>
                <c:pt idx="781">
                  <c:v>15.588861057246371</c:v>
                </c:pt>
                <c:pt idx="782">
                  <c:v>15.588861057246371</c:v>
                </c:pt>
                <c:pt idx="783">
                  <c:v>15.588861057246371</c:v>
                </c:pt>
                <c:pt idx="784">
                  <c:v>15.588861057246371</c:v>
                </c:pt>
                <c:pt idx="785">
                  <c:v>15.588861057246371</c:v>
                </c:pt>
                <c:pt idx="786">
                  <c:v>15.588861057246371</c:v>
                </c:pt>
                <c:pt idx="787">
                  <c:v>15.588861057246371</c:v>
                </c:pt>
                <c:pt idx="788">
                  <c:v>15.588861057246371</c:v>
                </c:pt>
                <c:pt idx="789">
                  <c:v>15.588861057246371</c:v>
                </c:pt>
                <c:pt idx="790">
                  <c:v>15.588861057246371</c:v>
                </c:pt>
                <c:pt idx="791">
                  <c:v>15.588861057246371</c:v>
                </c:pt>
                <c:pt idx="792">
                  <c:v>15.588861057246371</c:v>
                </c:pt>
                <c:pt idx="793">
                  <c:v>15.588861057246371</c:v>
                </c:pt>
                <c:pt idx="794">
                  <c:v>15.588861057246371</c:v>
                </c:pt>
                <c:pt idx="795">
                  <c:v>15.588861057246371</c:v>
                </c:pt>
                <c:pt idx="796">
                  <c:v>15.588861057246371</c:v>
                </c:pt>
                <c:pt idx="797">
                  <c:v>15.588861057246371</c:v>
                </c:pt>
                <c:pt idx="798">
                  <c:v>15.588861057246371</c:v>
                </c:pt>
                <c:pt idx="799">
                  <c:v>15.588861057246371</c:v>
                </c:pt>
                <c:pt idx="800">
                  <c:v>15.588861057246371</c:v>
                </c:pt>
                <c:pt idx="801">
                  <c:v>15.588861057246371</c:v>
                </c:pt>
                <c:pt idx="802">
                  <c:v>15.588861057246371</c:v>
                </c:pt>
                <c:pt idx="803">
                  <c:v>15.588861057246371</c:v>
                </c:pt>
                <c:pt idx="804">
                  <c:v>15.588861057246371</c:v>
                </c:pt>
                <c:pt idx="805">
                  <c:v>15.588861057246371</c:v>
                </c:pt>
                <c:pt idx="806">
                  <c:v>15.588861057246371</c:v>
                </c:pt>
                <c:pt idx="807">
                  <c:v>15.588861057246371</c:v>
                </c:pt>
                <c:pt idx="808">
                  <c:v>15.588861057246371</c:v>
                </c:pt>
                <c:pt idx="809">
                  <c:v>15.588861057246371</c:v>
                </c:pt>
                <c:pt idx="810">
                  <c:v>15.588861057246371</c:v>
                </c:pt>
                <c:pt idx="811">
                  <c:v>15.588861057246371</c:v>
                </c:pt>
                <c:pt idx="812">
                  <c:v>15.588861057246371</c:v>
                </c:pt>
                <c:pt idx="813">
                  <c:v>15.588861057246371</c:v>
                </c:pt>
                <c:pt idx="814">
                  <c:v>15.588861057246371</c:v>
                </c:pt>
                <c:pt idx="815">
                  <c:v>15.588861057246371</c:v>
                </c:pt>
                <c:pt idx="816">
                  <c:v>15.588861057246371</c:v>
                </c:pt>
                <c:pt idx="817">
                  <c:v>15.588861057246371</c:v>
                </c:pt>
                <c:pt idx="818">
                  <c:v>15.588861057246371</c:v>
                </c:pt>
                <c:pt idx="819">
                  <c:v>15.588861057246371</c:v>
                </c:pt>
                <c:pt idx="820">
                  <c:v>15.588861057246371</c:v>
                </c:pt>
                <c:pt idx="821">
                  <c:v>15.588861057246371</c:v>
                </c:pt>
                <c:pt idx="822">
                  <c:v>15.588861057246371</c:v>
                </c:pt>
                <c:pt idx="823">
                  <c:v>15.588861057246371</c:v>
                </c:pt>
                <c:pt idx="824">
                  <c:v>15.588861057246371</c:v>
                </c:pt>
                <c:pt idx="825">
                  <c:v>15.588861057246371</c:v>
                </c:pt>
                <c:pt idx="826">
                  <c:v>15.588861057246371</c:v>
                </c:pt>
                <c:pt idx="827">
                  <c:v>15.588861057246371</c:v>
                </c:pt>
                <c:pt idx="828">
                  <c:v>15.588861057246371</c:v>
                </c:pt>
                <c:pt idx="829">
                  <c:v>15.588861057246371</c:v>
                </c:pt>
                <c:pt idx="830">
                  <c:v>15.588861057246371</c:v>
                </c:pt>
                <c:pt idx="831">
                  <c:v>15.588861057246371</c:v>
                </c:pt>
                <c:pt idx="832">
                  <c:v>15.588861057246371</c:v>
                </c:pt>
                <c:pt idx="833">
                  <c:v>15.588861057246371</c:v>
                </c:pt>
                <c:pt idx="834">
                  <c:v>15.588861057246371</c:v>
                </c:pt>
                <c:pt idx="835">
                  <c:v>15.588861057246371</c:v>
                </c:pt>
                <c:pt idx="836">
                  <c:v>15.588861057246371</c:v>
                </c:pt>
                <c:pt idx="837">
                  <c:v>15.588861057246371</c:v>
                </c:pt>
                <c:pt idx="838">
                  <c:v>15.588861057246371</c:v>
                </c:pt>
                <c:pt idx="839">
                  <c:v>15.588861057246371</c:v>
                </c:pt>
                <c:pt idx="840">
                  <c:v>15.588861057246371</c:v>
                </c:pt>
                <c:pt idx="841">
                  <c:v>15.588861057246371</c:v>
                </c:pt>
                <c:pt idx="842">
                  <c:v>15.588861057246371</c:v>
                </c:pt>
                <c:pt idx="843">
                  <c:v>15.588861057246371</c:v>
                </c:pt>
                <c:pt idx="844">
                  <c:v>15.588861057246371</c:v>
                </c:pt>
                <c:pt idx="845">
                  <c:v>15.588861057246371</c:v>
                </c:pt>
                <c:pt idx="846">
                  <c:v>15.588861057246371</c:v>
                </c:pt>
                <c:pt idx="847">
                  <c:v>15.588861057246371</c:v>
                </c:pt>
                <c:pt idx="848">
                  <c:v>15.588861057246371</c:v>
                </c:pt>
                <c:pt idx="849">
                  <c:v>15.588861057246371</c:v>
                </c:pt>
                <c:pt idx="850">
                  <c:v>15.588861057246371</c:v>
                </c:pt>
                <c:pt idx="851">
                  <c:v>15.588861057246371</c:v>
                </c:pt>
                <c:pt idx="852">
                  <c:v>15.588861057246371</c:v>
                </c:pt>
                <c:pt idx="853">
                  <c:v>15.588861057246371</c:v>
                </c:pt>
                <c:pt idx="854">
                  <c:v>15.588861057246371</c:v>
                </c:pt>
                <c:pt idx="855">
                  <c:v>15.588861057246371</c:v>
                </c:pt>
                <c:pt idx="856">
                  <c:v>15.588861057246371</c:v>
                </c:pt>
                <c:pt idx="857">
                  <c:v>15.588861057246371</c:v>
                </c:pt>
                <c:pt idx="858">
                  <c:v>15.588861057246371</c:v>
                </c:pt>
                <c:pt idx="859">
                  <c:v>15.588861057246371</c:v>
                </c:pt>
                <c:pt idx="860">
                  <c:v>15.588861057246371</c:v>
                </c:pt>
                <c:pt idx="861">
                  <c:v>15.588861057246371</c:v>
                </c:pt>
                <c:pt idx="862">
                  <c:v>15.588861057246371</c:v>
                </c:pt>
                <c:pt idx="863">
                  <c:v>15.588861057246371</c:v>
                </c:pt>
                <c:pt idx="864">
                  <c:v>15.588861057246371</c:v>
                </c:pt>
                <c:pt idx="865">
                  <c:v>15.588861057246371</c:v>
                </c:pt>
                <c:pt idx="866">
                  <c:v>15.588861057246371</c:v>
                </c:pt>
                <c:pt idx="867">
                  <c:v>15.588861057246371</c:v>
                </c:pt>
                <c:pt idx="868">
                  <c:v>15.588861057246371</c:v>
                </c:pt>
                <c:pt idx="869">
                  <c:v>15.588861057246371</c:v>
                </c:pt>
                <c:pt idx="870">
                  <c:v>15.588861057246371</c:v>
                </c:pt>
                <c:pt idx="871">
                  <c:v>15.588861057246371</c:v>
                </c:pt>
                <c:pt idx="872">
                  <c:v>15.588861057246371</c:v>
                </c:pt>
                <c:pt idx="873">
                  <c:v>15.588861057246371</c:v>
                </c:pt>
                <c:pt idx="874">
                  <c:v>15.588861057246371</c:v>
                </c:pt>
                <c:pt idx="875">
                  <c:v>15.588861057246371</c:v>
                </c:pt>
                <c:pt idx="876">
                  <c:v>15.588861057246371</c:v>
                </c:pt>
                <c:pt idx="877">
                  <c:v>15.588861057246371</c:v>
                </c:pt>
                <c:pt idx="878">
                  <c:v>15.588861057246371</c:v>
                </c:pt>
                <c:pt idx="879">
                  <c:v>15.588861057246371</c:v>
                </c:pt>
                <c:pt idx="880">
                  <c:v>15.588861057246371</c:v>
                </c:pt>
                <c:pt idx="881">
                  <c:v>15.588861057246371</c:v>
                </c:pt>
                <c:pt idx="882">
                  <c:v>15.588861057246371</c:v>
                </c:pt>
                <c:pt idx="883">
                  <c:v>15.588861057246371</c:v>
                </c:pt>
                <c:pt idx="884">
                  <c:v>15.588861057246371</c:v>
                </c:pt>
                <c:pt idx="885">
                  <c:v>15.588861057246371</c:v>
                </c:pt>
                <c:pt idx="886">
                  <c:v>15.588861057246371</c:v>
                </c:pt>
                <c:pt idx="887">
                  <c:v>15.588861057246371</c:v>
                </c:pt>
                <c:pt idx="888">
                  <c:v>15.588861057246371</c:v>
                </c:pt>
                <c:pt idx="889">
                  <c:v>15.588861057246371</c:v>
                </c:pt>
                <c:pt idx="890">
                  <c:v>15.588861057246371</c:v>
                </c:pt>
                <c:pt idx="891">
                  <c:v>15.588861057246371</c:v>
                </c:pt>
              </c:numCache>
            </c:numRef>
          </c:val>
          <c:smooth val="0"/>
          <c:extLst>
            <c:ext xmlns:c16="http://schemas.microsoft.com/office/drawing/2014/chart" uri="{C3380CC4-5D6E-409C-BE32-E72D297353CC}">
              <c16:uniqueId val="{00000002-484C-4F9E-91BA-8A726FFABB09}"/>
            </c:ext>
          </c:extLst>
        </c:ser>
        <c:ser>
          <c:idx val="2"/>
          <c:order val="3"/>
          <c:tx>
            <c:strRef>
              <c:f>EMU!$EA$8</c:f>
              <c:strCache>
                <c:ptCount val="1"/>
              </c:strCache>
            </c:strRef>
          </c:tx>
          <c:spPr>
            <a:ln w="19050" cap="rnd" cmpd="sng" algn="ctr">
              <a:solidFill>
                <a:sysClr val="window" lastClr="FFFFFF">
                  <a:lumMod val="85000"/>
                </a:sysClr>
              </a:solidFill>
              <a:prstDash val="solid"/>
              <a:round/>
              <a:headEnd type="none" w="med" len="med"/>
              <a:tailEnd type="none" w="med" len="med"/>
            </a:ln>
            <a:effectLst/>
          </c:spPr>
          <c:marker>
            <c:symbol val="none"/>
          </c:marker>
          <c:dPt>
            <c:idx val="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9-82FC-421B-A80E-67ACC5454550}"/>
              </c:ext>
            </c:extLst>
          </c:dPt>
          <c:dPt>
            <c:idx val="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A-82FC-421B-A80E-67ACC5454550}"/>
              </c:ext>
            </c:extLst>
          </c:dPt>
          <c:dPt>
            <c:idx val="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B-82FC-421B-A80E-67ACC5454550}"/>
              </c:ext>
            </c:extLst>
          </c:dPt>
          <c:dPt>
            <c:idx val="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C-82FC-421B-A80E-67ACC5454550}"/>
              </c:ext>
            </c:extLst>
          </c:dPt>
          <c:dPt>
            <c:idx val="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D-82FC-421B-A80E-67ACC5454550}"/>
              </c:ext>
            </c:extLst>
          </c:dPt>
          <c:dPt>
            <c:idx val="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E-82FC-421B-A80E-67ACC5454550}"/>
              </c:ext>
            </c:extLst>
          </c:dPt>
          <c:dPt>
            <c:idx val="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6FF-82FC-421B-A80E-67ACC5454550}"/>
              </c:ext>
            </c:extLst>
          </c:dPt>
          <c:dPt>
            <c:idx val="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0-82FC-421B-A80E-67ACC5454550}"/>
              </c:ext>
            </c:extLst>
          </c:dPt>
          <c:dPt>
            <c:idx val="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1-82FC-421B-A80E-67ACC5454550}"/>
              </c:ext>
            </c:extLst>
          </c:dPt>
          <c:dPt>
            <c:idx val="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2-82FC-421B-A80E-67ACC5454550}"/>
              </c:ext>
            </c:extLst>
          </c:dPt>
          <c:dPt>
            <c:idx val="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3-82FC-421B-A80E-67ACC5454550}"/>
              </c:ext>
            </c:extLst>
          </c:dPt>
          <c:dPt>
            <c:idx val="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4-82FC-421B-A80E-67ACC5454550}"/>
              </c:ext>
            </c:extLst>
          </c:dPt>
          <c:dPt>
            <c:idx val="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5-82FC-421B-A80E-67ACC5454550}"/>
              </c:ext>
            </c:extLst>
          </c:dPt>
          <c:dPt>
            <c:idx val="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6-82FC-421B-A80E-67ACC5454550}"/>
              </c:ext>
            </c:extLst>
          </c:dPt>
          <c:dPt>
            <c:idx val="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7-82FC-421B-A80E-67ACC5454550}"/>
              </c:ext>
            </c:extLst>
          </c:dPt>
          <c:dPt>
            <c:idx val="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8-82FC-421B-A80E-67ACC5454550}"/>
              </c:ext>
            </c:extLst>
          </c:dPt>
          <c:dPt>
            <c:idx val="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9-82FC-421B-A80E-67ACC5454550}"/>
              </c:ext>
            </c:extLst>
          </c:dPt>
          <c:dPt>
            <c:idx val="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A-82FC-421B-A80E-67ACC5454550}"/>
              </c:ext>
            </c:extLst>
          </c:dPt>
          <c:dPt>
            <c:idx val="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B-82FC-421B-A80E-67ACC5454550}"/>
              </c:ext>
            </c:extLst>
          </c:dPt>
          <c:dPt>
            <c:idx val="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C-82FC-421B-A80E-67ACC5454550}"/>
              </c:ext>
            </c:extLst>
          </c:dPt>
          <c:dPt>
            <c:idx val="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D-82FC-421B-A80E-67ACC5454550}"/>
              </c:ext>
            </c:extLst>
          </c:dPt>
          <c:dPt>
            <c:idx val="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E-82FC-421B-A80E-67ACC5454550}"/>
              </c:ext>
            </c:extLst>
          </c:dPt>
          <c:dPt>
            <c:idx val="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0F-82FC-421B-A80E-67ACC5454550}"/>
              </c:ext>
            </c:extLst>
          </c:dPt>
          <c:dPt>
            <c:idx val="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0-82FC-421B-A80E-67ACC5454550}"/>
              </c:ext>
            </c:extLst>
          </c:dPt>
          <c:dPt>
            <c:idx val="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1-82FC-421B-A80E-67ACC5454550}"/>
              </c:ext>
            </c:extLst>
          </c:dPt>
          <c:dPt>
            <c:idx val="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2-82FC-421B-A80E-67ACC5454550}"/>
              </c:ext>
            </c:extLst>
          </c:dPt>
          <c:dPt>
            <c:idx val="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3-82FC-421B-A80E-67ACC5454550}"/>
              </c:ext>
            </c:extLst>
          </c:dPt>
          <c:dPt>
            <c:idx val="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4-82FC-421B-A80E-67ACC5454550}"/>
              </c:ext>
            </c:extLst>
          </c:dPt>
          <c:dPt>
            <c:idx val="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5-82FC-421B-A80E-67ACC5454550}"/>
              </c:ext>
            </c:extLst>
          </c:dPt>
          <c:dPt>
            <c:idx val="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6-82FC-421B-A80E-67ACC5454550}"/>
              </c:ext>
            </c:extLst>
          </c:dPt>
          <c:dPt>
            <c:idx val="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7-82FC-421B-A80E-67ACC5454550}"/>
              </c:ext>
            </c:extLst>
          </c:dPt>
          <c:dPt>
            <c:idx val="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8-82FC-421B-A80E-67ACC5454550}"/>
              </c:ext>
            </c:extLst>
          </c:dPt>
          <c:dPt>
            <c:idx val="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9-82FC-421B-A80E-67ACC5454550}"/>
              </c:ext>
            </c:extLst>
          </c:dPt>
          <c:dPt>
            <c:idx val="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A-82FC-421B-A80E-67ACC5454550}"/>
              </c:ext>
            </c:extLst>
          </c:dPt>
          <c:dPt>
            <c:idx val="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B-82FC-421B-A80E-67ACC5454550}"/>
              </c:ext>
            </c:extLst>
          </c:dPt>
          <c:dPt>
            <c:idx val="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C-82FC-421B-A80E-67ACC5454550}"/>
              </c:ext>
            </c:extLst>
          </c:dPt>
          <c:dPt>
            <c:idx val="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D-82FC-421B-A80E-67ACC5454550}"/>
              </c:ext>
            </c:extLst>
          </c:dPt>
          <c:dPt>
            <c:idx val="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E-82FC-421B-A80E-67ACC5454550}"/>
              </c:ext>
            </c:extLst>
          </c:dPt>
          <c:dPt>
            <c:idx val="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1F-82FC-421B-A80E-67ACC5454550}"/>
              </c:ext>
            </c:extLst>
          </c:dPt>
          <c:dPt>
            <c:idx val="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0-82FC-421B-A80E-67ACC5454550}"/>
              </c:ext>
            </c:extLst>
          </c:dPt>
          <c:dPt>
            <c:idx val="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1-82FC-421B-A80E-67ACC5454550}"/>
              </c:ext>
            </c:extLst>
          </c:dPt>
          <c:dPt>
            <c:idx val="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2-82FC-421B-A80E-67ACC5454550}"/>
              </c:ext>
            </c:extLst>
          </c:dPt>
          <c:dPt>
            <c:idx val="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3-82FC-421B-A80E-67ACC5454550}"/>
              </c:ext>
            </c:extLst>
          </c:dPt>
          <c:dPt>
            <c:idx val="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4-82FC-421B-A80E-67ACC5454550}"/>
              </c:ext>
            </c:extLst>
          </c:dPt>
          <c:dPt>
            <c:idx val="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5-82FC-421B-A80E-67ACC5454550}"/>
              </c:ext>
            </c:extLst>
          </c:dPt>
          <c:dPt>
            <c:idx val="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6-82FC-421B-A80E-67ACC5454550}"/>
              </c:ext>
            </c:extLst>
          </c:dPt>
          <c:dPt>
            <c:idx val="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7-82FC-421B-A80E-67ACC5454550}"/>
              </c:ext>
            </c:extLst>
          </c:dPt>
          <c:dPt>
            <c:idx val="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8-82FC-421B-A80E-67ACC5454550}"/>
              </c:ext>
            </c:extLst>
          </c:dPt>
          <c:dPt>
            <c:idx val="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9-82FC-421B-A80E-67ACC5454550}"/>
              </c:ext>
            </c:extLst>
          </c:dPt>
          <c:dPt>
            <c:idx val="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A-82FC-421B-A80E-67ACC5454550}"/>
              </c:ext>
            </c:extLst>
          </c:dPt>
          <c:dPt>
            <c:idx val="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B-82FC-421B-A80E-67ACC5454550}"/>
              </c:ext>
            </c:extLst>
          </c:dPt>
          <c:dPt>
            <c:idx val="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C-82FC-421B-A80E-67ACC5454550}"/>
              </c:ext>
            </c:extLst>
          </c:dPt>
          <c:dPt>
            <c:idx val="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D-82FC-421B-A80E-67ACC5454550}"/>
              </c:ext>
            </c:extLst>
          </c:dPt>
          <c:dPt>
            <c:idx val="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E-82FC-421B-A80E-67ACC5454550}"/>
              </c:ext>
            </c:extLst>
          </c:dPt>
          <c:dPt>
            <c:idx val="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2F-82FC-421B-A80E-67ACC5454550}"/>
              </c:ext>
            </c:extLst>
          </c:dPt>
          <c:dPt>
            <c:idx val="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0-82FC-421B-A80E-67ACC5454550}"/>
              </c:ext>
            </c:extLst>
          </c:dPt>
          <c:dPt>
            <c:idx val="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1-82FC-421B-A80E-67ACC5454550}"/>
              </c:ext>
            </c:extLst>
          </c:dPt>
          <c:dPt>
            <c:idx val="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2-82FC-421B-A80E-67ACC5454550}"/>
              </c:ext>
            </c:extLst>
          </c:dPt>
          <c:dPt>
            <c:idx val="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3-82FC-421B-A80E-67ACC5454550}"/>
              </c:ext>
            </c:extLst>
          </c:dPt>
          <c:dPt>
            <c:idx val="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4-82FC-421B-A80E-67ACC5454550}"/>
              </c:ext>
            </c:extLst>
          </c:dPt>
          <c:dPt>
            <c:idx val="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5-82FC-421B-A80E-67ACC5454550}"/>
              </c:ext>
            </c:extLst>
          </c:dPt>
          <c:dPt>
            <c:idx val="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6-82FC-421B-A80E-67ACC5454550}"/>
              </c:ext>
            </c:extLst>
          </c:dPt>
          <c:dPt>
            <c:idx val="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7-82FC-421B-A80E-67ACC5454550}"/>
              </c:ext>
            </c:extLst>
          </c:dPt>
          <c:dPt>
            <c:idx val="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8-82FC-421B-A80E-67ACC5454550}"/>
              </c:ext>
            </c:extLst>
          </c:dPt>
          <c:dPt>
            <c:idx val="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9-82FC-421B-A80E-67ACC5454550}"/>
              </c:ext>
            </c:extLst>
          </c:dPt>
          <c:dPt>
            <c:idx val="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A-82FC-421B-A80E-67ACC5454550}"/>
              </c:ext>
            </c:extLst>
          </c:dPt>
          <c:dPt>
            <c:idx val="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B-82FC-421B-A80E-67ACC5454550}"/>
              </c:ext>
            </c:extLst>
          </c:dPt>
          <c:dPt>
            <c:idx val="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C-82FC-421B-A80E-67ACC5454550}"/>
              </c:ext>
            </c:extLst>
          </c:dPt>
          <c:dPt>
            <c:idx val="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D-82FC-421B-A80E-67ACC5454550}"/>
              </c:ext>
            </c:extLst>
          </c:dPt>
          <c:dPt>
            <c:idx val="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E-82FC-421B-A80E-67ACC5454550}"/>
              </c:ext>
            </c:extLst>
          </c:dPt>
          <c:dPt>
            <c:idx val="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3F-82FC-421B-A80E-67ACC5454550}"/>
              </c:ext>
            </c:extLst>
          </c:dPt>
          <c:dPt>
            <c:idx val="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0-82FC-421B-A80E-67ACC5454550}"/>
              </c:ext>
            </c:extLst>
          </c:dPt>
          <c:dPt>
            <c:idx val="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1-82FC-421B-A80E-67ACC5454550}"/>
              </c:ext>
            </c:extLst>
          </c:dPt>
          <c:dPt>
            <c:idx val="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2-82FC-421B-A80E-67ACC5454550}"/>
              </c:ext>
            </c:extLst>
          </c:dPt>
          <c:dPt>
            <c:idx val="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3-82FC-421B-A80E-67ACC5454550}"/>
              </c:ext>
            </c:extLst>
          </c:dPt>
          <c:dPt>
            <c:idx val="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4-82FC-421B-A80E-67ACC5454550}"/>
              </c:ext>
            </c:extLst>
          </c:dPt>
          <c:dPt>
            <c:idx val="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5-82FC-421B-A80E-67ACC5454550}"/>
              </c:ext>
            </c:extLst>
          </c:dPt>
          <c:dPt>
            <c:idx val="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6-82FC-421B-A80E-67ACC5454550}"/>
              </c:ext>
            </c:extLst>
          </c:dPt>
          <c:dPt>
            <c:idx val="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7-82FC-421B-A80E-67ACC5454550}"/>
              </c:ext>
            </c:extLst>
          </c:dPt>
          <c:dPt>
            <c:idx val="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8-82FC-421B-A80E-67ACC5454550}"/>
              </c:ext>
            </c:extLst>
          </c:dPt>
          <c:dPt>
            <c:idx val="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9-82FC-421B-A80E-67ACC5454550}"/>
              </c:ext>
            </c:extLst>
          </c:dPt>
          <c:dPt>
            <c:idx val="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A-82FC-421B-A80E-67ACC5454550}"/>
              </c:ext>
            </c:extLst>
          </c:dPt>
          <c:dPt>
            <c:idx val="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B-82FC-421B-A80E-67ACC5454550}"/>
              </c:ext>
            </c:extLst>
          </c:dPt>
          <c:dPt>
            <c:idx val="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C-82FC-421B-A80E-67ACC5454550}"/>
              </c:ext>
            </c:extLst>
          </c:dPt>
          <c:dPt>
            <c:idx val="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D-82FC-421B-A80E-67ACC5454550}"/>
              </c:ext>
            </c:extLst>
          </c:dPt>
          <c:dPt>
            <c:idx val="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E-82FC-421B-A80E-67ACC5454550}"/>
              </c:ext>
            </c:extLst>
          </c:dPt>
          <c:dPt>
            <c:idx val="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4F-82FC-421B-A80E-67ACC5454550}"/>
              </c:ext>
            </c:extLst>
          </c:dPt>
          <c:dPt>
            <c:idx val="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0-82FC-421B-A80E-67ACC5454550}"/>
              </c:ext>
            </c:extLst>
          </c:dPt>
          <c:dPt>
            <c:idx val="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1-82FC-421B-A80E-67ACC5454550}"/>
              </c:ext>
            </c:extLst>
          </c:dPt>
          <c:dPt>
            <c:idx val="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2-82FC-421B-A80E-67ACC5454550}"/>
              </c:ext>
            </c:extLst>
          </c:dPt>
          <c:dPt>
            <c:idx val="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3-82FC-421B-A80E-67ACC5454550}"/>
              </c:ext>
            </c:extLst>
          </c:dPt>
          <c:dPt>
            <c:idx val="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4-82FC-421B-A80E-67ACC5454550}"/>
              </c:ext>
            </c:extLst>
          </c:dPt>
          <c:dPt>
            <c:idx val="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5-82FC-421B-A80E-67ACC5454550}"/>
              </c:ext>
            </c:extLst>
          </c:dPt>
          <c:dPt>
            <c:idx val="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6-82FC-421B-A80E-67ACC5454550}"/>
              </c:ext>
            </c:extLst>
          </c:dPt>
          <c:dPt>
            <c:idx val="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7-82FC-421B-A80E-67ACC5454550}"/>
              </c:ext>
            </c:extLst>
          </c:dPt>
          <c:dPt>
            <c:idx val="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8-82FC-421B-A80E-67ACC5454550}"/>
              </c:ext>
            </c:extLst>
          </c:dPt>
          <c:dPt>
            <c:idx val="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9-82FC-421B-A80E-67ACC5454550}"/>
              </c:ext>
            </c:extLst>
          </c:dPt>
          <c:dPt>
            <c:idx val="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A-82FC-421B-A80E-67ACC5454550}"/>
              </c:ext>
            </c:extLst>
          </c:dPt>
          <c:dPt>
            <c:idx val="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B-82FC-421B-A80E-67ACC5454550}"/>
              </c:ext>
            </c:extLst>
          </c:dPt>
          <c:dPt>
            <c:idx val="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C-82FC-421B-A80E-67ACC5454550}"/>
              </c:ext>
            </c:extLst>
          </c:dPt>
          <c:dPt>
            <c:idx val="1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D-82FC-421B-A80E-67ACC5454550}"/>
              </c:ext>
            </c:extLst>
          </c:dPt>
          <c:dPt>
            <c:idx val="1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E-82FC-421B-A80E-67ACC5454550}"/>
              </c:ext>
            </c:extLst>
          </c:dPt>
          <c:dPt>
            <c:idx val="1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5F-82FC-421B-A80E-67ACC5454550}"/>
              </c:ext>
            </c:extLst>
          </c:dPt>
          <c:dPt>
            <c:idx val="1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0-82FC-421B-A80E-67ACC5454550}"/>
              </c:ext>
            </c:extLst>
          </c:dPt>
          <c:dPt>
            <c:idx val="1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1-82FC-421B-A80E-67ACC5454550}"/>
              </c:ext>
            </c:extLst>
          </c:dPt>
          <c:dPt>
            <c:idx val="1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2-82FC-421B-A80E-67ACC5454550}"/>
              </c:ext>
            </c:extLst>
          </c:dPt>
          <c:dPt>
            <c:idx val="1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3-82FC-421B-A80E-67ACC5454550}"/>
              </c:ext>
            </c:extLst>
          </c:dPt>
          <c:dPt>
            <c:idx val="1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4-82FC-421B-A80E-67ACC5454550}"/>
              </c:ext>
            </c:extLst>
          </c:dPt>
          <c:dPt>
            <c:idx val="1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5-82FC-421B-A80E-67ACC5454550}"/>
              </c:ext>
            </c:extLst>
          </c:dPt>
          <c:dPt>
            <c:idx val="1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6-82FC-421B-A80E-67ACC5454550}"/>
              </c:ext>
            </c:extLst>
          </c:dPt>
          <c:dPt>
            <c:idx val="1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7-82FC-421B-A80E-67ACC5454550}"/>
              </c:ext>
            </c:extLst>
          </c:dPt>
          <c:dPt>
            <c:idx val="1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8-82FC-421B-A80E-67ACC5454550}"/>
              </c:ext>
            </c:extLst>
          </c:dPt>
          <c:dPt>
            <c:idx val="1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9-82FC-421B-A80E-67ACC5454550}"/>
              </c:ext>
            </c:extLst>
          </c:dPt>
          <c:dPt>
            <c:idx val="1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A-82FC-421B-A80E-67ACC5454550}"/>
              </c:ext>
            </c:extLst>
          </c:dPt>
          <c:dPt>
            <c:idx val="1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B-82FC-421B-A80E-67ACC5454550}"/>
              </c:ext>
            </c:extLst>
          </c:dPt>
          <c:dPt>
            <c:idx val="1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C-82FC-421B-A80E-67ACC5454550}"/>
              </c:ext>
            </c:extLst>
          </c:dPt>
          <c:dPt>
            <c:idx val="1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D-82FC-421B-A80E-67ACC5454550}"/>
              </c:ext>
            </c:extLst>
          </c:dPt>
          <c:dPt>
            <c:idx val="1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E-82FC-421B-A80E-67ACC5454550}"/>
              </c:ext>
            </c:extLst>
          </c:dPt>
          <c:dPt>
            <c:idx val="1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6F-82FC-421B-A80E-67ACC5454550}"/>
              </c:ext>
            </c:extLst>
          </c:dPt>
          <c:dPt>
            <c:idx val="1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0-82FC-421B-A80E-67ACC5454550}"/>
              </c:ext>
            </c:extLst>
          </c:dPt>
          <c:dPt>
            <c:idx val="1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1-82FC-421B-A80E-67ACC5454550}"/>
              </c:ext>
            </c:extLst>
          </c:dPt>
          <c:dPt>
            <c:idx val="1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2-82FC-421B-A80E-67ACC5454550}"/>
              </c:ext>
            </c:extLst>
          </c:dPt>
          <c:dPt>
            <c:idx val="1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3-82FC-421B-A80E-67ACC5454550}"/>
              </c:ext>
            </c:extLst>
          </c:dPt>
          <c:dPt>
            <c:idx val="1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4-82FC-421B-A80E-67ACC5454550}"/>
              </c:ext>
            </c:extLst>
          </c:dPt>
          <c:dPt>
            <c:idx val="1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5-82FC-421B-A80E-67ACC5454550}"/>
              </c:ext>
            </c:extLst>
          </c:dPt>
          <c:dPt>
            <c:idx val="1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6-82FC-421B-A80E-67ACC5454550}"/>
              </c:ext>
            </c:extLst>
          </c:dPt>
          <c:dPt>
            <c:idx val="1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7-82FC-421B-A80E-67ACC5454550}"/>
              </c:ext>
            </c:extLst>
          </c:dPt>
          <c:dPt>
            <c:idx val="1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8-82FC-421B-A80E-67ACC5454550}"/>
              </c:ext>
            </c:extLst>
          </c:dPt>
          <c:dPt>
            <c:idx val="1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9-82FC-421B-A80E-67ACC5454550}"/>
              </c:ext>
            </c:extLst>
          </c:dPt>
          <c:dPt>
            <c:idx val="1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A-82FC-421B-A80E-67ACC5454550}"/>
              </c:ext>
            </c:extLst>
          </c:dPt>
          <c:dPt>
            <c:idx val="1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B-82FC-421B-A80E-67ACC5454550}"/>
              </c:ext>
            </c:extLst>
          </c:dPt>
          <c:dPt>
            <c:idx val="1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C-82FC-421B-A80E-67ACC5454550}"/>
              </c:ext>
            </c:extLst>
          </c:dPt>
          <c:dPt>
            <c:idx val="1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D-82FC-421B-A80E-67ACC5454550}"/>
              </c:ext>
            </c:extLst>
          </c:dPt>
          <c:dPt>
            <c:idx val="1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E-82FC-421B-A80E-67ACC5454550}"/>
              </c:ext>
            </c:extLst>
          </c:dPt>
          <c:dPt>
            <c:idx val="1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7F-82FC-421B-A80E-67ACC5454550}"/>
              </c:ext>
            </c:extLst>
          </c:dPt>
          <c:dPt>
            <c:idx val="1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0-82FC-421B-A80E-67ACC5454550}"/>
              </c:ext>
            </c:extLst>
          </c:dPt>
          <c:dPt>
            <c:idx val="1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1-82FC-421B-A80E-67ACC5454550}"/>
              </c:ext>
            </c:extLst>
          </c:dPt>
          <c:dPt>
            <c:idx val="1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2-82FC-421B-A80E-67ACC5454550}"/>
              </c:ext>
            </c:extLst>
          </c:dPt>
          <c:dPt>
            <c:idx val="1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3-82FC-421B-A80E-67ACC5454550}"/>
              </c:ext>
            </c:extLst>
          </c:dPt>
          <c:dPt>
            <c:idx val="1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4-82FC-421B-A80E-67ACC5454550}"/>
              </c:ext>
            </c:extLst>
          </c:dPt>
          <c:dPt>
            <c:idx val="1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5-82FC-421B-A80E-67ACC5454550}"/>
              </c:ext>
            </c:extLst>
          </c:dPt>
          <c:dPt>
            <c:idx val="1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6-82FC-421B-A80E-67ACC5454550}"/>
              </c:ext>
            </c:extLst>
          </c:dPt>
          <c:dPt>
            <c:idx val="1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7-82FC-421B-A80E-67ACC5454550}"/>
              </c:ext>
            </c:extLst>
          </c:dPt>
          <c:dPt>
            <c:idx val="1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8-82FC-421B-A80E-67ACC5454550}"/>
              </c:ext>
            </c:extLst>
          </c:dPt>
          <c:dPt>
            <c:idx val="1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9-82FC-421B-A80E-67ACC5454550}"/>
              </c:ext>
            </c:extLst>
          </c:dPt>
          <c:dPt>
            <c:idx val="1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A-82FC-421B-A80E-67ACC5454550}"/>
              </c:ext>
            </c:extLst>
          </c:dPt>
          <c:dPt>
            <c:idx val="1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B-82FC-421B-A80E-67ACC5454550}"/>
              </c:ext>
            </c:extLst>
          </c:dPt>
          <c:dPt>
            <c:idx val="1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C-82FC-421B-A80E-67ACC5454550}"/>
              </c:ext>
            </c:extLst>
          </c:dPt>
          <c:dPt>
            <c:idx val="1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D-82FC-421B-A80E-67ACC5454550}"/>
              </c:ext>
            </c:extLst>
          </c:dPt>
          <c:dPt>
            <c:idx val="1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E-82FC-421B-A80E-67ACC5454550}"/>
              </c:ext>
            </c:extLst>
          </c:dPt>
          <c:dPt>
            <c:idx val="1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8F-82FC-421B-A80E-67ACC5454550}"/>
              </c:ext>
            </c:extLst>
          </c:dPt>
          <c:dPt>
            <c:idx val="1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0-82FC-421B-A80E-67ACC5454550}"/>
              </c:ext>
            </c:extLst>
          </c:dPt>
          <c:dPt>
            <c:idx val="1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1-82FC-421B-A80E-67ACC5454550}"/>
              </c:ext>
            </c:extLst>
          </c:dPt>
          <c:dPt>
            <c:idx val="1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2-82FC-421B-A80E-67ACC5454550}"/>
              </c:ext>
            </c:extLst>
          </c:dPt>
          <c:dPt>
            <c:idx val="1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3-82FC-421B-A80E-67ACC5454550}"/>
              </c:ext>
            </c:extLst>
          </c:dPt>
          <c:dPt>
            <c:idx val="1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4-82FC-421B-A80E-67ACC5454550}"/>
              </c:ext>
            </c:extLst>
          </c:dPt>
          <c:dPt>
            <c:idx val="1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5-82FC-421B-A80E-67ACC5454550}"/>
              </c:ext>
            </c:extLst>
          </c:dPt>
          <c:dPt>
            <c:idx val="1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6-82FC-421B-A80E-67ACC5454550}"/>
              </c:ext>
            </c:extLst>
          </c:dPt>
          <c:dPt>
            <c:idx val="1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7-82FC-421B-A80E-67ACC5454550}"/>
              </c:ext>
            </c:extLst>
          </c:dPt>
          <c:dPt>
            <c:idx val="1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8-82FC-421B-A80E-67ACC5454550}"/>
              </c:ext>
            </c:extLst>
          </c:dPt>
          <c:dPt>
            <c:idx val="1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9-82FC-421B-A80E-67ACC5454550}"/>
              </c:ext>
            </c:extLst>
          </c:dPt>
          <c:dPt>
            <c:idx val="1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A-82FC-421B-A80E-67ACC5454550}"/>
              </c:ext>
            </c:extLst>
          </c:dPt>
          <c:dPt>
            <c:idx val="1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B-82FC-421B-A80E-67ACC5454550}"/>
              </c:ext>
            </c:extLst>
          </c:dPt>
          <c:dPt>
            <c:idx val="1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C-82FC-421B-A80E-67ACC5454550}"/>
              </c:ext>
            </c:extLst>
          </c:dPt>
          <c:dPt>
            <c:idx val="1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D-82FC-421B-A80E-67ACC5454550}"/>
              </c:ext>
            </c:extLst>
          </c:dPt>
          <c:dPt>
            <c:idx val="1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E-82FC-421B-A80E-67ACC5454550}"/>
              </c:ext>
            </c:extLst>
          </c:dPt>
          <c:dPt>
            <c:idx val="1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9F-82FC-421B-A80E-67ACC5454550}"/>
              </c:ext>
            </c:extLst>
          </c:dPt>
          <c:dPt>
            <c:idx val="1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0-82FC-421B-A80E-67ACC5454550}"/>
              </c:ext>
            </c:extLst>
          </c:dPt>
          <c:dPt>
            <c:idx val="1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1-82FC-421B-A80E-67ACC5454550}"/>
              </c:ext>
            </c:extLst>
          </c:dPt>
          <c:dPt>
            <c:idx val="1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2-82FC-421B-A80E-67ACC5454550}"/>
              </c:ext>
            </c:extLst>
          </c:dPt>
          <c:dPt>
            <c:idx val="1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3-82FC-421B-A80E-67ACC5454550}"/>
              </c:ext>
            </c:extLst>
          </c:dPt>
          <c:dPt>
            <c:idx val="1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4-82FC-421B-A80E-67ACC5454550}"/>
              </c:ext>
            </c:extLst>
          </c:dPt>
          <c:dPt>
            <c:idx val="1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5-82FC-421B-A80E-67ACC5454550}"/>
              </c:ext>
            </c:extLst>
          </c:dPt>
          <c:dPt>
            <c:idx val="1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6-82FC-421B-A80E-67ACC5454550}"/>
              </c:ext>
            </c:extLst>
          </c:dPt>
          <c:dPt>
            <c:idx val="1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7-82FC-421B-A80E-67ACC5454550}"/>
              </c:ext>
            </c:extLst>
          </c:dPt>
          <c:dPt>
            <c:idx val="1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8-82FC-421B-A80E-67ACC5454550}"/>
              </c:ext>
            </c:extLst>
          </c:dPt>
          <c:dPt>
            <c:idx val="1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9-82FC-421B-A80E-67ACC5454550}"/>
              </c:ext>
            </c:extLst>
          </c:dPt>
          <c:dPt>
            <c:idx val="1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A-82FC-421B-A80E-67ACC5454550}"/>
              </c:ext>
            </c:extLst>
          </c:dPt>
          <c:dPt>
            <c:idx val="1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B-82FC-421B-A80E-67ACC5454550}"/>
              </c:ext>
            </c:extLst>
          </c:dPt>
          <c:dPt>
            <c:idx val="1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C-82FC-421B-A80E-67ACC5454550}"/>
              </c:ext>
            </c:extLst>
          </c:dPt>
          <c:dPt>
            <c:idx val="1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D-82FC-421B-A80E-67ACC5454550}"/>
              </c:ext>
            </c:extLst>
          </c:dPt>
          <c:dPt>
            <c:idx val="1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E-82FC-421B-A80E-67ACC5454550}"/>
              </c:ext>
            </c:extLst>
          </c:dPt>
          <c:dPt>
            <c:idx val="1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AF-82FC-421B-A80E-67ACC5454550}"/>
              </c:ext>
            </c:extLst>
          </c:dPt>
          <c:dPt>
            <c:idx val="1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0-82FC-421B-A80E-67ACC5454550}"/>
              </c:ext>
            </c:extLst>
          </c:dPt>
          <c:dPt>
            <c:idx val="1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1-82FC-421B-A80E-67ACC5454550}"/>
              </c:ext>
            </c:extLst>
          </c:dPt>
          <c:dPt>
            <c:idx val="1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2-82FC-421B-A80E-67ACC5454550}"/>
              </c:ext>
            </c:extLst>
          </c:dPt>
          <c:dPt>
            <c:idx val="1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3-82FC-421B-A80E-67ACC5454550}"/>
              </c:ext>
            </c:extLst>
          </c:dPt>
          <c:dPt>
            <c:idx val="1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4-82FC-421B-A80E-67ACC5454550}"/>
              </c:ext>
            </c:extLst>
          </c:dPt>
          <c:dPt>
            <c:idx val="1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5-82FC-421B-A80E-67ACC5454550}"/>
              </c:ext>
            </c:extLst>
          </c:dPt>
          <c:dPt>
            <c:idx val="1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6-82FC-421B-A80E-67ACC5454550}"/>
              </c:ext>
            </c:extLst>
          </c:dPt>
          <c:dPt>
            <c:idx val="1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7-82FC-421B-A80E-67ACC5454550}"/>
              </c:ext>
            </c:extLst>
          </c:dPt>
          <c:dPt>
            <c:idx val="1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8-82FC-421B-A80E-67ACC5454550}"/>
              </c:ext>
            </c:extLst>
          </c:dPt>
          <c:dPt>
            <c:idx val="1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9-82FC-421B-A80E-67ACC5454550}"/>
              </c:ext>
            </c:extLst>
          </c:dPt>
          <c:dPt>
            <c:idx val="1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A-82FC-421B-A80E-67ACC5454550}"/>
              </c:ext>
            </c:extLst>
          </c:dPt>
          <c:dPt>
            <c:idx val="1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B-82FC-421B-A80E-67ACC5454550}"/>
              </c:ext>
            </c:extLst>
          </c:dPt>
          <c:dPt>
            <c:idx val="1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C-82FC-421B-A80E-67ACC5454550}"/>
              </c:ext>
            </c:extLst>
          </c:dPt>
          <c:dPt>
            <c:idx val="1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D-82FC-421B-A80E-67ACC5454550}"/>
              </c:ext>
            </c:extLst>
          </c:dPt>
          <c:dPt>
            <c:idx val="1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E-82FC-421B-A80E-67ACC5454550}"/>
              </c:ext>
            </c:extLst>
          </c:dPt>
          <c:dPt>
            <c:idx val="1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BF-82FC-421B-A80E-67ACC5454550}"/>
              </c:ext>
            </c:extLst>
          </c:dPt>
          <c:dPt>
            <c:idx val="1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0-82FC-421B-A80E-67ACC5454550}"/>
              </c:ext>
            </c:extLst>
          </c:dPt>
          <c:dPt>
            <c:idx val="2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1-82FC-421B-A80E-67ACC5454550}"/>
              </c:ext>
            </c:extLst>
          </c:dPt>
          <c:dPt>
            <c:idx val="2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2-82FC-421B-A80E-67ACC5454550}"/>
              </c:ext>
            </c:extLst>
          </c:dPt>
          <c:dPt>
            <c:idx val="2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3-82FC-421B-A80E-67ACC5454550}"/>
              </c:ext>
            </c:extLst>
          </c:dPt>
          <c:dPt>
            <c:idx val="2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4-82FC-421B-A80E-67ACC5454550}"/>
              </c:ext>
            </c:extLst>
          </c:dPt>
          <c:dPt>
            <c:idx val="2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5-82FC-421B-A80E-67ACC5454550}"/>
              </c:ext>
            </c:extLst>
          </c:dPt>
          <c:dPt>
            <c:idx val="2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6-82FC-421B-A80E-67ACC5454550}"/>
              </c:ext>
            </c:extLst>
          </c:dPt>
          <c:dPt>
            <c:idx val="2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7-82FC-421B-A80E-67ACC5454550}"/>
              </c:ext>
            </c:extLst>
          </c:dPt>
          <c:dPt>
            <c:idx val="2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8-82FC-421B-A80E-67ACC5454550}"/>
              </c:ext>
            </c:extLst>
          </c:dPt>
          <c:dPt>
            <c:idx val="2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9-82FC-421B-A80E-67ACC5454550}"/>
              </c:ext>
            </c:extLst>
          </c:dPt>
          <c:dPt>
            <c:idx val="2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A-82FC-421B-A80E-67ACC5454550}"/>
              </c:ext>
            </c:extLst>
          </c:dPt>
          <c:dPt>
            <c:idx val="2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B-82FC-421B-A80E-67ACC5454550}"/>
              </c:ext>
            </c:extLst>
          </c:dPt>
          <c:dPt>
            <c:idx val="2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C-82FC-421B-A80E-67ACC5454550}"/>
              </c:ext>
            </c:extLst>
          </c:dPt>
          <c:dPt>
            <c:idx val="2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D-82FC-421B-A80E-67ACC5454550}"/>
              </c:ext>
            </c:extLst>
          </c:dPt>
          <c:dPt>
            <c:idx val="2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E-82FC-421B-A80E-67ACC5454550}"/>
              </c:ext>
            </c:extLst>
          </c:dPt>
          <c:dPt>
            <c:idx val="2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CF-82FC-421B-A80E-67ACC5454550}"/>
              </c:ext>
            </c:extLst>
          </c:dPt>
          <c:dPt>
            <c:idx val="2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0-82FC-421B-A80E-67ACC5454550}"/>
              </c:ext>
            </c:extLst>
          </c:dPt>
          <c:dPt>
            <c:idx val="2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1-82FC-421B-A80E-67ACC5454550}"/>
              </c:ext>
            </c:extLst>
          </c:dPt>
          <c:dPt>
            <c:idx val="2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2-82FC-421B-A80E-67ACC5454550}"/>
              </c:ext>
            </c:extLst>
          </c:dPt>
          <c:dPt>
            <c:idx val="2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3-82FC-421B-A80E-67ACC5454550}"/>
              </c:ext>
            </c:extLst>
          </c:dPt>
          <c:dPt>
            <c:idx val="2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4-82FC-421B-A80E-67ACC5454550}"/>
              </c:ext>
            </c:extLst>
          </c:dPt>
          <c:dPt>
            <c:idx val="2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5-82FC-421B-A80E-67ACC5454550}"/>
              </c:ext>
            </c:extLst>
          </c:dPt>
          <c:dPt>
            <c:idx val="2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6-82FC-421B-A80E-67ACC5454550}"/>
              </c:ext>
            </c:extLst>
          </c:dPt>
          <c:dPt>
            <c:idx val="2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7-82FC-421B-A80E-67ACC5454550}"/>
              </c:ext>
            </c:extLst>
          </c:dPt>
          <c:dPt>
            <c:idx val="2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8-82FC-421B-A80E-67ACC5454550}"/>
              </c:ext>
            </c:extLst>
          </c:dPt>
          <c:dPt>
            <c:idx val="2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9-82FC-421B-A80E-67ACC5454550}"/>
              </c:ext>
            </c:extLst>
          </c:dPt>
          <c:dPt>
            <c:idx val="2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A-82FC-421B-A80E-67ACC5454550}"/>
              </c:ext>
            </c:extLst>
          </c:dPt>
          <c:dPt>
            <c:idx val="2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B-82FC-421B-A80E-67ACC5454550}"/>
              </c:ext>
            </c:extLst>
          </c:dPt>
          <c:dPt>
            <c:idx val="2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C-82FC-421B-A80E-67ACC5454550}"/>
              </c:ext>
            </c:extLst>
          </c:dPt>
          <c:dPt>
            <c:idx val="2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D-82FC-421B-A80E-67ACC5454550}"/>
              </c:ext>
            </c:extLst>
          </c:dPt>
          <c:dPt>
            <c:idx val="2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E-82FC-421B-A80E-67ACC5454550}"/>
              </c:ext>
            </c:extLst>
          </c:dPt>
          <c:dPt>
            <c:idx val="2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DF-82FC-421B-A80E-67ACC5454550}"/>
              </c:ext>
            </c:extLst>
          </c:dPt>
          <c:dPt>
            <c:idx val="2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0-82FC-421B-A80E-67ACC5454550}"/>
              </c:ext>
            </c:extLst>
          </c:dPt>
          <c:dPt>
            <c:idx val="2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1-82FC-421B-A80E-67ACC5454550}"/>
              </c:ext>
            </c:extLst>
          </c:dPt>
          <c:dPt>
            <c:idx val="2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2-82FC-421B-A80E-67ACC5454550}"/>
              </c:ext>
            </c:extLst>
          </c:dPt>
          <c:dPt>
            <c:idx val="2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3-82FC-421B-A80E-67ACC5454550}"/>
              </c:ext>
            </c:extLst>
          </c:dPt>
          <c:dPt>
            <c:idx val="2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4-82FC-421B-A80E-67ACC5454550}"/>
              </c:ext>
            </c:extLst>
          </c:dPt>
          <c:dPt>
            <c:idx val="2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5-82FC-421B-A80E-67ACC5454550}"/>
              </c:ext>
            </c:extLst>
          </c:dPt>
          <c:dPt>
            <c:idx val="2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6-82FC-421B-A80E-67ACC5454550}"/>
              </c:ext>
            </c:extLst>
          </c:dPt>
          <c:dPt>
            <c:idx val="2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7-82FC-421B-A80E-67ACC5454550}"/>
              </c:ext>
            </c:extLst>
          </c:dPt>
          <c:dPt>
            <c:idx val="2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8-82FC-421B-A80E-67ACC5454550}"/>
              </c:ext>
            </c:extLst>
          </c:dPt>
          <c:dPt>
            <c:idx val="2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9-82FC-421B-A80E-67ACC5454550}"/>
              </c:ext>
            </c:extLst>
          </c:dPt>
          <c:dPt>
            <c:idx val="2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A-82FC-421B-A80E-67ACC5454550}"/>
              </c:ext>
            </c:extLst>
          </c:dPt>
          <c:dPt>
            <c:idx val="2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B-82FC-421B-A80E-67ACC5454550}"/>
              </c:ext>
            </c:extLst>
          </c:dPt>
          <c:dPt>
            <c:idx val="2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C-82FC-421B-A80E-67ACC5454550}"/>
              </c:ext>
            </c:extLst>
          </c:dPt>
          <c:dPt>
            <c:idx val="2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D-82FC-421B-A80E-67ACC5454550}"/>
              </c:ext>
            </c:extLst>
          </c:dPt>
          <c:dPt>
            <c:idx val="2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E-82FC-421B-A80E-67ACC5454550}"/>
              </c:ext>
            </c:extLst>
          </c:dPt>
          <c:dPt>
            <c:idx val="2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EF-82FC-421B-A80E-67ACC5454550}"/>
              </c:ext>
            </c:extLst>
          </c:dPt>
          <c:dPt>
            <c:idx val="2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0-82FC-421B-A80E-67ACC5454550}"/>
              </c:ext>
            </c:extLst>
          </c:dPt>
          <c:dPt>
            <c:idx val="2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1-82FC-421B-A80E-67ACC5454550}"/>
              </c:ext>
            </c:extLst>
          </c:dPt>
          <c:dPt>
            <c:idx val="2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2-82FC-421B-A80E-67ACC5454550}"/>
              </c:ext>
            </c:extLst>
          </c:dPt>
          <c:dPt>
            <c:idx val="2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3-82FC-421B-A80E-67ACC5454550}"/>
              </c:ext>
            </c:extLst>
          </c:dPt>
          <c:dPt>
            <c:idx val="2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4-82FC-421B-A80E-67ACC5454550}"/>
              </c:ext>
            </c:extLst>
          </c:dPt>
          <c:dPt>
            <c:idx val="2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5-82FC-421B-A80E-67ACC5454550}"/>
              </c:ext>
            </c:extLst>
          </c:dPt>
          <c:dPt>
            <c:idx val="2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6-82FC-421B-A80E-67ACC5454550}"/>
              </c:ext>
            </c:extLst>
          </c:dPt>
          <c:dPt>
            <c:idx val="2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7-82FC-421B-A80E-67ACC5454550}"/>
              </c:ext>
            </c:extLst>
          </c:dPt>
          <c:dPt>
            <c:idx val="2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8-82FC-421B-A80E-67ACC5454550}"/>
              </c:ext>
            </c:extLst>
          </c:dPt>
          <c:dPt>
            <c:idx val="2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9-82FC-421B-A80E-67ACC5454550}"/>
              </c:ext>
            </c:extLst>
          </c:dPt>
          <c:dPt>
            <c:idx val="2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A-82FC-421B-A80E-67ACC5454550}"/>
              </c:ext>
            </c:extLst>
          </c:dPt>
          <c:dPt>
            <c:idx val="2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B-82FC-421B-A80E-67ACC5454550}"/>
              </c:ext>
            </c:extLst>
          </c:dPt>
          <c:dPt>
            <c:idx val="2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C-82FC-421B-A80E-67ACC5454550}"/>
              </c:ext>
            </c:extLst>
          </c:dPt>
          <c:dPt>
            <c:idx val="2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D-82FC-421B-A80E-67ACC5454550}"/>
              </c:ext>
            </c:extLst>
          </c:dPt>
          <c:dPt>
            <c:idx val="2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E-82FC-421B-A80E-67ACC5454550}"/>
              </c:ext>
            </c:extLst>
          </c:dPt>
          <c:dPt>
            <c:idx val="2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7FF-82FC-421B-A80E-67ACC5454550}"/>
              </c:ext>
            </c:extLst>
          </c:dPt>
          <c:dPt>
            <c:idx val="2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0-82FC-421B-A80E-67ACC5454550}"/>
              </c:ext>
            </c:extLst>
          </c:dPt>
          <c:dPt>
            <c:idx val="2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1-82FC-421B-A80E-67ACC5454550}"/>
              </c:ext>
            </c:extLst>
          </c:dPt>
          <c:dPt>
            <c:idx val="2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2-82FC-421B-A80E-67ACC5454550}"/>
              </c:ext>
            </c:extLst>
          </c:dPt>
          <c:dPt>
            <c:idx val="2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3-82FC-421B-A80E-67ACC5454550}"/>
              </c:ext>
            </c:extLst>
          </c:dPt>
          <c:dPt>
            <c:idx val="2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4-82FC-421B-A80E-67ACC5454550}"/>
              </c:ext>
            </c:extLst>
          </c:dPt>
          <c:dPt>
            <c:idx val="2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5-82FC-421B-A80E-67ACC5454550}"/>
              </c:ext>
            </c:extLst>
          </c:dPt>
          <c:dPt>
            <c:idx val="2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6-82FC-421B-A80E-67ACC5454550}"/>
              </c:ext>
            </c:extLst>
          </c:dPt>
          <c:dPt>
            <c:idx val="2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7-82FC-421B-A80E-67ACC5454550}"/>
              </c:ext>
            </c:extLst>
          </c:dPt>
          <c:dPt>
            <c:idx val="2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8-82FC-421B-A80E-67ACC5454550}"/>
              </c:ext>
            </c:extLst>
          </c:dPt>
          <c:dPt>
            <c:idx val="2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9-82FC-421B-A80E-67ACC5454550}"/>
              </c:ext>
            </c:extLst>
          </c:dPt>
          <c:dPt>
            <c:idx val="2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A-82FC-421B-A80E-67ACC5454550}"/>
              </c:ext>
            </c:extLst>
          </c:dPt>
          <c:dPt>
            <c:idx val="2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B-82FC-421B-A80E-67ACC5454550}"/>
              </c:ext>
            </c:extLst>
          </c:dPt>
          <c:dPt>
            <c:idx val="2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C-82FC-421B-A80E-67ACC5454550}"/>
              </c:ext>
            </c:extLst>
          </c:dPt>
          <c:dPt>
            <c:idx val="2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D-82FC-421B-A80E-67ACC5454550}"/>
              </c:ext>
            </c:extLst>
          </c:dPt>
          <c:dPt>
            <c:idx val="2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E-82FC-421B-A80E-67ACC5454550}"/>
              </c:ext>
            </c:extLst>
          </c:dPt>
          <c:dPt>
            <c:idx val="2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0F-82FC-421B-A80E-67ACC5454550}"/>
              </c:ext>
            </c:extLst>
          </c:dPt>
          <c:dPt>
            <c:idx val="2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0-82FC-421B-A80E-67ACC5454550}"/>
              </c:ext>
            </c:extLst>
          </c:dPt>
          <c:dPt>
            <c:idx val="2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1-82FC-421B-A80E-67ACC5454550}"/>
              </c:ext>
            </c:extLst>
          </c:dPt>
          <c:dPt>
            <c:idx val="2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2-82FC-421B-A80E-67ACC5454550}"/>
              </c:ext>
            </c:extLst>
          </c:dPt>
          <c:dPt>
            <c:idx val="2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3-82FC-421B-A80E-67ACC5454550}"/>
              </c:ext>
            </c:extLst>
          </c:dPt>
          <c:dPt>
            <c:idx val="2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4-82FC-421B-A80E-67ACC5454550}"/>
              </c:ext>
            </c:extLst>
          </c:dPt>
          <c:dPt>
            <c:idx val="2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5-82FC-421B-A80E-67ACC5454550}"/>
              </c:ext>
            </c:extLst>
          </c:dPt>
          <c:dPt>
            <c:idx val="2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6-82FC-421B-A80E-67ACC5454550}"/>
              </c:ext>
            </c:extLst>
          </c:dPt>
          <c:dPt>
            <c:idx val="2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7-82FC-421B-A80E-67ACC5454550}"/>
              </c:ext>
            </c:extLst>
          </c:dPt>
          <c:dPt>
            <c:idx val="2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8-82FC-421B-A80E-67ACC5454550}"/>
              </c:ext>
            </c:extLst>
          </c:dPt>
          <c:dPt>
            <c:idx val="2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9-82FC-421B-A80E-67ACC5454550}"/>
              </c:ext>
            </c:extLst>
          </c:dPt>
          <c:dPt>
            <c:idx val="2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A-82FC-421B-A80E-67ACC5454550}"/>
              </c:ext>
            </c:extLst>
          </c:dPt>
          <c:dPt>
            <c:idx val="2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B-82FC-421B-A80E-67ACC5454550}"/>
              </c:ext>
            </c:extLst>
          </c:dPt>
          <c:dPt>
            <c:idx val="2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C-82FC-421B-A80E-67ACC5454550}"/>
              </c:ext>
            </c:extLst>
          </c:dPt>
          <c:dPt>
            <c:idx val="2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D-82FC-421B-A80E-67ACC5454550}"/>
              </c:ext>
            </c:extLst>
          </c:dPt>
          <c:dPt>
            <c:idx val="2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E-82FC-421B-A80E-67ACC5454550}"/>
              </c:ext>
            </c:extLst>
          </c:dPt>
          <c:dPt>
            <c:idx val="2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1F-82FC-421B-A80E-67ACC5454550}"/>
              </c:ext>
            </c:extLst>
          </c:dPt>
          <c:dPt>
            <c:idx val="2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0-82FC-421B-A80E-67ACC5454550}"/>
              </c:ext>
            </c:extLst>
          </c:dPt>
          <c:dPt>
            <c:idx val="2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1-82FC-421B-A80E-67ACC5454550}"/>
              </c:ext>
            </c:extLst>
          </c:dPt>
          <c:dPt>
            <c:idx val="2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2-82FC-421B-A80E-67ACC5454550}"/>
              </c:ext>
            </c:extLst>
          </c:dPt>
          <c:dPt>
            <c:idx val="2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3-82FC-421B-A80E-67ACC5454550}"/>
              </c:ext>
            </c:extLst>
          </c:dPt>
          <c:dPt>
            <c:idx val="2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4-82FC-421B-A80E-67ACC5454550}"/>
              </c:ext>
            </c:extLst>
          </c:dPt>
          <c:dPt>
            <c:idx val="3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5-82FC-421B-A80E-67ACC5454550}"/>
              </c:ext>
            </c:extLst>
          </c:dPt>
          <c:dPt>
            <c:idx val="3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6-82FC-421B-A80E-67ACC5454550}"/>
              </c:ext>
            </c:extLst>
          </c:dPt>
          <c:dPt>
            <c:idx val="3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7-82FC-421B-A80E-67ACC5454550}"/>
              </c:ext>
            </c:extLst>
          </c:dPt>
          <c:dPt>
            <c:idx val="3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8-82FC-421B-A80E-67ACC5454550}"/>
              </c:ext>
            </c:extLst>
          </c:dPt>
          <c:dPt>
            <c:idx val="3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9-82FC-421B-A80E-67ACC5454550}"/>
              </c:ext>
            </c:extLst>
          </c:dPt>
          <c:dPt>
            <c:idx val="3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A-82FC-421B-A80E-67ACC5454550}"/>
              </c:ext>
            </c:extLst>
          </c:dPt>
          <c:dPt>
            <c:idx val="3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B-82FC-421B-A80E-67ACC5454550}"/>
              </c:ext>
            </c:extLst>
          </c:dPt>
          <c:dPt>
            <c:idx val="3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C-82FC-421B-A80E-67ACC5454550}"/>
              </c:ext>
            </c:extLst>
          </c:dPt>
          <c:dPt>
            <c:idx val="3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D-82FC-421B-A80E-67ACC5454550}"/>
              </c:ext>
            </c:extLst>
          </c:dPt>
          <c:dPt>
            <c:idx val="3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E-82FC-421B-A80E-67ACC5454550}"/>
              </c:ext>
            </c:extLst>
          </c:dPt>
          <c:dPt>
            <c:idx val="3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2F-82FC-421B-A80E-67ACC5454550}"/>
              </c:ext>
            </c:extLst>
          </c:dPt>
          <c:dPt>
            <c:idx val="3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0-82FC-421B-A80E-67ACC5454550}"/>
              </c:ext>
            </c:extLst>
          </c:dPt>
          <c:dPt>
            <c:idx val="3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1-82FC-421B-A80E-67ACC5454550}"/>
              </c:ext>
            </c:extLst>
          </c:dPt>
          <c:dPt>
            <c:idx val="3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2-82FC-421B-A80E-67ACC5454550}"/>
              </c:ext>
            </c:extLst>
          </c:dPt>
          <c:dPt>
            <c:idx val="3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3-82FC-421B-A80E-67ACC5454550}"/>
              </c:ext>
            </c:extLst>
          </c:dPt>
          <c:dPt>
            <c:idx val="3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4-82FC-421B-A80E-67ACC5454550}"/>
              </c:ext>
            </c:extLst>
          </c:dPt>
          <c:dPt>
            <c:idx val="3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5-82FC-421B-A80E-67ACC5454550}"/>
              </c:ext>
            </c:extLst>
          </c:dPt>
          <c:dPt>
            <c:idx val="3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6-82FC-421B-A80E-67ACC5454550}"/>
              </c:ext>
            </c:extLst>
          </c:dPt>
          <c:dPt>
            <c:idx val="3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7-82FC-421B-A80E-67ACC5454550}"/>
              </c:ext>
            </c:extLst>
          </c:dPt>
          <c:dPt>
            <c:idx val="3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8-82FC-421B-A80E-67ACC5454550}"/>
              </c:ext>
            </c:extLst>
          </c:dPt>
          <c:dPt>
            <c:idx val="3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9-82FC-421B-A80E-67ACC5454550}"/>
              </c:ext>
            </c:extLst>
          </c:dPt>
          <c:dPt>
            <c:idx val="3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A-82FC-421B-A80E-67ACC5454550}"/>
              </c:ext>
            </c:extLst>
          </c:dPt>
          <c:dPt>
            <c:idx val="3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B-82FC-421B-A80E-67ACC5454550}"/>
              </c:ext>
            </c:extLst>
          </c:dPt>
          <c:dPt>
            <c:idx val="3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C-82FC-421B-A80E-67ACC5454550}"/>
              </c:ext>
            </c:extLst>
          </c:dPt>
          <c:dPt>
            <c:idx val="3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D-82FC-421B-A80E-67ACC5454550}"/>
              </c:ext>
            </c:extLst>
          </c:dPt>
          <c:dPt>
            <c:idx val="3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E-82FC-421B-A80E-67ACC5454550}"/>
              </c:ext>
            </c:extLst>
          </c:dPt>
          <c:dPt>
            <c:idx val="3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3F-82FC-421B-A80E-67ACC5454550}"/>
              </c:ext>
            </c:extLst>
          </c:dPt>
          <c:dPt>
            <c:idx val="3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0-82FC-421B-A80E-67ACC5454550}"/>
              </c:ext>
            </c:extLst>
          </c:dPt>
          <c:dPt>
            <c:idx val="3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1-82FC-421B-A80E-67ACC5454550}"/>
              </c:ext>
            </c:extLst>
          </c:dPt>
          <c:dPt>
            <c:idx val="3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2-82FC-421B-A80E-67ACC5454550}"/>
              </c:ext>
            </c:extLst>
          </c:dPt>
          <c:dPt>
            <c:idx val="3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3-82FC-421B-A80E-67ACC5454550}"/>
              </c:ext>
            </c:extLst>
          </c:dPt>
          <c:dPt>
            <c:idx val="3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4-82FC-421B-A80E-67ACC5454550}"/>
              </c:ext>
            </c:extLst>
          </c:dPt>
          <c:dPt>
            <c:idx val="3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5-82FC-421B-A80E-67ACC5454550}"/>
              </c:ext>
            </c:extLst>
          </c:dPt>
          <c:dPt>
            <c:idx val="3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6-82FC-421B-A80E-67ACC5454550}"/>
              </c:ext>
            </c:extLst>
          </c:dPt>
          <c:dPt>
            <c:idx val="3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7-82FC-421B-A80E-67ACC5454550}"/>
              </c:ext>
            </c:extLst>
          </c:dPt>
          <c:dPt>
            <c:idx val="3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8-82FC-421B-A80E-67ACC5454550}"/>
              </c:ext>
            </c:extLst>
          </c:dPt>
          <c:dPt>
            <c:idx val="3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9-82FC-421B-A80E-67ACC5454550}"/>
              </c:ext>
            </c:extLst>
          </c:dPt>
          <c:dPt>
            <c:idx val="3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A-82FC-421B-A80E-67ACC5454550}"/>
              </c:ext>
            </c:extLst>
          </c:dPt>
          <c:dPt>
            <c:idx val="3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B-82FC-421B-A80E-67ACC5454550}"/>
              </c:ext>
            </c:extLst>
          </c:dPt>
          <c:dPt>
            <c:idx val="3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C-82FC-421B-A80E-67ACC5454550}"/>
              </c:ext>
            </c:extLst>
          </c:dPt>
          <c:dPt>
            <c:idx val="3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D-82FC-421B-A80E-67ACC5454550}"/>
              </c:ext>
            </c:extLst>
          </c:dPt>
          <c:dPt>
            <c:idx val="3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E-82FC-421B-A80E-67ACC5454550}"/>
              </c:ext>
            </c:extLst>
          </c:dPt>
          <c:dPt>
            <c:idx val="3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4F-82FC-421B-A80E-67ACC5454550}"/>
              </c:ext>
            </c:extLst>
          </c:dPt>
          <c:dPt>
            <c:idx val="3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0-82FC-421B-A80E-67ACC5454550}"/>
              </c:ext>
            </c:extLst>
          </c:dPt>
          <c:dPt>
            <c:idx val="3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1-82FC-421B-A80E-67ACC5454550}"/>
              </c:ext>
            </c:extLst>
          </c:dPt>
          <c:dPt>
            <c:idx val="3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2-82FC-421B-A80E-67ACC5454550}"/>
              </c:ext>
            </c:extLst>
          </c:dPt>
          <c:dPt>
            <c:idx val="3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3-82FC-421B-A80E-67ACC5454550}"/>
              </c:ext>
            </c:extLst>
          </c:dPt>
          <c:dPt>
            <c:idx val="3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4-82FC-421B-A80E-67ACC5454550}"/>
              </c:ext>
            </c:extLst>
          </c:dPt>
          <c:dPt>
            <c:idx val="3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5-82FC-421B-A80E-67ACC5454550}"/>
              </c:ext>
            </c:extLst>
          </c:dPt>
          <c:dPt>
            <c:idx val="3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6-82FC-421B-A80E-67ACC5454550}"/>
              </c:ext>
            </c:extLst>
          </c:dPt>
          <c:dPt>
            <c:idx val="3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7-82FC-421B-A80E-67ACC5454550}"/>
              </c:ext>
            </c:extLst>
          </c:dPt>
          <c:dPt>
            <c:idx val="3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8-82FC-421B-A80E-67ACC5454550}"/>
              </c:ext>
            </c:extLst>
          </c:dPt>
          <c:dPt>
            <c:idx val="3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9-82FC-421B-A80E-67ACC5454550}"/>
              </c:ext>
            </c:extLst>
          </c:dPt>
          <c:dPt>
            <c:idx val="3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A-82FC-421B-A80E-67ACC5454550}"/>
              </c:ext>
            </c:extLst>
          </c:dPt>
          <c:dPt>
            <c:idx val="3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B-82FC-421B-A80E-67ACC5454550}"/>
              </c:ext>
            </c:extLst>
          </c:dPt>
          <c:dPt>
            <c:idx val="3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C-82FC-421B-A80E-67ACC5454550}"/>
              </c:ext>
            </c:extLst>
          </c:dPt>
          <c:dPt>
            <c:idx val="3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D-82FC-421B-A80E-67ACC5454550}"/>
              </c:ext>
            </c:extLst>
          </c:dPt>
          <c:dPt>
            <c:idx val="3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E-82FC-421B-A80E-67ACC5454550}"/>
              </c:ext>
            </c:extLst>
          </c:dPt>
          <c:dPt>
            <c:idx val="3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5F-82FC-421B-A80E-67ACC5454550}"/>
              </c:ext>
            </c:extLst>
          </c:dPt>
          <c:dPt>
            <c:idx val="3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0-82FC-421B-A80E-67ACC5454550}"/>
              </c:ext>
            </c:extLst>
          </c:dPt>
          <c:dPt>
            <c:idx val="3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1-82FC-421B-A80E-67ACC5454550}"/>
              </c:ext>
            </c:extLst>
          </c:dPt>
          <c:dPt>
            <c:idx val="3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2-82FC-421B-A80E-67ACC5454550}"/>
              </c:ext>
            </c:extLst>
          </c:dPt>
          <c:dPt>
            <c:idx val="3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3-82FC-421B-A80E-67ACC5454550}"/>
              </c:ext>
            </c:extLst>
          </c:dPt>
          <c:dPt>
            <c:idx val="3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4-82FC-421B-A80E-67ACC5454550}"/>
              </c:ext>
            </c:extLst>
          </c:dPt>
          <c:dPt>
            <c:idx val="3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5-82FC-421B-A80E-67ACC5454550}"/>
              </c:ext>
            </c:extLst>
          </c:dPt>
          <c:dPt>
            <c:idx val="3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6-82FC-421B-A80E-67ACC5454550}"/>
              </c:ext>
            </c:extLst>
          </c:dPt>
          <c:dPt>
            <c:idx val="3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7-82FC-421B-A80E-67ACC5454550}"/>
              </c:ext>
            </c:extLst>
          </c:dPt>
          <c:dPt>
            <c:idx val="3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8-82FC-421B-A80E-67ACC5454550}"/>
              </c:ext>
            </c:extLst>
          </c:dPt>
          <c:dPt>
            <c:idx val="3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9-82FC-421B-A80E-67ACC5454550}"/>
              </c:ext>
            </c:extLst>
          </c:dPt>
          <c:dPt>
            <c:idx val="3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A-82FC-421B-A80E-67ACC5454550}"/>
              </c:ext>
            </c:extLst>
          </c:dPt>
          <c:dPt>
            <c:idx val="3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B-82FC-421B-A80E-67ACC5454550}"/>
              </c:ext>
            </c:extLst>
          </c:dPt>
          <c:dPt>
            <c:idx val="3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C-82FC-421B-A80E-67ACC5454550}"/>
              </c:ext>
            </c:extLst>
          </c:dPt>
          <c:dPt>
            <c:idx val="3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D-82FC-421B-A80E-67ACC5454550}"/>
              </c:ext>
            </c:extLst>
          </c:dPt>
          <c:dPt>
            <c:idx val="3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E-82FC-421B-A80E-67ACC5454550}"/>
              </c:ext>
            </c:extLst>
          </c:dPt>
          <c:dPt>
            <c:idx val="3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6F-82FC-421B-A80E-67ACC5454550}"/>
              </c:ext>
            </c:extLst>
          </c:dPt>
          <c:dPt>
            <c:idx val="3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0-82FC-421B-A80E-67ACC5454550}"/>
              </c:ext>
            </c:extLst>
          </c:dPt>
          <c:dPt>
            <c:idx val="3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1-82FC-421B-A80E-67ACC5454550}"/>
              </c:ext>
            </c:extLst>
          </c:dPt>
          <c:dPt>
            <c:idx val="3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2-82FC-421B-A80E-67ACC5454550}"/>
              </c:ext>
            </c:extLst>
          </c:dPt>
          <c:dPt>
            <c:idx val="3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3-82FC-421B-A80E-67ACC5454550}"/>
              </c:ext>
            </c:extLst>
          </c:dPt>
          <c:dPt>
            <c:idx val="3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4-82FC-421B-A80E-67ACC5454550}"/>
              </c:ext>
            </c:extLst>
          </c:dPt>
          <c:dPt>
            <c:idx val="3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5-82FC-421B-A80E-67ACC5454550}"/>
              </c:ext>
            </c:extLst>
          </c:dPt>
          <c:dPt>
            <c:idx val="3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6-82FC-421B-A80E-67ACC5454550}"/>
              </c:ext>
            </c:extLst>
          </c:dPt>
          <c:dPt>
            <c:idx val="3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7-82FC-421B-A80E-67ACC5454550}"/>
              </c:ext>
            </c:extLst>
          </c:dPt>
          <c:dPt>
            <c:idx val="3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8-82FC-421B-A80E-67ACC5454550}"/>
              </c:ext>
            </c:extLst>
          </c:dPt>
          <c:dPt>
            <c:idx val="3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9-82FC-421B-A80E-67ACC5454550}"/>
              </c:ext>
            </c:extLst>
          </c:dPt>
          <c:dPt>
            <c:idx val="3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A-82FC-421B-A80E-67ACC5454550}"/>
              </c:ext>
            </c:extLst>
          </c:dPt>
          <c:dPt>
            <c:idx val="3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B-82FC-421B-A80E-67ACC5454550}"/>
              </c:ext>
            </c:extLst>
          </c:dPt>
          <c:dPt>
            <c:idx val="3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C-82FC-421B-A80E-67ACC5454550}"/>
              </c:ext>
            </c:extLst>
          </c:dPt>
          <c:dPt>
            <c:idx val="3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D-82FC-421B-A80E-67ACC5454550}"/>
              </c:ext>
            </c:extLst>
          </c:dPt>
          <c:dPt>
            <c:idx val="3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E-82FC-421B-A80E-67ACC5454550}"/>
              </c:ext>
            </c:extLst>
          </c:dPt>
          <c:dPt>
            <c:idx val="3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7F-82FC-421B-A80E-67ACC5454550}"/>
              </c:ext>
            </c:extLst>
          </c:dPt>
          <c:dPt>
            <c:idx val="3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0-82FC-421B-A80E-67ACC5454550}"/>
              </c:ext>
            </c:extLst>
          </c:dPt>
          <c:dPt>
            <c:idx val="3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1-82FC-421B-A80E-67ACC5454550}"/>
              </c:ext>
            </c:extLst>
          </c:dPt>
          <c:dPt>
            <c:idx val="3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2-82FC-421B-A80E-67ACC5454550}"/>
              </c:ext>
            </c:extLst>
          </c:dPt>
          <c:dPt>
            <c:idx val="3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3-82FC-421B-A80E-67ACC5454550}"/>
              </c:ext>
            </c:extLst>
          </c:dPt>
          <c:dPt>
            <c:idx val="3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4-82FC-421B-A80E-67ACC5454550}"/>
              </c:ext>
            </c:extLst>
          </c:dPt>
          <c:dPt>
            <c:idx val="3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5-82FC-421B-A80E-67ACC5454550}"/>
              </c:ext>
            </c:extLst>
          </c:dPt>
          <c:dPt>
            <c:idx val="3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6-82FC-421B-A80E-67ACC5454550}"/>
              </c:ext>
            </c:extLst>
          </c:dPt>
          <c:dPt>
            <c:idx val="3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7-82FC-421B-A80E-67ACC5454550}"/>
              </c:ext>
            </c:extLst>
          </c:dPt>
          <c:dPt>
            <c:idx val="3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8-82FC-421B-A80E-67ACC5454550}"/>
              </c:ext>
            </c:extLst>
          </c:dPt>
          <c:dPt>
            <c:idx val="4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9-82FC-421B-A80E-67ACC5454550}"/>
              </c:ext>
            </c:extLst>
          </c:dPt>
          <c:dPt>
            <c:idx val="4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A-82FC-421B-A80E-67ACC5454550}"/>
              </c:ext>
            </c:extLst>
          </c:dPt>
          <c:dPt>
            <c:idx val="4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B-82FC-421B-A80E-67ACC5454550}"/>
              </c:ext>
            </c:extLst>
          </c:dPt>
          <c:dPt>
            <c:idx val="4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C-82FC-421B-A80E-67ACC5454550}"/>
              </c:ext>
            </c:extLst>
          </c:dPt>
          <c:dPt>
            <c:idx val="4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D-82FC-421B-A80E-67ACC5454550}"/>
              </c:ext>
            </c:extLst>
          </c:dPt>
          <c:dPt>
            <c:idx val="4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E-82FC-421B-A80E-67ACC5454550}"/>
              </c:ext>
            </c:extLst>
          </c:dPt>
          <c:dPt>
            <c:idx val="4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8F-82FC-421B-A80E-67ACC5454550}"/>
              </c:ext>
            </c:extLst>
          </c:dPt>
          <c:dPt>
            <c:idx val="4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0-82FC-421B-A80E-67ACC5454550}"/>
              </c:ext>
            </c:extLst>
          </c:dPt>
          <c:dPt>
            <c:idx val="4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1-82FC-421B-A80E-67ACC5454550}"/>
              </c:ext>
            </c:extLst>
          </c:dPt>
          <c:dPt>
            <c:idx val="4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2-82FC-421B-A80E-67ACC5454550}"/>
              </c:ext>
            </c:extLst>
          </c:dPt>
          <c:dPt>
            <c:idx val="4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3-82FC-421B-A80E-67ACC5454550}"/>
              </c:ext>
            </c:extLst>
          </c:dPt>
          <c:dPt>
            <c:idx val="4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4-82FC-421B-A80E-67ACC5454550}"/>
              </c:ext>
            </c:extLst>
          </c:dPt>
          <c:dPt>
            <c:idx val="4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5-82FC-421B-A80E-67ACC5454550}"/>
              </c:ext>
            </c:extLst>
          </c:dPt>
          <c:dPt>
            <c:idx val="4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6-82FC-421B-A80E-67ACC5454550}"/>
              </c:ext>
            </c:extLst>
          </c:dPt>
          <c:dPt>
            <c:idx val="4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7-82FC-421B-A80E-67ACC5454550}"/>
              </c:ext>
            </c:extLst>
          </c:dPt>
          <c:dPt>
            <c:idx val="4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8-82FC-421B-A80E-67ACC5454550}"/>
              </c:ext>
            </c:extLst>
          </c:dPt>
          <c:dPt>
            <c:idx val="4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9-82FC-421B-A80E-67ACC5454550}"/>
              </c:ext>
            </c:extLst>
          </c:dPt>
          <c:dPt>
            <c:idx val="4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A-82FC-421B-A80E-67ACC5454550}"/>
              </c:ext>
            </c:extLst>
          </c:dPt>
          <c:dPt>
            <c:idx val="4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B-82FC-421B-A80E-67ACC5454550}"/>
              </c:ext>
            </c:extLst>
          </c:dPt>
          <c:dPt>
            <c:idx val="4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C-82FC-421B-A80E-67ACC5454550}"/>
              </c:ext>
            </c:extLst>
          </c:dPt>
          <c:dPt>
            <c:idx val="4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D-82FC-421B-A80E-67ACC5454550}"/>
              </c:ext>
            </c:extLst>
          </c:dPt>
          <c:dPt>
            <c:idx val="4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E-82FC-421B-A80E-67ACC5454550}"/>
              </c:ext>
            </c:extLst>
          </c:dPt>
          <c:dPt>
            <c:idx val="4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9F-82FC-421B-A80E-67ACC5454550}"/>
              </c:ext>
            </c:extLst>
          </c:dPt>
          <c:dPt>
            <c:idx val="4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0-82FC-421B-A80E-67ACC5454550}"/>
              </c:ext>
            </c:extLst>
          </c:dPt>
          <c:dPt>
            <c:idx val="4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1-82FC-421B-A80E-67ACC5454550}"/>
              </c:ext>
            </c:extLst>
          </c:dPt>
          <c:dPt>
            <c:idx val="4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2-82FC-421B-A80E-67ACC5454550}"/>
              </c:ext>
            </c:extLst>
          </c:dPt>
          <c:dPt>
            <c:idx val="4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3-82FC-421B-A80E-67ACC5454550}"/>
              </c:ext>
            </c:extLst>
          </c:dPt>
          <c:dPt>
            <c:idx val="4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4-82FC-421B-A80E-67ACC5454550}"/>
              </c:ext>
            </c:extLst>
          </c:dPt>
          <c:dPt>
            <c:idx val="4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5-82FC-421B-A80E-67ACC5454550}"/>
              </c:ext>
            </c:extLst>
          </c:dPt>
          <c:dPt>
            <c:idx val="4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6-82FC-421B-A80E-67ACC5454550}"/>
              </c:ext>
            </c:extLst>
          </c:dPt>
          <c:dPt>
            <c:idx val="4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7-82FC-421B-A80E-67ACC5454550}"/>
              </c:ext>
            </c:extLst>
          </c:dPt>
          <c:dPt>
            <c:idx val="4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8-82FC-421B-A80E-67ACC5454550}"/>
              </c:ext>
            </c:extLst>
          </c:dPt>
          <c:dPt>
            <c:idx val="4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9-82FC-421B-A80E-67ACC5454550}"/>
              </c:ext>
            </c:extLst>
          </c:dPt>
          <c:dPt>
            <c:idx val="4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A-82FC-421B-A80E-67ACC5454550}"/>
              </c:ext>
            </c:extLst>
          </c:dPt>
          <c:dPt>
            <c:idx val="4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B-82FC-421B-A80E-67ACC5454550}"/>
              </c:ext>
            </c:extLst>
          </c:dPt>
          <c:dPt>
            <c:idx val="4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C-82FC-421B-A80E-67ACC5454550}"/>
              </c:ext>
            </c:extLst>
          </c:dPt>
          <c:dPt>
            <c:idx val="4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D-82FC-421B-A80E-67ACC5454550}"/>
              </c:ext>
            </c:extLst>
          </c:dPt>
          <c:dPt>
            <c:idx val="4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E-82FC-421B-A80E-67ACC5454550}"/>
              </c:ext>
            </c:extLst>
          </c:dPt>
          <c:dPt>
            <c:idx val="4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AF-82FC-421B-A80E-67ACC5454550}"/>
              </c:ext>
            </c:extLst>
          </c:dPt>
          <c:dPt>
            <c:idx val="4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0-82FC-421B-A80E-67ACC5454550}"/>
              </c:ext>
            </c:extLst>
          </c:dPt>
          <c:dPt>
            <c:idx val="4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1-82FC-421B-A80E-67ACC5454550}"/>
              </c:ext>
            </c:extLst>
          </c:dPt>
          <c:dPt>
            <c:idx val="4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2-82FC-421B-A80E-67ACC5454550}"/>
              </c:ext>
            </c:extLst>
          </c:dPt>
          <c:dPt>
            <c:idx val="4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3-82FC-421B-A80E-67ACC5454550}"/>
              </c:ext>
            </c:extLst>
          </c:dPt>
          <c:dPt>
            <c:idx val="4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4-82FC-421B-A80E-67ACC5454550}"/>
              </c:ext>
            </c:extLst>
          </c:dPt>
          <c:dPt>
            <c:idx val="4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5-82FC-421B-A80E-67ACC5454550}"/>
              </c:ext>
            </c:extLst>
          </c:dPt>
          <c:dPt>
            <c:idx val="4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6-82FC-421B-A80E-67ACC5454550}"/>
              </c:ext>
            </c:extLst>
          </c:dPt>
          <c:dPt>
            <c:idx val="4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7-82FC-421B-A80E-67ACC5454550}"/>
              </c:ext>
            </c:extLst>
          </c:dPt>
          <c:dPt>
            <c:idx val="4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8-82FC-421B-A80E-67ACC5454550}"/>
              </c:ext>
            </c:extLst>
          </c:dPt>
          <c:dPt>
            <c:idx val="4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9-82FC-421B-A80E-67ACC5454550}"/>
              </c:ext>
            </c:extLst>
          </c:dPt>
          <c:dPt>
            <c:idx val="4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A-82FC-421B-A80E-67ACC5454550}"/>
              </c:ext>
            </c:extLst>
          </c:dPt>
          <c:dPt>
            <c:idx val="4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B-82FC-421B-A80E-67ACC5454550}"/>
              </c:ext>
            </c:extLst>
          </c:dPt>
          <c:dPt>
            <c:idx val="4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C-82FC-421B-A80E-67ACC5454550}"/>
              </c:ext>
            </c:extLst>
          </c:dPt>
          <c:dPt>
            <c:idx val="4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D-82FC-421B-A80E-67ACC5454550}"/>
              </c:ext>
            </c:extLst>
          </c:dPt>
          <c:dPt>
            <c:idx val="4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E-82FC-421B-A80E-67ACC5454550}"/>
              </c:ext>
            </c:extLst>
          </c:dPt>
          <c:dPt>
            <c:idx val="4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BF-82FC-421B-A80E-67ACC5454550}"/>
              </c:ext>
            </c:extLst>
          </c:dPt>
          <c:dPt>
            <c:idx val="4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0-82FC-421B-A80E-67ACC5454550}"/>
              </c:ext>
            </c:extLst>
          </c:dPt>
          <c:dPt>
            <c:idx val="4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1-82FC-421B-A80E-67ACC5454550}"/>
              </c:ext>
            </c:extLst>
          </c:dPt>
          <c:dPt>
            <c:idx val="4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2-82FC-421B-A80E-67ACC5454550}"/>
              </c:ext>
            </c:extLst>
          </c:dPt>
          <c:dPt>
            <c:idx val="4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3-82FC-421B-A80E-67ACC5454550}"/>
              </c:ext>
            </c:extLst>
          </c:dPt>
          <c:dPt>
            <c:idx val="4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4-82FC-421B-A80E-67ACC5454550}"/>
              </c:ext>
            </c:extLst>
          </c:dPt>
          <c:dPt>
            <c:idx val="4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5-82FC-421B-A80E-67ACC5454550}"/>
              </c:ext>
            </c:extLst>
          </c:dPt>
          <c:dPt>
            <c:idx val="4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6-82FC-421B-A80E-67ACC5454550}"/>
              </c:ext>
            </c:extLst>
          </c:dPt>
          <c:dPt>
            <c:idx val="4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7-82FC-421B-A80E-67ACC5454550}"/>
              </c:ext>
            </c:extLst>
          </c:dPt>
          <c:dPt>
            <c:idx val="4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8-82FC-421B-A80E-67ACC5454550}"/>
              </c:ext>
            </c:extLst>
          </c:dPt>
          <c:dPt>
            <c:idx val="4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9-82FC-421B-A80E-67ACC5454550}"/>
              </c:ext>
            </c:extLst>
          </c:dPt>
          <c:dPt>
            <c:idx val="4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A-82FC-421B-A80E-67ACC5454550}"/>
              </c:ext>
            </c:extLst>
          </c:dPt>
          <c:dPt>
            <c:idx val="4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B-82FC-421B-A80E-67ACC5454550}"/>
              </c:ext>
            </c:extLst>
          </c:dPt>
          <c:dPt>
            <c:idx val="4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C-82FC-421B-A80E-67ACC5454550}"/>
              </c:ext>
            </c:extLst>
          </c:dPt>
          <c:dPt>
            <c:idx val="4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D-82FC-421B-A80E-67ACC5454550}"/>
              </c:ext>
            </c:extLst>
          </c:dPt>
          <c:dPt>
            <c:idx val="4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E-82FC-421B-A80E-67ACC5454550}"/>
              </c:ext>
            </c:extLst>
          </c:dPt>
          <c:dPt>
            <c:idx val="4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CF-82FC-421B-A80E-67ACC5454550}"/>
              </c:ext>
            </c:extLst>
          </c:dPt>
          <c:dPt>
            <c:idx val="4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0-82FC-421B-A80E-67ACC5454550}"/>
              </c:ext>
            </c:extLst>
          </c:dPt>
          <c:dPt>
            <c:idx val="4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1-82FC-421B-A80E-67ACC5454550}"/>
              </c:ext>
            </c:extLst>
          </c:dPt>
          <c:dPt>
            <c:idx val="4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2-82FC-421B-A80E-67ACC5454550}"/>
              </c:ext>
            </c:extLst>
          </c:dPt>
          <c:dPt>
            <c:idx val="4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3-82FC-421B-A80E-67ACC5454550}"/>
              </c:ext>
            </c:extLst>
          </c:dPt>
          <c:dPt>
            <c:idx val="4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4-82FC-421B-A80E-67ACC5454550}"/>
              </c:ext>
            </c:extLst>
          </c:dPt>
          <c:dPt>
            <c:idx val="4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5-82FC-421B-A80E-67ACC5454550}"/>
              </c:ext>
            </c:extLst>
          </c:dPt>
          <c:dPt>
            <c:idx val="4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6-82FC-421B-A80E-67ACC5454550}"/>
              </c:ext>
            </c:extLst>
          </c:dPt>
          <c:dPt>
            <c:idx val="4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7-82FC-421B-A80E-67ACC5454550}"/>
              </c:ext>
            </c:extLst>
          </c:dPt>
          <c:dPt>
            <c:idx val="4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8-82FC-421B-A80E-67ACC5454550}"/>
              </c:ext>
            </c:extLst>
          </c:dPt>
          <c:dPt>
            <c:idx val="4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9-82FC-421B-A80E-67ACC5454550}"/>
              </c:ext>
            </c:extLst>
          </c:dPt>
          <c:dPt>
            <c:idx val="4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A-82FC-421B-A80E-67ACC5454550}"/>
              </c:ext>
            </c:extLst>
          </c:dPt>
          <c:dPt>
            <c:idx val="4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B-82FC-421B-A80E-67ACC5454550}"/>
              </c:ext>
            </c:extLst>
          </c:dPt>
          <c:dPt>
            <c:idx val="4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C-82FC-421B-A80E-67ACC5454550}"/>
              </c:ext>
            </c:extLst>
          </c:dPt>
          <c:dPt>
            <c:idx val="4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D-82FC-421B-A80E-67ACC5454550}"/>
              </c:ext>
            </c:extLst>
          </c:dPt>
          <c:dPt>
            <c:idx val="4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E-82FC-421B-A80E-67ACC5454550}"/>
              </c:ext>
            </c:extLst>
          </c:dPt>
          <c:dPt>
            <c:idx val="4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DF-82FC-421B-A80E-67ACC5454550}"/>
              </c:ext>
            </c:extLst>
          </c:dPt>
          <c:dPt>
            <c:idx val="4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0-82FC-421B-A80E-67ACC5454550}"/>
              </c:ext>
            </c:extLst>
          </c:dPt>
          <c:dPt>
            <c:idx val="4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1-82FC-421B-A80E-67ACC5454550}"/>
              </c:ext>
            </c:extLst>
          </c:dPt>
          <c:dPt>
            <c:idx val="4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2-82FC-421B-A80E-67ACC5454550}"/>
              </c:ext>
            </c:extLst>
          </c:dPt>
          <c:dPt>
            <c:idx val="4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3-82FC-421B-A80E-67ACC5454550}"/>
              </c:ext>
            </c:extLst>
          </c:dPt>
          <c:dPt>
            <c:idx val="4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4-82FC-421B-A80E-67ACC5454550}"/>
              </c:ext>
            </c:extLst>
          </c:dPt>
          <c:dPt>
            <c:idx val="4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5-82FC-421B-A80E-67ACC5454550}"/>
              </c:ext>
            </c:extLst>
          </c:dPt>
          <c:dPt>
            <c:idx val="4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6-82FC-421B-A80E-67ACC5454550}"/>
              </c:ext>
            </c:extLst>
          </c:dPt>
          <c:dPt>
            <c:idx val="4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7-82FC-421B-A80E-67ACC5454550}"/>
              </c:ext>
            </c:extLst>
          </c:dPt>
          <c:dPt>
            <c:idx val="4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8-82FC-421B-A80E-67ACC5454550}"/>
              </c:ext>
            </c:extLst>
          </c:dPt>
          <c:dPt>
            <c:idx val="4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9-82FC-421B-A80E-67ACC5454550}"/>
              </c:ext>
            </c:extLst>
          </c:dPt>
          <c:dPt>
            <c:idx val="4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A-82FC-421B-A80E-67ACC5454550}"/>
              </c:ext>
            </c:extLst>
          </c:dPt>
          <c:dPt>
            <c:idx val="4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B-82FC-421B-A80E-67ACC5454550}"/>
              </c:ext>
            </c:extLst>
          </c:dPt>
          <c:dPt>
            <c:idx val="4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C-82FC-421B-A80E-67ACC5454550}"/>
              </c:ext>
            </c:extLst>
          </c:dPt>
          <c:dPt>
            <c:idx val="5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D-82FC-421B-A80E-67ACC5454550}"/>
              </c:ext>
            </c:extLst>
          </c:dPt>
          <c:dPt>
            <c:idx val="5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E-82FC-421B-A80E-67ACC5454550}"/>
              </c:ext>
            </c:extLst>
          </c:dPt>
          <c:dPt>
            <c:idx val="5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EF-82FC-421B-A80E-67ACC5454550}"/>
              </c:ext>
            </c:extLst>
          </c:dPt>
          <c:dPt>
            <c:idx val="5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0-82FC-421B-A80E-67ACC5454550}"/>
              </c:ext>
            </c:extLst>
          </c:dPt>
          <c:dPt>
            <c:idx val="5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1-82FC-421B-A80E-67ACC5454550}"/>
              </c:ext>
            </c:extLst>
          </c:dPt>
          <c:dPt>
            <c:idx val="5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2-82FC-421B-A80E-67ACC5454550}"/>
              </c:ext>
            </c:extLst>
          </c:dPt>
          <c:dPt>
            <c:idx val="5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3-82FC-421B-A80E-67ACC5454550}"/>
              </c:ext>
            </c:extLst>
          </c:dPt>
          <c:dPt>
            <c:idx val="5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4-82FC-421B-A80E-67ACC5454550}"/>
              </c:ext>
            </c:extLst>
          </c:dPt>
          <c:dPt>
            <c:idx val="5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5-82FC-421B-A80E-67ACC5454550}"/>
              </c:ext>
            </c:extLst>
          </c:dPt>
          <c:dPt>
            <c:idx val="5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6-82FC-421B-A80E-67ACC5454550}"/>
              </c:ext>
            </c:extLst>
          </c:dPt>
          <c:dPt>
            <c:idx val="5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7-82FC-421B-A80E-67ACC5454550}"/>
              </c:ext>
            </c:extLst>
          </c:dPt>
          <c:dPt>
            <c:idx val="5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8-82FC-421B-A80E-67ACC5454550}"/>
              </c:ext>
            </c:extLst>
          </c:dPt>
          <c:dPt>
            <c:idx val="5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9-82FC-421B-A80E-67ACC5454550}"/>
              </c:ext>
            </c:extLst>
          </c:dPt>
          <c:dPt>
            <c:idx val="5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A-82FC-421B-A80E-67ACC5454550}"/>
              </c:ext>
            </c:extLst>
          </c:dPt>
          <c:dPt>
            <c:idx val="5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B-82FC-421B-A80E-67ACC5454550}"/>
              </c:ext>
            </c:extLst>
          </c:dPt>
          <c:dPt>
            <c:idx val="5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C-82FC-421B-A80E-67ACC5454550}"/>
              </c:ext>
            </c:extLst>
          </c:dPt>
          <c:dPt>
            <c:idx val="5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D-82FC-421B-A80E-67ACC5454550}"/>
              </c:ext>
            </c:extLst>
          </c:dPt>
          <c:dPt>
            <c:idx val="5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E-82FC-421B-A80E-67ACC5454550}"/>
              </c:ext>
            </c:extLst>
          </c:dPt>
          <c:dPt>
            <c:idx val="5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8FF-82FC-421B-A80E-67ACC5454550}"/>
              </c:ext>
            </c:extLst>
          </c:dPt>
          <c:dPt>
            <c:idx val="5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0-82FC-421B-A80E-67ACC5454550}"/>
              </c:ext>
            </c:extLst>
          </c:dPt>
          <c:dPt>
            <c:idx val="5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1-82FC-421B-A80E-67ACC5454550}"/>
              </c:ext>
            </c:extLst>
          </c:dPt>
          <c:dPt>
            <c:idx val="5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2-82FC-421B-A80E-67ACC5454550}"/>
              </c:ext>
            </c:extLst>
          </c:dPt>
          <c:dPt>
            <c:idx val="5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3-82FC-421B-A80E-67ACC5454550}"/>
              </c:ext>
            </c:extLst>
          </c:dPt>
          <c:dPt>
            <c:idx val="5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4-82FC-421B-A80E-67ACC5454550}"/>
              </c:ext>
            </c:extLst>
          </c:dPt>
          <c:dPt>
            <c:idx val="5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5-82FC-421B-A80E-67ACC5454550}"/>
              </c:ext>
            </c:extLst>
          </c:dPt>
          <c:dPt>
            <c:idx val="5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6-82FC-421B-A80E-67ACC5454550}"/>
              </c:ext>
            </c:extLst>
          </c:dPt>
          <c:dPt>
            <c:idx val="5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7-82FC-421B-A80E-67ACC5454550}"/>
              </c:ext>
            </c:extLst>
          </c:dPt>
          <c:dPt>
            <c:idx val="5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8-82FC-421B-A80E-67ACC5454550}"/>
              </c:ext>
            </c:extLst>
          </c:dPt>
          <c:dPt>
            <c:idx val="5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9-82FC-421B-A80E-67ACC5454550}"/>
              </c:ext>
            </c:extLst>
          </c:dPt>
          <c:dPt>
            <c:idx val="5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A-82FC-421B-A80E-67ACC5454550}"/>
              </c:ext>
            </c:extLst>
          </c:dPt>
          <c:dPt>
            <c:idx val="5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B-82FC-421B-A80E-67ACC5454550}"/>
              </c:ext>
            </c:extLst>
          </c:dPt>
          <c:dPt>
            <c:idx val="5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C-82FC-421B-A80E-67ACC5454550}"/>
              </c:ext>
            </c:extLst>
          </c:dPt>
          <c:dPt>
            <c:idx val="5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D-82FC-421B-A80E-67ACC5454550}"/>
              </c:ext>
            </c:extLst>
          </c:dPt>
          <c:dPt>
            <c:idx val="5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E-82FC-421B-A80E-67ACC5454550}"/>
              </c:ext>
            </c:extLst>
          </c:dPt>
          <c:dPt>
            <c:idx val="5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0F-82FC-421B-A80E-67ACC5454550}"/>
              </c:ext>
            </c:extLst>
          </c:dPt>
          <c:dPt>
            <c:idx val="5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0-82FC-421B-A80E-67ACC5454550}"/>
              </c:ext>
            </c:extLst>
          </c:dPt>
          <c:dPt>
            <c:idx val="5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1-82FC-421B-A80E-67ACC5454550}"/>
              </c:ext>
            </c:extLst>
          </c:dPt>
          <c:dPt>
            <c:idx val="5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2-82FC-421B-A80E-67ACC5454550}"/>
              </c:ext>
            </c:extLst>
          </c:dPt>
          <c:dPt>
            <c:idx val="5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3-82FC-421B-A80E-67ACC5454550}"/>
              </c:ext>
            </c:extLst>
          </c:dPt>
          <c:dPt>
            <c:idx val="5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4-82FC-421B-A80E-67ACC5454550}"/>
              </c:ext>
            </c:extLst>
          </c:dPt>
          <c:dPt>
            <c:idx val="5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5-82FC-421B-A80E-67ACC5454550}"/>
              </c:ext>
            </c:extLst>
          </c:dPt>
          <c:dPt>
            <c:idx val="5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6-82FC-421B-A80E-67ACC5454550}"/>
              </c:ext>
            </c:extLst>
          </c:dPt>
          <c:dPt>
            <c:idx val="5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7-82FC-421B-A80E-67ACC5454550}"/>
              </c:ext>
            </c:extLst>
          </c:dPt>
          <c:dPt>
            <c:idx val="5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8-82FC-421B-A80E-67ACC5454550}"/>
              </c:ext>
            </c:extLst>
          </c:dPt>
          <c:dPt>
            <c:idx val="5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9-82FC-421B-A80E-67ACC5454550}"/>
              </c:ext>
            </c:extLst>
          </c:dPt>
          <c:dPt>
            <c:idx val="5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A-82FC-421B-A80E-67ACC5454550}"/>
              </c:ext>
            </c:extLst>
          </c:dPt>
          <c:dPt>
            <c:idx val="5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B-82FC-421B-A80E-67ACC5454550}"/>
              </c:ext>
            </c:extLst>
          </c:dPt>
          <c:dPt>
            <c:idx val="5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C-82FC-421B-A80E-67ACC5454550}"/>
              </c:ext>
            </c:extLst>
          </c:dPt>
          <c:dPt>
            <c:idx val="5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D-82FC-421B-A80E-67ACC5454550}"/>
              </c:ext>
            </c:extLst>
          </c:dPt>
          <c:dPt>
            <c:idx val="5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E-82FC-421B-A80E-67ACC5454550}"/>
              </c:ext>
            </c:extLst>
          </c:dPt>
          <c:dPt>
            <c:idx val="5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1F-82FC-421B-A80E-67ACC5454550}"/>
              </c:ext>
            </c:extLst>
          </c:dPt>
          <c:dPt>
            <c:idx val="5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0-82FC-421B-A80E-67ACC5454550}"/>
              </c:ext>
            </c:extLst>
          </c:dPt>
          <c:dPt>
            <c:idx val="5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1-82FC-421B-A80E-67ACC5454550}"/>
              </c:ext>
            </c:extLst>
          </c:dPt>
          <c:dPt>
            <c:idx val="5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2-82FC-421B-A80E-67ACC5454550}"/>
              </c:ext>
            </c:extLst>
          </c:dPt>
          <c:dPt>
            <c:idx val="5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3-82FC-421B-A80E-67ACC5454550}"/>
              </c:ext>
            </c:extLst>
          </c:dPt>
          <c:dPt>
            <c:idx val="5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4-82FC-421B-A80E-67ACC5454550}"/>
              </c:ext>
            </c:extLst>
          </c:dPt>
          <c:dPt>
            <c:idx val="5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5-82FC-421B-A80E-67ACC5454550}"/>
              </c:ext>
            </c:extLst>
          </c:dPt>
          <c:dPt>
            <c:idx val="5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6-82FC-421B-A80E-67ACC5454550}"/>
              </c:ext>
            </c:extLst>
          </c:dPt>
          <c:dPt>
            <c:idx val="5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7-82FC-421B-A80E-67ACC5454550}"/>
              </c:ext>
            </c:extLst>
          </c:dPt>
          <c:dPt>
            <c:idx val="5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8-82FC-421B-A80E-67ACC5454550}"/>
              </c:ext>
            </c:extLst>
          </c:dPt>
          <c:dPt>
            <c:idx val="5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9-82FC-421B-A80E-67ACC5454550}"/>
              </c:ext>
            </c:extLst>
          </c:dPt>
          <c:dPt>
            <c:idx val="5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A-82FC-421B-A80E-67ACC5454550}"/>
              </c:ext>
            </c:extLst>
          </c:dPt>
          <c:dPt>
            <c:idx val="5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B-82FC-421B-A80E-67ACC5454550}"/>
              </c:ext>
            </c:extLst>
          </c:dPt>
          <c:dPt>
            <c:idx val="5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C-82FC-421B-A80E-67ACC5454550}"/>
              </c:ext>
            </c:extLst>
          </c:dPt>
          <c:dPt>
            <c:idx val="5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D-82FC-421B-A80E-67ACC5454550}"/>
              </c:ext>
            </c:extLst>
          </c:dPt>
          <c:dPt>
            <c:idx val="5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E-82FC-421B-A80E-67ACC5454550}"/>
              </c:ext>
            </c:extLst>
          </c:dPt>
          <c:dPt>
            <c:idx val="5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2F-82FC-421B-A80E-67ACC5454550}"/>
              </c:ext>
            </c:extLst>
          </c:dPt>
          <c:dPt>
            <c:idx val="5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0-82FC-421B-A80E-67ACC5454550}"/>
              </c:ext>
            </c:extLst>
          </c:dPt>
          <c:dPt>
            <c:idx val="5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1-82FC-421B-A80E-67ACC5454550}"/>
              </c:ext>
            </c:extLst>
          </c:dPt>
          <c:dPt>
            <c:idx val="5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2-82FC-421B-A80E-67ACC5454550}"/>
              </c:ext>
            </c:extLst>
          </c:dPt>
          <c:dPt>
            <c:idx val="5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3-82FC-421B-A80E-67ACC5454550}"/>
              </c:ext>
            </c:extLst>
          </c:dPt>
          <c:dPt>
            <c:idx val="5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4-82FC-421B-A80E-67ACC5454550}"/>
              </c:ext>
            </c:extLst>
          </c:dPt>
          <c:dPt>
            <c:idx val="5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5-82FC-421B-A80E-67ACC5454550}"/>
              </c:ext>
            </c:extLst>
          </c:dPt>
          <c:dPt>
            <c:idx val="5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6-82FC-421B-A80E-67ACC5454550}"/>
              </c:ext>
            </c:extLst>
          </c:dPt>
          <c:dPt>
            <c:idx val="5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7-82FC-421B-A80E-67ACC5454550}"/>
              </c:ext>
            </c:extLst>
          </c:dPt>
          <c:dPt>
            <c:idx val="5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8-82FC-421B-A80E-67ACC5454550}"/>
              </c:ext>
            </c:extLst>
          </c:dPt>
          <c:dPt>
            <c:idx val="5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9-82FC-421B-A80E-67ACC5454550}"/>
              </c:ext>
            </c:extLst>
          </c:dPt>
          <c:dPt>
            <c:idx val="5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A-82FC-421B-A80E-67ACC5454550}"/>
              </c:ext>
            </c:extLst>
          </c:dPt>
          <c:dPt>
            <c:idx val="5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B-82FC-421B-A80E-67ACC5454550}"/>
              </c:ext>
            </c:extLst>
          </c:dPt>
          <c:dPt>
            <c:idx val="5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C-82FC-421B-A80E-67ACC5454550}"/>
              </c:ext>
            </c:extLst>
          </c:dPt>
          <c:dPt>
            <c:idx val="5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D-82FC-421B-A80E-67ACC5454550}"/>
              </c:ext>
            </c:extLst>
          </c:dPt>
          <c:dPt>
            <c:idx val="5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E-82FC-421B-A80E-67ACC5454550}"/>
              </c:ext>
            </c:extLst>
          </c:dPt>
          <c:dPt>
            <c:idx val="5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3F-82FC-421B-A80E-67ACC5454550}"/>
              </c:ext>
            </c:extLst>
          </c:dPt>
          <c:dPt>
            <c:idx val="5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0-82FC-421B-A80E-67ACC5454550}"/>
              </c:ext>
            </c:extLst>
          </c:dPt>
          <c:dPt>
            <c:idx val="5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1-82FC-421B-A80E-67ACC5454550}"/>
              </c:ext>
            </c:extLst>
          </c:dPt>
          <c:dPt>
            <c:idx val="5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2-82FC-421B-A80E-67ACC5454550}"/>
              </c:ext>
            </c:extLst>
          </c:dPt>
          <c:dPt>
            <c:idx val="5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3-82FC-421B-A80E-67ACC5454550}"/>
              </c:ext>
            </c:extLst>
          </c:dPt>
          <c:dPt>
            <c:idx val="5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4-82FC-421B-A80E-67ACC5454550}"/>
              </c:ext>
            </c:extLst>
          </c:dPt>
          <c:dPt>
            <c:idx val="5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5-82FC-421B-A80E-67ACC5454550}"/>
              </c:ext>
            </c:extLst>
          </c:dPt>
          <c:dPt>
            <c:idx val="5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6-82FC-421B-A80E-67ACC5454550}"/>
              </c:ext>
            </c:extLst>
          </c:dPt>
          <c:dPt>
            <c:idx val="5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7-82FC-421B-A80E-67ACC5454550}"/>
              </c:ext>
            </c:extLst>
          </c:dPt>
          <c:dPt>
            <c:idx val="5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8-82FC-421B-A80E-67ACC5454550}"/>
              </c:ext>
            </c:extLst>
          </c:dPt>
          <c:dPt>
            <c:idx val="5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9-82FC-421B-A80E-67ACC5454550}"/>
              </c:ext>
            </c:extLst>
          </c:dPt>
          <c:dPt>
            <c:idx val="5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A-82FC-421B-A80E-67ACC5454550}"/>
              </c:ext>
            </c:extLst>
          </c:dPt>
          <c:dPt>
            <c:idx val="5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B-82FC-421B-A80E-67ACC5454550}"/>
              </c:ext>
            </c:extLst>
          </c:dPt>
          <c:dPt>
            <c:idx val="5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C-82FC-421B-A80E-67ACC5454550}"/>
              </c:ext>
            </c:extLst>
          </c:dPt>
          <c:dPt>
            <c:idx val="5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D-82FC-421B-A80E-67ACC5454550}"/>
              </c:ext>
            </c:extLst>
          </c:dPt>
          <c:dPt>
            <c:idx val="5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E-82FC-421B-A80E-67ACC5454550}"/>
              </c:ext>
            </c:extLst>
          </c:dPt>
          <c:dPt>
            <c:idx val="5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4F-82FC-421B-A80E-67ACC5454550}"/>
              </c:ext>
            </c:extLst>
          </c:dPt>
          <c:dPt>
            <c:idx val="5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0-82FC-421B-A80E-67ACC5454550}"/>
              </c:ext>
            </c:extLst>
          </c:dPt>
          <c:dPt>
            <c:idx val="6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1-82FC-421B-A80E-67ACC5454550}"/>
              </c:ext>
            </c:extLst>
          </c:dPt>
          <c:dPt>
            <c:idx val="6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2-82FC-421B-A80E-67ACC5454550}"/>
              </c:ext>
            </c:extLst>
          </c:dPt>
          <c:dPt>
            <c:idx val="6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3-82FC-421B-A80E-67ACC5454550}"/>
              </c:ext>
            </c:extLst>
          </c:dPt>
          <c:dPt>
            <c:idx val="6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4-82FC-421B-A80E-67ACC5454550}"/>
              </c:ext>
            </c:extLst>
          </c:dPt>
          <c:dPt>
            <c:idx val="6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5-82FC-421B-A80E-67ACC5454550}"/>
              </c:ext>
            </c:extLst>
          </c:dPt>
          <c:dPt>
            <c:idx val="6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6-82FC-421B-A80E-67ACC5454550}"/>
              </c:ext>
            </c:extLst>
          </c:dPt>
          <c:dPt>
            <c:idx val="6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7-82FC-421B-A80E-67ACC5454550}"/>
              </c:ext>
            </c:extLst>
          </c:dPt>
          <c:dPt>
            <c:idx val="6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8-82FC-421B-A80E-67ACC5454550}"/>
              </c:ext>
            </c:extLst>
          </c:dPt>
          <c:dPt>
            <c:idx val="6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9-82FC-421B-A80E-67ACC5454550}"/>
              </c:ext>
            </c:extLst>
          </c:dPt>
          <c:dPt>
            <c:idx val="6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A-82FC-421B-A80E-67ACC5454550}"/>
              </c:ext>
            </c:extLst>
          </c:dPt>
          <c:dPt>
            <c:idx val="6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B-82FC-421B-A80E-67ACC5454550}"/>
              </c:ext>
            </c:extLst>
          </c:dPt>
          <c:dPt>
            <c:idx val="6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C-82FC-421B-A80E-67ACC5454550}"/>
              </c:ext>
            </c:extLst>
          </c:dPt>
          <c:dPt>
            <c:idx val="6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D-82FC-421B-A80E-67ACC5454550}"/>
              </c:ext>
            </c:extLst>
          </c:dPt>
          <c:dPt>
            <c:idx val="6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E-82FC-421B-A80E-67ACC5454550}"/>
              </c:ext>
            </c:extLst>
          </c:dPt>
          <c:dPt>
            <c:idx val="6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5F-82FC-421B-A80E-67ACC5454550}"/>
              </c:ext>
            </c:extLst>
          </c:dPt>
          <c:dPt>
            <c:idx val="6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0-82FC-421B-A80E-67ACC5454550}"/>
              </c:ext>
            </c:extLst>
          </c:dPt>
          <c:dPt>
            <c:idx val="6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1-82FC-421B-A80E-67ACC5454550}"/>
              </c:ext>
            </c:extLst>
          </c:dPt>
          <c:dPt>
            <c:idx val="6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2-82FC-421B-A80E-67ACC5454550}"/>
              </c:ext>
            </c:extLst>
          </c:dPt>
          <c:dPt>
            <c:idx val="6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3-82FC-421B-A80E-67ACC5454550}"/>
              </c:ext>
            </c:extLst>
          </c:dPt>
          <c:dPt>
            <c:idx val="6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4-82FC-421B-A80E-67ACC5454550}"/>
              </c:ext>
            </c:extLst>
          </c:dPt>
          <c:dPt>
            <c:idx val="6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5-82FC-421B-A80E-67ACC5454550}"/>
              </c:ext>
            </c:extLst>
          </c:dPt>
          <c:dPt>
            <c:idx val="6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6-82FC-421B-A80E-67ACC5454550}"/>
              </c:ext>
            </c:extLst>
          </c:dPt>
          <c:dPt>
            <c:idx val="6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7-82FC-421B-A80E-67ACC5454550}"/>
              </c:ext>
            </c:extLst>
          </c:dPt>
          <c:dPt>
            <c:idx val="6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8-82FC-421B-A80E-67ACC5454550}"/>
              </c:ext>
            </c:extLst>
          </c:dPt>
          <c:dPt>
            <c:idx val="6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9-82FC-421B-A80E-67ACC5454550}"/>
              </c:ext>
            </c:extLst>
          </c:dPt>
          <c:dPt>
            <c:idx val="6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A-82FC-421B-A80E-67ACC5454550}"/>
              </c:ext>
            </c:extLst>
          </c:dPt>
          <c:dPt>
            <c:idx val="6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B-82FC-421B-A80E-67ACC5454550}"/>
              </c:ext>
            </c:extLst>
          </c:dPt>
          <c:dPt>
            <c:idx val="6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C-82FC-421B-A80E-67ACC5454550}"/>
              </c:ext>
            </c:extLst>
          </c:dPt>
          <c:dPt>
            <c:idx val="6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D-82FC-421B-A80E-67ACC5454550}"/>
              </c:ext>
            </c:extLst>
          </c:dPt>
          <c:dPt>
            <c:idx val="6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E-82FC-421B-A80E-67ACC5454550}"/>
              </c:ext>
            </c:extLst>
          </c:dPt>
          <c:dPt>
            <c:idx val="6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6F-82FC-421B-A80E-67ACC5454550}"/>
              </c:ext>
            </c:extLst>
          </c:dPt>
          <c:dPt>
            <c:idx val="6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0-82FC-421B-A80E-67ACC5454550}"/>
              </c:ext>
            </c:extLst>
          </c:dPt>
          <c:dPt>
            <c:idx val="6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1-82FC-421B-A80E-67ACC5454550}"/>
              </c:ext>
            </c:extLst>
          </c:dPt>
          <c:dPt>
            <c:idx val="6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2-82FC-421B-A80E-67ACC5454550}"/>
              </c:ext>
            </c:extLst>
          </c:dPt>
          <c:dPt>
            <c:idx val="6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3-82FC-421B-A80E-67ACC5454550}"/>
              </c:ext>
            </c:extLst>
          </c:dPt>
          <c:dPt>
            <c:idx val="6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4-82FC-421B-A80E-67ACC5454550}"/>
              </c:ext>
            </c:extLst>
          </c:dPt>
          <c:dPt>
            <c:idx val="6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5-82FC-421B-A80E-67ACC5454550}"/>
              </c:ext>
            </c:extLst>
          </c:dPt>
          <c:dPt>
            <c:idx val="6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6-82FC-421B-A80E-67ACC5454550}"/>
              </c:ext>
            </c:extLst>
          </c:dPt>
          <c:dPt>
            <c:idx val="6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7-82FC-421B-A80E-67ACC5454550}"/>
              </c:ext>
            </c:extLst>
          </c:dPt>
          <c:dPt>
            <c:idx val="6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8-82FC-421B-A80E-67ACC5454550}"/>
              </c:ext>
            </c:extLst>
          </c:dPt>
          <c:dPt>
            <c:idx val="6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9-82FC-421B-A80E-67ACC5454550}"/>
              </c:ext>
            </c:extLst>
          </c:dPt>
          <c:dPt>
            <c:idx val="6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A-82FC-421B-A80E-67ACC5454550}"/>
              </c:ext>
            </c:extLst>
          </c:dPt>
          <c:dPt>
            <c:idx val="6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B-82FC-421B-A80E-67ACC5454550}"/>
              </c:ext>
            </c:extLst>
          </c:dPt>
          <c:dPt>
            <c:idx val="6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C-82FC-421B-A80E-67ACC5454550}"/>
              </c:ext>
            </c:extLst>
          </c:dPt>
          <c:dPt>
            <c:idx val="6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D-82FC-421B-A80E-67ACC5454550}"/>
              </c:ext>
            </c:extLst>
          </c:dPt>
          <c:dPt>
            <c:idx val="6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E-82FC-421B-A80E-67ACC5454550}"/>
              </c:ext>
            </c:extLst>
          </c:dPt>
          <c:dPt>
            <c:idx val="6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7F-82FC-421B-A80E-67ACC5454550}"/>
              </c:ext>
            </c:extLst>
          </c:dPt>
          <c:dPt>
            <c:idx val="6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0-82FC-421B-A80E-67ACC5454550}"/>
              </c:ext>
            </c:extLst>
          </c:dPt>
          <c:dPt>
            <c:idx val="6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1-82FC-421B-A80E-67ACC5454550}"/>
              </c:ext>
            </c:extLst>
          </c:dPt>
          <c:dPt>
            <c:idx val="6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2-82FC-421B-A80E-67ACC5454550}"/>
              </c:ext>
            </c:extLst>
          </c:dPt>
          <c:dPt>
            <c:idx val="6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3-82FC-421B-A80E-67ACC5454550}"/>
              </c:ext>
            </c:extLst>
          </c:dPt>
          <c:dPt>
            <c:idx val="6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4-82FC-421B-A80E-67ACC5454550}"/>
              </c:ext>
            </c:extLst>
          </c:dPt>
          <c:dPt>
            <c:idx val="6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5-82FC-421B-A80E-67ACC5454550}"/>
              </c:ext>
            </c:extLst>
          </c:dPt>
          <c:dPt>
            <c:idx val="6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6-82FC-421B-A80E-67ACC5454550}"/>
              </c:ext>
            </c:extLst>
          </c:dPt>
          <c:dPt>
            <c:idx val="6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7-82FC-421B-A80E-67ACC5454550}"/>
              </c:ext>
            </c:extLst>
          </c:dPt>
          <c:dPt>
            <c:idx val="6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8-82FC-421B-A80E-67ACC5454550}"/>
              </c:ext>
            </c:extLst>
          </c:dPt>
          <c:dPt>
            <c:idx val="6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9-82FC-421B-A80E-67ACC5454550}"/>
              </c:ext>
            </c:extLst>
          </c:dPt>
          <c:dPt>
            <c:idx val="6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A-82FC-421B-A80E-67ACC5454550}"/>
              </c:ext>
            </c:extLst>
          </c:dPt>
          <c:dPt>
            <c:idx val="6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B-82FC-421B-A80E-67ACC5454550}"/>
              </c:ext>
            </c:extLst>
          </c:dPt>
          <c:dPt>
            <c:idx val="6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C-82FC-421B-A80E-67ACC5454550}"/>
              </c:ext>
            </c:extLst>
          </c:dPt>
          <c:dPt>
            <c:idx val="6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D-82FC-421B-A80E-67ACC5454550}"/>
              </c:ext>
            </c:extLst>
          </c:dPt>
          <c:dPt>
            <c:idx val="6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E-82FC-421B-A80E-67ACC5454550}"/>
              </c:ext>
            </c:extLst>
          </c:dPt>
          <c:dPt>
            <c:idx val="6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8F-82FC-421B-A80E-67ACC5454550}"/>
              </c:ext>
            </c:extLst>
          </c:dPt>
          <c:dPt>
            <c:idx val="6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0-82FC-421B-A80E-67ACC5454550}"/>
              </c:ext>
            </c:extLst>
          </c:dPt>
          <c:dPt>
            <c:idx val="6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1-82FC-421B-A80E-67ACC5454550}"/>
              </c:ext>
            </c:extLst>
          </c:dPt>
          <c:dPt>
            <c:idx val="6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2-82FC-421B-A80E-67ACC5454550}"/>
              </c:ext>
            </c:extLst>
          </c:dPt>
          <c:dPt>
            <c:idx val="6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3-82FC-421B-A80E-67ACC5454550}"/>
              </c:ext>
            </c:extLst>
          </c:dPt>
          <c:dPt>
            <c:idx val="6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4-82FC-421B-A80E-67ACC5454550}"/>
              </c:ext>
            </c:extLst>
          </c:dPt>
          <c:dPt>
            <c:idx val="6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5-82FC-421B-A80E-67ACC5454550}"/>
              </c:ext>
            </c:extLst>
          </c:dPt>
          <c:dPt>
            <c:idx val="6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6-82FC-421B-A80E-67ACC5454550}"/>
              </c:ext>
            </c:extLst>
          </c:dPt>
          <c:dPt>
            <c:idx val="6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7-82FC-421B-A80E-67ACC5454550}"/>
              </c:ext>
            </c:extLst>
          </c:dPt>
          <c:dPt>
            <c:idx val="6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8-82FC-421B-A80E-67ACC5454550}"/>
              </c:ext>
            </c:extLst>
          </c:dPt>
          <c:dPt>
            <c:idx val="6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9-82FC-421B-A80E-67ACC5454550}"/>
              </c:ext>
            </c:extLst>
          </c:dPt>
          <c:dPt>
            <c:idx val="6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A-82FC-421B-A80E-67ACC5454550}"/>
              </c:ext>
            </c:extLst>
          </c:dPt>
          <c:dPt>
            <c:idx val="6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B-82FC-421B-A80E-67ACC5454550}"/>
              </c:ext>
            </c:extLst>
          </c:dPt>
          <c:dPt>
            <c:idx val="6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C-82FC-421B-A80E-67ACC5454550}"/>
              </c:ext>
            </c:extLst>
          </c:dPt>
          <c:dPt>
            <c:idx val="6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D-82FC-421B-A80E-67ACC5454550}"/>
              </c:ext>
            </c:extLst>
          </c:dPt>
          <c:dPt>
            <c:idx val="6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E-82FC-421B-A80E-67ACC5454550}"/>
              </c:ext>
            </c:extLst>
          </c:dPt>
          <c:dPt>
            <c:idx val="6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9F-82FC-421B-A80E-67ACC5454550}"/>
              </c:ext>
            </c:extLst>
          </c:dPt>
          <c:dPt>
            <c:idx val="6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0-82FC-421B-A80E-67ACC5454550}"/>
              </c:ext>
            </c:extLst>
          </c:dPt>
          <c:dPt>
            <c:idx val="6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1-82FC-421B-A80E-67ACC5454550}"/>
              </c:ext>
            </c:extLst>
          </c:dPt>
          <c:dPt>
            <c:idx val="6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2-82FC-421B-A80E-67ACC5454550}"/>
              </c:ext>
            </c:extLst>
          </c:dPt>
          <c:dPt>
            <c:idx val="6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3-82FC-421B-A80E-67ACC5454550}"/>
              </c:ext>
            </c:extLst>
          </c:dPt>
          <c:dPt>
            <c:idx val="6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4-82FC-421B-A80E-67ACC5454550}"/>
              </c:ext>
            </c:extLst>
          </c:dPt>
          <c:dPt>
            <c:idx val="6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5-82FC-421B-A80E-67ACC5454550}"/>
              </c:ext>
            </c:extLst>
          </c:dPt>
          <c:dPt>
            <c:idx val="6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6-82FC-421B-A80E-67ACC5454550}"/>
              </c:ext>
            </c:extLst>
          </c:dPt>
          <c:dPt>
            <c:idx val="6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7-82FC-421B-A80E-67ACC5454550}"/>
              </c:ext>
            </c:extLst>
          </c:dPt>
          <c:dPt>
            <c:idx val="6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8-82FC-421B-A80E-67ACC5454550}"/>
              </c:ext>
            </c:extLst>
          </c:dPt>
          <c:dPt>
            <c:idx val="6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9-82FC-421B-A80E-67ACC5454550}"/>
              </c:ext>
            </c:extLst>
          </c:dPt>
          <c:dPt>
            <c:idx val="6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A-82FC-421B-A80E-67ACC5454550}"/>
              </c:ext>
            </c:extLst>
          </c:dPt>
          <c:dPt>
            <c:idx val="6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B-82FC-421B-A80E-67ACC5454550}"/>
              </c:ext>
            </c:extLst>
          </c:dPt>
          <c:dPt>
            <c:idx val="6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C-82FC-421B-A80E-67ACC5454550}"/>
              </c:ext>
            </c:extLst>
          </c:dPt>
          <c:dPt>
            <c:idx val="6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D-82FC-421B-A80E-67ACC5454550}"/>
              </c:ext>
            </c:extLst>
          </c:dPt>
          <c:dPt>
            <c:idx val="6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E-82FC-421B-A80E-67ACC5454550}"/>
              </c:ext>
            </c:extLst>
          </c:dPt>
          <c:dPt>
            <c:idx val="6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AF-82FC-421B-A80E-67ACC5454550}"/>
              </c:ext>
            </c:extLst>
          </c:dPt>
          <c:dPt>
            <c:idx val="6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0-82FC-421B-A80E-67ACC5454550}"/>
              </c:ext>
            </c:extLst>
          </c:dPt>
          <c:dPt>
            <c:idx val="6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1-82FC-421B-A80E-67ACC5454550}"/>
              </c:ext>
            </c:extLst>
          </c:dPt>
          <c:dPt>
            <c:idx val="6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2-82FC-421B-A80E-67ACC5454550}"/>
              </c:ext>
            </c:extLst>
          </c:dPt>
          <c:dPt>
            <c:idx val="6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3-82FC-421B-A80E-67ACC5454550}"/>
              </c:ext>
            </c:extLst>
          </c:dPt>
          <c:dPt>
            <c:idx val="6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4-82FC-421B-A80E-67ACC5454550}"/>
              </c:ext>
            </c:extLst>
          </c:dPt>
          <c:dPt>
            <c:idx val="7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5-82FC-421B-A80E-67ACC5454550}"/>
              </c:ext>
            </c:extLst>
          </c:dPt>
          <c:dPt>
            <c:idx val="7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6-82FC-421B-A80E-67ACC5454550}"/>
              </c:ext>
            </c:extLst>
          </c:dPt>
          <c:dPt>
            <c:idx val="7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7-82FC-421B-A80E-67ACC5454550}"/>
              </c:ext>
            </c:extLst>
          </c:dPt>
          <c:dPt>
            <c:idx val="7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8-82FC-421B-A80E-67ACC5454550}"/>
              </c:ext>
            </c:extLst>
          </c:dPt>
          <c:dPt>
            <c:idx val="7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9-82FC-421B-A80E-67ACC5454550}"/>
              </c:ext>
            </c:extLst>
          </c:dPt>
          <c:dPt>
            <c:idx val="7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A-82FC-421B-A80E-67ACC5454550}"/>
              </c:ext>
            </c:extLst>
          </c:dPt>
          <c:dPt>
            <c:idx val="7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B-82FC-421B-A80E-67ACC5454550}"/>
              </c:ext>
            </c:extLst>
          </c:dPt>
          <c:dPt>
            <c:idx val="7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C-82FC-421B-A80E-67ACC5454550}"/>
              </c:ext>
            </c:extLst>
          </c:dPt>
          <c:dPt>
            <c:idx val="7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D-82FC-421B-A80E-67ACC5454550}"/>
              </c:ext>
            </c:extLst>
          </c:dPt>
          <c:dPt>
            <c:idx val="7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E-82FC-421B-A80E-67ACC5454550}"/>
              </c:ext>
            </c:extLst>
          </c:dPt>
          <c:dPt>
            <c:idx val="7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BF-82FC-421B-A80E-67ACC5454550}"/>
              </c:ext>
            </c:extLst>
          </c:dPt>
          <c:dPt>
            <c:idx val="7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0-82FC-421B-A80E-67ACC5454550}"/>
              </c:ext>
            </c:extLst>
          </c:dPt>
          <c:dPt>
            <c:idx val="7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1-82FC-421B-A80E-67ACC5454550}"/>
              </c:ext>
            </c:extLst>
          </c:dPt>
          <c:dPt>
            <c:idx val="7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2-82FC-421B-A80E-67ACC5454550}"/>
              </c:ext>
            </c:extLst>
          </c:dPt>
          <c:dPt>
            <c:idx val="7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3-82FC-421B-A80E-67ACC5454550}"/>
              </c:ext>
            </c:extLst>
          </c:dPt>
          <c:dPt>
            <c:idx val="7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4-82FC-421B-A80E-67ACC5454550}"/>
              </c:ext>
            </c:extLst>
          </c:dPt>
          <c:dPt>
            <c:idx val="7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5-82FC-421B-A80E-67ACC5454550}"/>
              </c:ext>
            </c:extLst>
          </c:dPt>
          <c:dPt>
            <c:idx val="7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6-82FC-421B-A80E-67ACC5454550}"/>
              </c:ext>
            </c:extLst>
          </c:dPt>
          <c:dPt>
            <c:idx val="7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7-82FC-421B-A80E-67ACC5454550}"/>
              </c:ext>
            </c:extLst>
          </c:dPt>
          <c:dPt>
            <c:idx val="7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8-82FC-421B-A80E-67ACC5454550}"/>
              </c:ext>
            </c:extLst>
          </c:dPt>
          <c:dPt>
            <c:idx val="7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9-82FC-421B-A80E-67ACC5454550}"/>
              </c:ext>
            </c:extLst>
          </c:dPt>
          <c:dPt>
            <c:idx val="7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A-82FC-421B-A80E-67ACC5454550}"/>
              </c:ext>
            </c:extLst>
          </c:dPt>
          <c:dPt>
            <c:idx val="7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B-82FC-421B-A80E-67ACC5454550}"/>
              </c:ext>
            </c:extLst>
          </c:dPt>
          <c:dPt>
            <c:idx val="7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C-82FC-421B-A80E-67ACC5454550}"/>
              </c:ext>
            </c:extLst>
          </c:dPt>
          <c:dPt>
            <c:idx val="7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D-82FC-421B-A80E-67ACC5454550}"/>
              </c:ext>
            </c:extLst>
          </c:dPt>
          <c:dPt>
            <c:idx val="7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E-82FC-421B-A80E-67ACC5454550}"/>
              </c:ext>
            </c:extLst>
          </c:dPt>
          <c:dPt>
            <c:idx val="7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CF-82FC-421B-A80E-67ACC5454550}"/>
              </c:ext>
            </c:extLst>
          </c:dPt>
          <c:dPt>
            <c:idx val="7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0-82FC-421B-A80E-67ACC5454550}"/>
              </c:ext>
            </c:extLst>
          </c:dPt>
          <c:dPt>
            <c:idx val="7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1-82FC-421B-A80E-67ACC5454550}"/>
              </c:ext>
            </c:extLst>
          </c:dPt>
          <c:dPt>
            <c:idx val="7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2-82FC-421B-A80E-67ACC5454550}"/>
              </c:ext>
            </c:extLst>
          </c:dPt>
          <c:dPt>
            <c:idx val="7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3-82FC-421B-A80E-67ACC5454550}"/>
              </c:ext>
            </c:extLst>
          </c:dPt>
          <c:dPt>
            <c:idx val="7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4-82FC-421B-A80E-67ACC5454550}"/>
              </c:ext>
            </c:extLst>
          </c:dPt>
          <c:dPt>
            <c:idx val="7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5-82FC-421B-A80E-67ACC5454550}"/>
              </c:ext>
            </c:extLst>
          </c:dPt>
          <c:dPt>
            <c:idx val="7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6-82FC-421B-A80E-67ACC5454550}"/>
              </c:ext>
            </c:extLst>
          </c:dPt>
          <c:dPt>
            <c:idx val="7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7-82FC-421B-A80E-67ACC5454550}"/>
              </c:ext>
            </c:extLst>
          </c:dPt>
          <c:dPt>
            <c:idx val="7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8-82FC-421B-A80E-67ACC5454550}"/>
              </c:ext>
            </c:extLst>
          </c:dPt>
          <c:dPt>
            <c:idx val="7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9-82FC-421B-A80E-67ACC5454550}"/>
              </c:ext>
            </c:extLst>
          </c:dPt>
          <c:dPt>
            <c:idx val="7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A-82FC-421B-A80E-67ACC5454550}"/>
              </c:ext>
            </c:extLst>
          </c:dPt>
          <c:dPt>
            <c:idx val="7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B-82FC-421B-A80E-67ACC5454550}"/>
              </c:ext>
            </c:extLst>
          </c:dPt>
          <c:dPt>
            <c:idx val="7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C-82FC-421B-A80E-67ACC5454550}"/>
              </c:ext>
            </c:extLst>
          </c:dPt>
          <c:dPt>
            <c:idx val="7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D-82FC-421B-A80E-67ACC5454550}"/>
              </c:ext>
            </c:extLst>
          </c:dPt>
          <c:dPt>
            <c:idx val="7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E-82FC-421B-A80E-67ACC5454550}"/>
              </c:ext>
            </c:extLst>
          </c:dPt>
          <c:dPt>
            <c:idx val="7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DF-82FC-421B-A80E-67ACC5454550}"/>
              </c:ext>
            </c:extLst>
          </c:dPt>
          <c:dPt>
            <c:idx val="7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0-82FC-421B-A80E-67ACC5454550}"/>
              </c:ext>
            </c:extLst>
          </c:dPt>
          <c:dPt>
            <c:idx val="7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1-82FC-421B-A80E-67ACC5454550}"/>
              </c:ext>
            </c:extLst>
          </c:dPt>
          <c:dPt>
            <c:idx val="7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2-82FC-421B-A80E-67ACC5454550}"/>
              </c:ext>
            </c:extLst>
          </c:dPt>
          <c:dPt>
            <c:idx val="7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3-82FC-421B-A80E-67ACC5454550}"/>
              </c:ext>
            </c:extLst>
          </c:dPt>
          <c:dPt>
            <c:idx val="7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4-82FC-421B-A80E-67ACC5454550}"/>
              </c:ext>
            </c:extLst>
          </c:dPt>
          <c:dPt>
            <c:idx val="7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5-82FC-421B-A80E-67ACC5454550}"/>
              </c:ext>
            </c:extLst>
          </c:dPt>
          <c:dPt>
            <c:idx val="7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6-82FC-421B-A80E-67ACC5454550}"/>
              </c:ext>
            </c:extLst>
          </c:dPt>
          <c:dPt>
            <c:idx val="7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7-82FC-421B-A80E-67ACC5454550}"/>
              </c:ext>
            </c:extLst>
          </c:dPt>
          <c:dPt>
            <c:idx val="7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8-82FC-421B-A80E-67ACC5454550}"/>
              </c:ext>
            </c:extLst>
          </c:dPt>
          <c:dPt>
            <c:idx val="7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9-82FC-421B-A80E-67ACC5454550}"/>
              </c:ext>
            </c:extLst>
          </c:dPt>
          <c:dPt>
            <c:idx val="7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A-82FC-421B-A80E-67ACC5454550}"/>
              </c:ext>
            </c:extLst>
          </c:dPt>
          <c:dPt>
            <c:idx val="7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B-82FC-421B-A80E-67ACC5454550}"/>
              </c:ext>
            </c:extLst>
          </c:dPt>
          <c:dPt>
            <c:idx val="7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C-82FC-421B-A80E-67ACC5454550}"/>
              </c:ext>
            </c:extLst>
          </c:dPt>
          <c:dPt>
            <c:idx val="7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D-82FC-421B-A80E-67ACC5454550}"/>
              </c:ext>
            </c:extLst>
          </c:dPt>
          <c:dPt>
            <c:idx val="7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E-82FC-421B-A80E-67ACC5454550}"/>
              </c:ext>
            </c:extLst>
          </c:dPt>
          <c:dPt>
            <c:idx val="7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EF-82FC-421B-A80E-67ACC5454550}"/>
              </c:ext>
            </c:extLst>
          </c:dPt>
          <c:dPt>
            <c:idx val="7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0-82FC-421B-A80E-67ACC5454550}"/>
              </c:ext>
            </c:extLst>
          </c:dPt>
          <c:dPt>
            <c:idx val="7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1-82FC-421B-A80E-67ACC5454550}"/>
              </c:ext>
            </c:extLst>
          </c:dPt>
          <c:dPt>
            <c:idx val="7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2-82FC-421B-A80E-67ACC5454550}"/>
              </c:ext>
            </c:extLst>
          </c:dPt>
          <c:dPt>
            <c:idx val="7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3-82FC-421B-A80E-67ACC5454550}"/>
              </c:ext>
            </c:extLst>
          </c:dPt>
          <c:dPt>
            <c:idx val="7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4-82FC-421B-A80E-67ACC5454550}"/>
              </c:ext>
            </c:extLst>
          </c:dPt>
          <c:dPt>
            <c:idx val="7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5-82FC-421B-A80E-67ACC5454550}"/>
              </c:ext>
            </c:extLst>
          </c:dPt>
          <c:dPt>
            <c:idx val="7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6-82FC-421B-A80E-67ACC5454550}"/>
              </c:ext>
            </c:extLst>
          </c:dPt>
          <c:dPt>
            <c:idx val="7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7-82FC-421B-A80E-67ACC5454550}"/>
              </c:ext>
            </c:extLst>
          </c:dPt>
          <c:dPt>
            <c:idx val="7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8-82FC-421B-A80E-67ACC5454550}"/>
              </c:ext>
            </c:extLst>
          </c:dPt>
          <c:dPt>
            <c:idx val="7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9-82FC-421B-A80E-67ACC5454550}"/>
              </c:ext>
            </c:extLst>
          </c:dPt>
          <c:dPt>
            <c:idx val="7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A-82FC-421B-A80E-67ACC5454550}"/>
              </c:ext>
            </c:extLst>
          </c:dPt>
          <c:dPt>
            <c:idx val="7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B-82FC-421B-A80E-67ACC5454550}"/>
              </c:ext>
            </c:extLst>
          </c:dPt>
          <c:dPt>
            <c:idx val="7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C-82FC-421B-A80E-67ACC5454550}"/>
              </c:ext>
            </c:extLst>
          </c:dPt>
          <c:dPt>
            <c:idx val="7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D-82FC-421B-A80E-67ACC5454550}"/>
              </c:ext>
            </c:extLst>
          </c:dPt>
          <c:dPt>
            <c:idx val="7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E-82FC-421B-A80E-67ACC5454550}"/>
              </c:ext>
            </c:extLst>
          </c:dPt>
          <c:dPt>
            <c:idx val="7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9FF-82FC-421B-A80E-67ACC5454550}"/>
              </c:ext>
            </c:extLst>
          </c:dPt>
          <c:dPt>
            <c:idx val="7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0-82FC-421B-A80E-67ACC5454550}"/>
              </c:ext>
            </c:extLst>
          </c:dPt>
          <c:dPt>
            <c:idx val="7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1-82FC-421B-A80E-67ACC5454550}"/>
              </c:ext>
            </c:extLst>
          </c:dPt>
          <c:dPt>
            <c:idx val="7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2-82FC-421B-A80E-67ACC5454550}"/>
              </c:ext>
            </c:extLst>
          </c:dPt>
          <c:dPt>
            <c:idx val="7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3-82FC-421B-A80E-67ACC5454550}"/>
              </c:ext>
            </c:extLst>
          </c:dPt>
          <c:dPt>
            <c:idx val="7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4-82FC-421B-A80E-67ACC5454550}"/>
              </c:ext>
            </c:extLst>
          </c:dPt>
          <c:dPt>
            <c:idx val="7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5-82FC-421B-A80E-67ACC5454550}"/>
              </c:ext>
            </c:extLst>
          </c:dPt>
          <c:dPt>
            <c:idx val="7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6-82FC-421B-A80E-67ACC5454550}"/>
              </c:ext>
            </c:extLst>
          </c:dPt>
          <c:dPt>
            <c:idx val="7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7-82FC-421B-A80E-67ACC5454550}"/>
              </c:ext>
            </c:extLst>
          </c:dPt>
          <c:dPt>
            <c:idx val="7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8-82FC-421B-A80E-67ACC5454550}"/>
              </c:ext>
            </c:extLst>
          </c:dPt>
          <c:dPt>
            <c:idx val="7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9-82FC-421B-A80E-67ACC5454550}"/>
              </c:ext>
            </c:extLst>
          </c:dPt>
          <c:dPt>
            <c:idx val="7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A-82FC-421B-A80E-67ACC5454550}"/>
              </c:ext>
            </c:extLst>
          </c:dPt>
          <c:dPt>
            <c:idx val="7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B-82FC-421B-A80E-67ACC5454550}"/>
              </c:ext>
            </c:extLst>
          </c:dPt>
          <c:dPt>
            <c:idx val="7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C-82FC-421B-A80E-67ACC5454550}"/>
              </c:ext>
            </c:extLst>
          </c:dPt>
          <c:dPt>
            <c:idx val="7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D-82FC-421B-A80E-67ACC5454550}"/>
              </c:ext>
            </c:extLst>
          </c:dPt>
          <c:dPt>
            <c:idx val="7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E-82FC-421B-A80E-67ACC5454550}"/>
              </c:ext>
            </c:extLst>
          </c:dPt>
          <c:dPt>
            <c:idx val="7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0F-82FC-421B-A80E-67ACC5454550}"/>
              </c:ext>
            </c:extLst>
          </c:dPt>
          <c:dPt>
            <c:idx val="7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0-82FC-421B-A80E-67ACC5454550}"/>
              </c:ext>
            </c:extLst>
          </c:dPt>
          <c:dPt>
            <c:idx val="7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1-82FC-421B-A80E-67ACC5454550}"/>
              </c:ext>
            </c:extLst>
          </c:dPt>
          <c:dPt>
            <c:idx val="7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2-82FC-421B-A80E-67ACC5454550}"/>
              </c:ext>
            </c:extLst>
          </c:dPt>
          <c:dPt>
            <c:idx val="7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3-82FC-421B-A80E-67ACC5454550}"/>
              </c:ext>
            </c:extLst>
          </c:dPt>
          <c:dPt>
            <c:idx val="7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4-82FC-421B-A80E-67ACC5454550}"/>
              </c:ext>
            </c:extLst>
          </c:dPt>
          <c:dPt>
            <c:idx val="7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5-82FC-421B-A80E-67ACC5454550}"/>
              </c:ext>
            </c:extLst>
          </c:dPt>
          <c:dPt>
            <c:idx val="7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6-82FC-421B-A80E-67ACC5454550}"/>
              </c:ext>
            </c:extLst>
          </c:dPt>
          <c:dPt>
            <c:idx val="7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7-82FC-421B-A80E-67ACC5454550}"/>
              </c:ext>
            </c:extLst>
          </c:dPt>
          <c:dPt>
            <c:idx val="7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8-82FC-421B-A80E-67ACC5454550}"/>
              </c:ext>
            </c:extLst>
          </c:dPt>
          <c:dPt>
            <c:idx val="8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9-82FC-421B-A80E-67ACC5454550}"/>
              </c:ext>
            </c:extLst>
          </c:dPt>
          <c:dPt>
            <c:idx val="8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A-82FC-421B-A80E-67ACC5454550}"/>
              </c:ext>
            </c:extLst>
          </c:dPt>
          <c:dPt>
            <c:idx val="8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B-82FC-421B-A80E-67ACC5454550}"/>
              </c:ext>
            </c:extLst>
          </c:dPt>
          <c:dPt>
            <c:idx val="8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C-82FC-421B-A80E-67ACC5454550}"/>
              </c:ext>
            </c:extLst>
          </c:dPt>
          <c:dPt>
            <c:idx val="8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D-82FC-421B-A80E-67ACC5454550}"/>
              </c:ext>
            </c:extLst>
          </c:dPt>
          <c:dPt>
            <c:idx val="8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E-82FC-421B-A80E-67ACC5454550}"/>
              </c:ext>
            </c:extLst>
          </c:dPt>
          <c:dPt>
            <c:idx val="8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1F-82FC-421B-A80E-67ACC5454550}"/>
              </c:ext>
            </c:extLst>
          </c:dPt>
          <c:dPt>
            <c:idx val="8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0-82FC-421B-A80E-67ACC5454550}"/>
              </c:ext>
            </c:extLst>
          </c:dPt>
          <c:dPt>
            <c:idx val="8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1-82FC-421B-A80E-67ACC5454550}"/>
              </c:ext>
            </c:extLst>
          </c:dPt>
          <c:dPt>
            <c:idx val="8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2-82FC-421B-A80E-67ACC5454550}"/>
              </c:ext>
            </c:extLst>
          </c:dPt>
          <c:dPt>
            <c:idx val="8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3-82FC-421B-A80E-67ACC5454550}"/>
              </c:ext>
            </c:extLst>
          </c:dPt>
          <c:dPt>
            <c:idx val="8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4-82FC-421B-A80E-67ACC5454550}"/>
              </c:ext>
            </c:extLst>
          </c:dPt>
          <c:dPt>
            <c:idx val="8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5-82FC-421B-A80E-67ACC5454550}"/>
              </c:ext>
            </c:extLst>
          </c:dPt>
          <c:dPt>
            <c:idx val="8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6-82FC-421B-A80E-67ACC5454550}"/>
              </c:ext>
            </c:extLst>
          </c:dPt>
          <c:dPt>
            <c:idx val="8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7-82FC-421B-A80E-67ACC5454550}"/>
              </c:ext>
            </c:extLst>
          </c:dPt>
          <c:dPt>
            <c:idx val="8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8-82FC-421B-A80E-67ACC5454550}"/>
              </c:ext>
            </c:extLst>
          </c:dPt>
          <c:dPt>
            <c:idx val="8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9-82FC-421B-A80E-67ACC5454550}"/>
              </c:ext>
            </c:extLst>
          </c:dPt>
          <c:dPt>
            <c:idx val="8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A-82FC-421B-A80E-67ACC5454550}"/>
              </c:ext>
            </c:extLst>
          </c:dPt>
          <c:dPt>
            <c:idx val="8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B-82FC-421B-A80E-67ACC5454550}"/>
              </c:ext>
            </c:extLst>
          </c:dPt>
          <c:dPt>
            <c:idx val="8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C-82FC-421B-A80E-67ACC5454550}"/>
              </c:ext>
            </c:extLst>
          </c:dPt>
          <c:dPt>
            <c:idx val="8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D-82FC-421B-A80E-67ACC5454550}"/>
              </c:ext>
            </c:extLst>
          </c:dPt>
          <c:dPt>
            <c:idx val="8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E-82FC-421B-A80E-67ACC5454550}"/>
              </c:ext>
            </c:extLst>
          </c:dPt>
          <c:dPt>
            <c:idx val="8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2F-82FC-421B-A80E-67ACC5454550}"/>
              </c:ext>
            </c:extLst>
          </c:dPt>
          <c:dPt>
            <c:idx val="8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0-82FC-421B-A80E-67ACC5454550}"/>
              </c:ext>
            </c:extLst>
          </c:dPt>
          <c:dPt>
            <c:idx val="8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1-82FC-421B-A80E-67ACC5454550}"/>
              </c:ext>
            </c:extLst>
          </c:dPt>
          <c:dPt>
            <c:idx val="8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2-82FC-421B-A80E-67ACC5454550}"/>
              </c:ext>
            </c:extLst>
          </c:dPt>
          <c:dPt>
            <c:idx val="8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3-82FC-421B-A80E-67ACC5454550}"/>
              </c:ext>
            </c:extLst>
          </c:dPt>
          <c:dPt>
            <c:idx val="8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4-82FC-421B-A80E-67ACC5454550}"/>
              </c:ext>
            </c:extLst>
          </c:dPt>
          <c:dPt>
            <c:idx val="8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5-82FC-421B-A80E-67ACC5454550}"/>
              </c:ext>
            </c:extLst>
          </c:dPt>
          <c:dPt>
            <c:idx val="8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6-82FC-421B-A80E-67ACC5454550}"/>
              </c:ext>
            </c:extLst>
          </c:dPt>
          <c:dPt>
            <c:idx val="8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7-82FC-421B-A80E-67ACC5454550}"/>
              </c:ext>
            </c:extLst>
          </c:dPt>
          <c:dPt>
            <c:idx val="8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8-82FC-421B-A80E-67ACC5454550}"/>
              </c:ext>
            </c:extLst>
          </c:dPt>
          <c:dPt>
            <c:idx val="8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9-82FC-421B-A80E-67ACC5454550}"/>
              </c:ext>
            </c:extLst>
          </c:dPt>
          <c:dPt>
            <c:idx val="8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A-82FC-421B-A80E-67ACC5454550}"/>
              </c:ext>
            </c:extLst>
          </c:dPt>
          <c:dPt>
            <c:idx val="8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B-82FC-421B-A80E-67ACC5454550}"/>
              </c:ext>
            </c:extLst>
          </c:dPt>
          <c:dPt>
            <c:idx val="8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C-82FC-421B-A80E-67ACC5454550}"/>
              </c:ext>
            </c:extLst>
          </c:dPt>
          <c:dPt>
            <c:idx val="8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D-82FC-421B-A80E-67ACC5454550}"/>
              </c:ext>
            </c:extLst>
          </c:dPt>
          <c:dPt>
            <c:idx val="8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E-82FC-421B-A80E-67ACC5454550}"/>
              </c:ext>
            </c:extLst>
          </c:dPt>
          <c:dPt>
            <c:idx val="8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3F-82FC-421B-A80E-67ACC5454550}"/>
              </c:ext>
            </c:extLst>
          </c:dPt>
          <c:dPt>
            <c:idx val="8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0-82FC-421B-A80E-67ACC5454550}"/>
              </c:ext>
            </c:extLst>
          </c:dPt>
          <c:dPt>
            <c:idx val="8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1-82FC-421B-A80E-67ACC5454550}"/>
              </c:ext>
            </c:extLst>
          </c:dPt>
          <c:dPt>
            <c:idx val="8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2-82FC-421B-A80E-67ACC5454550}"/>
              </c:ext>
            </c:extLst>
          </c:dPt>
          <c:dPt>
            <c:idx val="8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3-82FC-421B-A80E-67ACC5454550}"/>
              </c:ext>
            </c:extLst>
          </c:dPt>
          <c:dPt>
            <c:idx val="8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4-82FC-421B-A80E-67ACC5454550}"/>
              </c:ext>
            </c:extLst>
          </c:dPt>
          <c:dPt>
            <c:idx val="8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5-82FC-421B-A80E-67ACC5454550}"/>
              </c:ext>
            </c:extLst>
          </c:dPt>
          <c:dPt>
            <c:idx val="8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6-82FC-421B-A80E-67ACC5454550}"/>
              </c:ext>
            </c:extLst>
          </c:dPt>
          <c:dPt>
            <c:idx val="8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7-82FC-421B-A80E-67ACC5454550}"/>
              </c:ext>
            </c:extLst>
          </c:dPt>
          <c:dPt>
            <c:idx val="8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8-82FC-421B-A80E-67ACC5454550}"/>
              </c:ext>
            </c:extLst>
          </c:dPt>
          <c:dPt>
            <c:idx val="8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9-82FC-421B-A80E-67ACC5454550}"/>
              </c:ext>
            </c:extLst>
          </c:dPt>
          <c:dPt>
            <c:idx val="8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A-82FC-421B-A80E-67ACC5454550}"/>
              </c:ext>
            </c:extLst>
          </c:dPt>
          <c:dPt>
            <c:idx val="8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B-82FC-421B-A80E-67ACC5454550}"/>
              </c:ext>
            </c:extLst>
          </c:dPt>
          <c:dPt>
            <c:idx val="8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C-82FC-421B-A80E-67ACC5454550}"/>
              </c:ext>
            </c:extLst>
          </c:dPt>
          <c:dPt>
            <c:idx val="8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D-82FC-421B-A80E-67ACC5454550}"/>
              </c:ext>
            </c:extLst>
          </c:dPt>
          <c:dPt>
            <c:idx val="8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E-82FC-421B-A80E-67ACC5454550}"/>
              </c:ext>
            </c:extLst>
          </c:dPt>
          <c:dPt>
            <c:idx val="8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4F-82FC-421B-A80E-67ACC5454550}"/>
              </c:ext>
            </c:extLst>
          </c:dPt>
          <c:dPt>
            <c:idx val="8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0-82FC-421B-A80E-67ACC5454550}"/>
              </c:ext>
            </c:extLst>
          </c:dPt>
          <c:dPt>
            <c:idx val="8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1-82FC-421B-A80E-67ACC5454550}"/>
              </c:ext>
            </c:extLst>
          </c:dPt>
          <c:dPt>
            <c:idx val="8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2-82FC-421B-A80E-67ACC5454550}"/>
              </c:ext>
            </c:extLst>
          </c:dPt>
          <c:dPt>
            <c:idx val="8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3-82FC-421B-A80E-67ACC5454550}"/>
              </c:ext>
            </c:extLst>
          </c:dPt>
          <c:dPt>
            <c:idx val="8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4-82FC-421B-A80E-67ACC5454550}"/>
              </c:ext>
            </c:extLst>
          </c:dPt>
          <c:dPt>
            <c:idx val="8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5-82FC-421B-A80E-67ACC5454550}"/>
              </c:ext>
            </c:extLst>
          </c:dPt>
          <c:dPt>
            <c:idx val="8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6-82FC-421B-A80E-67ACC5454550}"/>
              </c:ext>
            </c:extLst>
          </c:dPt>
          <c:dPt>
            <c:idx val="8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7-82FC-421B-A80E-67ACC5454550}"/>
              </c:ext>
            </c:extLst>
          </c:dPt>
          <c:dPt>
            <c:idx val="8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8-82FC-421B-A80E-67ACC5454550}"/>
              </c:ext>
            </c:extLst>
          </c:dPt>
          <c:dPt>
            <c:idx val="8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9-82FC-421B-A80E-67ACC5454550}"/>
              </c:ext>
            </c:extLst>
          </c:dPt>
          <c:dPt>
            <c:idx val="8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A-82FC-421B-A80E-67ACC5454550}"/>
              </c:ext>
            </c:extLst>
          </c:dPt>
          <c:dPt>
            <c:idx val="8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B-82FC-421B-A80E-67ACC5454550}"/>
              </c:ext>
            </c:extLst>
          </c:dPt>
          <c:dPt>
            <c:idx val="8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C-82FC-421B-A80E-67ACC5454550}"/>
              </c:ext>
            </c:extLst>
          </c:dPt>
          <c:dPt>
            <c:idx val="8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D-82FC-421B-A80E-67ACC5454550}"/>
              </c:ext>
            </c:extLst>
          </c:dPt>
          <c:dPt>
            <c:idx val="8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E-82FC-421B-A80E-67ACC5454550}"/>
              </c:ext>
            </c:extLst>
          </c:dPt>
          <c:dPt>
            <c:idx val="8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5F-82FC-421B-A80E-67ACC5454550}"/>
              </c:ext>
            </c:extLst>
          </c:dPt>
          <c:dPt>
            <c:idx val="8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0-82FC-421B-A80E-67ACC5454550}"/>
              </c:ext>
            </c:extLst>
          </c:dPt>
          <c:dPt>
            <c:idx val="8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1-82FC-421B-A80E-67ACC5454550}"/>
              </c:ext>
            </c:extLst>
          </c:dPt>
          <c:dPt>
            <c:idx val="8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2-82FC-421B-A80E-67ACC5454550}"/>
              </c:ext>
            </c:extLst>
          </c:dPt>
          <c:dPt>
            <c:idx val="8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3-82FC-421B-A80E-67ACC5454550}"/>
              </c:ext>
            </c:extLst>
          </c:dPt>
          <c:dPt>
            <c:idx val="8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4-82FC-421B-A80E-67ACC5454550}"/>
              </c:ext>
            </c:extLst>
          </c:dPt>
          <c:dPt>
            <c:idx val="8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5-82FC-421B-A80E-67ACC5454550}"/>
              </c:ext>
            </c:extLst>
          </c:dPt>
          <c:dPt>
            <c:idx val="8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6-82FC-421B-A80E-67ACC5454550}"/>
              </c:ext>
            </c:extLst>
          </c:dPt>
          <c:dPt>
            <c:idx val="8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7-82FC-421B-A80E-67ACC5454550}"/>
              </c:ext>
            </c:extLst>
          </c:dPt>
          <c:dPt>
            <c:idx val="8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8-82FC-421B-A80E-67ACC5454550}"/>
              </c:ext>
            </c:extLst>
          </c:dPt>
          <c:dPt>
            <c:idx val="8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9-82FC-421B-A80E-67ACC5454550}"/>
              </c:ext>
            </c:extLst>
          </c:dPt>
          <c:dPt>
            <c:idx val="8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A-82FC-421B-A80E-67ACC5454550}"/>
              </c:ext>
            </c:extLst>
          </c:dPt>
          <c:dPt>
            <c:idx val="8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B-82FC-421B-A80E-67ACC5454550}"/>
              </c:ext>
            </c:extLst>
          </c:dPt>
          <c:dPt>
            <c:idx val="8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C-82FC-421B-A80E-67ACC5454550}"/>
              </c:ext>
            </c:extLst>
          </c:dPt>
          <c:dPt>
            <c:idx val="8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D-82FC-421B-A80E-67ACC5454550}"/>
              </c:ext>
            </c:extLst>
          </c:dPt>
          <c:dPt>
            <c:idx val="8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E-82FC-421B-A80E-67ACC5454550}"/>
              </c:ext>
            </c:extLst>
          </c:dPt>
          <c:dPt>
            <c:idx val="8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6F-82FC-421B-A80E-67ACC5454550}"/>
              </c:ext>
            </c:extLst>
          </c:dPt>
          <c:dPt>
            <c:idx val="8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0-82FC-421B-A80E-67ACC5454550}"/>
              </c:ext>
            </c:extLst>
          </c:dPt>
          <c:dPt>
            <c:idx val="8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1-82FC-421B-A80E-67ACC5454550}"/>
              </c:ext>
            </c:extLst>
          </c:dPt>
          <c:dPt>
            <c:idx val="8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2-82FC-421B-A80E-67ACC5454550}"/>
              </c:ext>
            </c:extLst>
          </c:dPt>
          <c:dPt>
            <c:idx val="8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3-82FC-421B-A80E-67ACC5454550}"/>
              </c:ext>
            </c:extLst>
          </c:dPt>
          <c:dPt>
            <c:idx val="8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4-82FC-421B-A80E-67ACC5454550}"/>
              </c:ext>
            </c:extLst>
          </c:dPt>
          <c:dPt>
            <c:idx val="8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5-82FC-421B-A80E-67ACC5454550}"/>
              </c:ext>
            </c:extLst>
          </c:dPt>
          <c:cat>
            <c:numRef>
              <c:f>EMU!$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EMU!$EA$9:$EA$901</c:f>
              <c:numCache>
                <c:formatCode>0.00</c:formatCode>
                <c:ptCount val="893"/>
                <c:pt idx="0">
                  <c:v>12.174479887483367</c:v>
                </c:pt>
                <c:pt idx="1">
                  <c:v>12.174479887483367</c:v>
                </c:pt>
                <c:pt idx="2">
                  <c:v>12.174479887483367</c:v>
                </c:pt>
                <c:pt idx="3">
                  <c:v>12.174479887483367</c:v>
                </c:pt>
                <c:pt idx="4">
                  <c:v>12.174479887483367</c:v>
                </c:pt>
                <c:pt idx="5">
                  <c:v>12.174479887483367</c:v>
                </c:pt>
                <c:pt idx="6">
                  <c:v>12.174479887483367</c:v>
                </c:pt>
                <c:pt idx="7">
                  <c:v>12.174479887483367</c:v>
                </c:pt>
                <c:pt idx="8">
                  <c:v>12.174479887483367</c:v>
                </c:pt>
                <c:pt idx="9">
                  <c:v>12.174479887483367</c:v>
                </c:pt>
                <c:pt idx="10">
                  <c:v>12.174479887483367</c:v>
                </c:pt>
                <c:pt idx="11">
                  <c:v>12.174479887483367</c:v>
                </c:pt>
                <c:pt idx="12">
                  <c:v>12.174479887483367</c:v>
                </c:pt>
                <c:pt idx="13">
                  <c:v>12.174479887483367</c:v>
                </c:pt>
                <c:pt idx="14">
                  <c:v>12.174479887483367</c:v>
                </c:pt>
                <c:pt idx="15">
                  <c:v>12.174479887483367</c:v>
                </c:pt>
                <c:pt idx="16">
                  <c:v>12.174479887483367</c:v>
                </c:pt>
                <c:pt idx="17">
                  <c:v>12.174479887483367</c:v>
                </c:pt>
                <c:pt idx="18">
                  <c:v>12.174479887483367</c:v>
                </c:pt>
                <c:pt idx="19">
                  <c:v>12.174479887483367</c:v>
                </c:pt>
                <c:pt idx="20">
                  <c:v>12.174479887483367</c:v>
                </c:pt>
                <c:pt idx="21">
                  <c:v>12.174479887483367</c:v>
                </c:pt>
                <c:pt idx="22">
                  <c:v>12.174479887483367</c:v>
                </c:pt>
                <c:pt idx="23">
                  <c:v>12.174479887483367</c:v>
                </c:pt>
                <c:pt idx="24">
                  <c:v>12.174479887483367</c:v>
                </c:pt>
                <c:pt idx="25">
                  <c:v>12.174479887483367</c:v>
                </c:pt>
                <c:pt idx="26">
                  <c:v>12.174479887483367</c:v>
                </c:pt>
                <c:pt idx="27">
                  <c:v>12.174479887483367</c:v>
                </c:pt>
                <c:pt idx="28">
                  <c:v>12.174479887483367</c:v>
                </c:pt>
                <c:pt idx="29">
                  <c:v>12.174479887483367</c:v>
                </c:pt>
                <c:pt idx="30">
                  <c:v>12.174479887483367</c:v>
                </c:pt>
                <c:pt idx="31">
                  <c:v>12.174479887483367</c:v>
                </c:pt>
                <c:pt idx="32">
                  <c:v>12.174479887483367</c:v>
                </c:pt>
                <c:pt idx="33">
                  <c:v>12.174479887483367</c:v>
                </c:pt>
                <c:pt idx="34">
                  <c:v>12.174479887483367</c:v>
                </c:pt>
                <c:pt idx="35">
                  <c:v>12.174479887483367</c:v>
                </c:pt>
                <c:pt idx="36">
                  <c:v>12.174479887483367</c:v>
                </c:pt>
                <c:pt idx="37">
                  <c:v>12.174479887483367</c:v>
                </c:pt>
                <c:pt idx="38">
                  <c:v>12.174479887483367</c:v>
                </c:pt>
                <c:pt idx="39">
                  <c:v>12.174479887483367</c:v>
                </c:pt>
                <c:pt idx="40">
                  <c:v>12.174479887483367</c:v>
                </c:pt>
                <c:pt idx="41">
                  <c:v>12.174479887483367</c:v>
                </c:pt>
                <c:pt idx="42">
                  <c:v>12.174479887483367</c:v>
                </c:pt>
                <c:pt idx="43">
                  <c:v>12.174479887483367</c:v>
                </c:pt>
                <c:pt idx="44">
                  <c:v>12.174479887483367</c:v>
                </c:pt>
                <c:pt idx="45">
                  <c:v>12.174479887483367</c:v>
                </c:pt>
                <c:pt idx="46">
                  <c:v>12.174479887483367</c:v>
                </c:pt>
                <c:pt idx="47">
                  <c:v>12.174479887483367</c:v>
                </c:pt>
                <c:pt idx="48">
                  <c:v>12.174479887483367</c:v>
                </c:pt>
                <c:pt idx="49">
                  <c:v>12.174479887483367</c:v>
                </c:pt>
                <c:pt idx="50">
                  <c:v>12.174479887483367</c:v>
                </c:pt>
                <c:pt idx="51">
                  <c:v>12.174479887483367</c:v>
                </c:pt>
                <c:pt idx="52">
                  <c:v>12.174479887483367</c:v>
                </c:pt>
                <c:pt idx="53">
                  <c:v>12.174479887483367</c:v>
                </c:pt>
                <c:pt idx="54">
                  <c:v>12.174479887483367</c:v>
                </c:pt>
                <c:pt idx="55">
                  <c:v>12.174479887483367</c:v>
                </c:pt>
                <c:pt idx="56">
                  <c:v>12.174479887483367</c:v>
                </c:pt>
                <c:pt idx="57">
                  <c:v>12.174479887483367</c:v>
                </c:pt>
                <c:pt idx="58">
                  <c:v>12.174479887483367</c:v>
                </c:pt>
                <c:pt idx="59">
                  <c:v>12.174479887483367</c:v>
                </c:pt>
                <c:pt idx="60">
                  <c:v>12.174479887483367</c:v>
                </c:pt>
                <c:pt idx="61">
                  <c:v>12.174479887483367</c:v>
                </c:pt>
                <c:pt idx="62">
                  <c:v>12.174479887483367</c:v>
                </c:pt>
                <c:pt idx="63">
                  <c:v>12.174479887483367</c:v>
                </c:pt>
                <c:pt idx="64">
                  <c:v>12.174479887483367</c:v>
                </c:pt>
                <c:pt idx="65">
                  <c:v>12.174479887483367</c:v>
                </c:pt>
                <c:pt idx="66">
                  <c:v>12.174479887483367</c:v>
                </c:pt>
                <c:pt idx="67">
                  <c:v>12.174479887483367</c:v>
                </c:pt>
                <c:pt idx="68">
                  <c:v>12.174479887483367</c:v>
                </c:pt>
                <c:pt idx="69">
                  <c:v>12.174479887483367</c:v>
                </c:pt>
                <c:pt idx="70">
                  <c:v>12.174479887483367</c:v>
                </c:pt>
                <c:pt idx="71">
                  <c:v>12.174479887483367</c:v>
                </c:pt>
                <c:pt idx="72">
                  <c:v>12.174479887483367</c:v>
                </c:pt>
                <c:pt idx="73">
                  <c:v>12.174479887483367</c:v>
                </c:pt>
                <c:pt idx="74">
                  <c:v>12.174479887483367</c:v>
                </c:pt>
                <c:pt idx="75">
                  <c:v>12.174479887483367</c:v>
                </c:pt>
                <c:pt idx="76">
                  <c:v>12.174479887483367</c:v>
                </c:pt>
                <c:pt idx="77">
                  <c:v>12.174479887483367</c:v>
                </c:pt>
                <c:pt idx="78">
                  <c:v>12.174479887483367</c:v>
                </c:pt>
                <c:pt idx="79">
                  <c:v>12.174479887483367</c:v>
                </c:pt>
                <c:pt idx="80">
                  <c:v>12.174479887483367</c:v>
                </c:pt>
                <c:pt idx="81">
                  <c:v>12.174479887483367</c:v>
                </c:pt>
                <c:pt idx="82">
                  <c:v>12.174479887483367</c:v>
                </c:pt>
                <c:pt idx="83">
                  <c:v>12.174479887483367</c:v>
                </c:pt>
                <c:pt idx="84">
                  <c:v>12.174479887483367</c:v>
                </c:pt>
                <c:pt idx="85">
                  <c:v>12.174479887483367</c:v>
                </c:pt>
                <c:pt idx="86">
                  <c:v>12.174479887483367</c:v>
                </c:pt>
                <c:pt idx="87">
                  <c:v>12.174479887483367</c:v>
                </c:pt>
                <c:pt idx="88">
                  <c:v>12.174479887483367</c:v>
                </c:pt>
                <c:pt idx="89">
                  <c:v>12.174479887483367</c:v>
                </c:pt>
                <c:pt idx="90">
                  <c:v>12.174479887483367</c:v>
                </c:pt>
                <c:pt idx="91">
                  <c:v>12.174479887483367</c:v>
                </c:pt>
                <c:pt idx="92">
                  <c:v>12.174479887483367</c:v>
                </c:pt>
                <c:pt idx="93">
                  <c:v>12.174479887483367</c:v>
                </c:pt>
                <c:pt idx="94">
                  <c:v>12.174479887483367</c:v>
                </c:pt>
                <c:pt idx="95">
                  <c:v>12.174479887483367</c:v>
                </c:pt>
                <c:pt idx="96">
                  <c:v>12.174479887483367</c:v>
                </c:pt>
                <c:pt idx="97">
                  <c:v>12.174479887483367</c:v>
                </c:pt>
                <c:pt idx="98">
                  <c:v>12.174479887483367</c:v>
                </c:pt>
                <c:pt idx="99">
                  <c:v>12.174479887483367</c:v>
                </c:pt>
                <c:pt idx="100">
                  <c:v>12.174479887483367</c:v>
                </c:pt>
                <c:pt idx="101">
                  <c:v>12.174479887483367</c:v>
                </c:pt>
                <c:pt idx="102">
                  <c:v>12.174479887483367</c:v>
                </c:pt>
                <c:pt idx="103">
                  <c:v>12.174479887483367</c:v>
                </c:pt>
                <c:pt idx="104">
                  <c:v>12.174479887483367</c:v>
                </c:pt>
                <c:pt idx="105">
                  <c:v>12.174479887483367</c:v>
                </c:pt>
                <c:pt idx="106">
                  <c:v>12.174479887483367</c:v>
                </c:pt>
                <c:pt idx="107">
                  <c:v>12.174479887483367</c:v>
                </c:pt>
                <c:pt idx="108">
                  <c:v>12.174479887483367</c:v>
                </c:pt>
                <c:pt idx="109">
                  <c:v>12.174479887483367</c:v>
                </c:pt>
                <c:pt idx="110">
                  <c:v>12.174479887483367</c:v>
                </c:pt>
                <c:pt idx="111">
                  <c:v>12.174479887483367</c:v>
                </c:pt>
                <c:pt idx="112">
                  <c:v>12.174479887483367</c:v>
                </c:pt>
                <c:pt idx="113">
                  <c:v>12.174479887483367</c:v>
                </c:pt>
                <c:pt idx="114">
                  <c:v>12.174479887483367</c:v>
                </c:pt>
                <c:pt idx="115">
                  <c:v>12.174479887483367</c:v>
                </c:pt>
                <c:pt idx="116">
                  <c:v>12.174479887483367</c:v>
                </c:pt>
                <c:pt idx="117">
                  <c:v>12.174479887483367</c:v>
                </c:pt>
                <c:pt idx="118">
                  <c:v>12.174479887483367</c:v>
                </c:pt>
                <c:pt idx="119">
                  <c:v>12.174479887483367</c:v>
                </c:pt>
                <c:pt idx="120">
                  <c:v>12.174479887483367</c:v>
                </c:pt>
                <c:pt idx="121">
                  <c:v>12.174479887483367</c:v>
                </c:pt>
                <c:pt idx="122">
                  <c:v>12.174479887483367</c:v>
                </c:pt>
                <c:pt idx="123">
                  <c:v>12.174479887483367</c:v>
                </c:pt>
                <c:pt idx="124">
                  <c:v>12.174479887483367</c:v>
                </c:pt>
                <c:pt idx="125">
                  <c:v>12.174479887483367</c:v>
                </c:pt>
                <c:pt idx="126">
                  <c:v>12.174479887483367</c:v>
                </c:pt>
                <c:pt idx="127">
                  <c:v>12.174479887483367</c:v>
                </c:pt>
                <c:pt idx="128">
                  <c:v>12.174479887483367</c:v>
                </c:pt>
                <c:pt idx="129">
                  <c:v>12.174479887483367</c:v>
                </c:pt>
                <c:pt idx="130">
                  <c:v>12.174479887483367</c:v>
                </c:pt>
                <c:pt idx="131">
                  <c:v>12.174479887483367</c:v>
                </c:pt>
                <c:pt idx="132">
                  <c:v>12.174479887483367</c:v>
                </c:pt>
                <c:pt idx="133">
                  <c:v>12.174479887483367</c:v>
                </c:pt>
                <c:pt idx="134">
                  <c:v>12.174479887483367</c:v>
                </c:pt>
                <c:pt idx="135">
                  <c:v>12.174479887483367</c:v>
                </c:pt>
                <c:pt idx="136">
                  <c:v>12.174479887483367</c:v>
                </c:pt>
                <c:pt idx="137">
                  <c:v>12.174479887483367</c:v>
                </c:pt>
                <c:pt idx="138">
                  <c:v>12.174479887483367</c:v>
                </c:pt>
                <c:pt idx="139">
                  <c:v>12.174479887483367</c:v>
                </c:pt>
                <c:pt idx="140">
                  <c:v>12.174479887483367</c:v>
                </c:pt>
                <c:pt idx="141">
                  <c:v>12.174479887483367</c:v>
                </c:pt>
                <c:pt idx="142">
                  <c:v>12.174479887483367</c:v>
                </c:pt>
                <c:pt idx="143">
                  <c:v>12.174479887483367</c:v>
                </c:pt>
                <c:pt idx="144">
                  <c:v>12.174479887483367</c:v>
                </c:pt>
                <c:pt idx="145">
                  <c:v>12.174479887483367</c:v>
                </c:pt>
                <c:pt idx="146">
                  <c:v>12.174479887483367</c:v>
                </c:pt>
                <c:pt idx="147">
                  <c:v>12.174479887483367</c:v>
                </c:pt>
                <c:pt idx="148">
                  <c:v>12.174479887483367</c:v>
                </c:pt>
                <c:pt idx="149">
                  <c:v>12.174479887483367</c:v>
                </c:pt>
                <c:pt idx="150">
                  <c:v>12.174479887483367</c:v>
                </c:pt>
                <c:pt idx="151">
                  <c:v>12.174479887483367</c:v>
                </c:pt>
                <c:pt idx="152">
                  <c:v>12.174479887483367</c:v>
                </c:pt>
                <c:pt idx="153">
                  <c:v>12.174479887483367</c:v>
                </c:pt>
                <c:pt idx="154">
                  <c:v>12.174479887483367</c:v>
                </c:pt>
                <c:pt idx="155">
                  <c:v>12.174479887483367</c:v>
                </c:pt>
                <c:pt idx="156">
                  <c:v>12.174479887483367</c:v>
                </c:pt>
                <c:pt idx="157">
                  <c:v>12.174479887483367</c:v>
                </c:pt>
                <c:pt idx="158">
                  <c:v>12.174479887483367</c:v>
                </c:pt>
                <c:pt idx="159">
                  <c:v>12.174479887483367</c:v>
                </c:pt>
                <c:pt idx="160">
                  <c:v>12.174479887483367</c:v>
                </c:pt>
                <c:pt idx="161">
                  <c:v>12.174479887483367</c:v>
                </c:pt>
                <c:pt idx="162">
                  <c:v>12.174479887483367</c:v>
                </c:pt>
                <c:pt idx="163">
                  <c:v>12.174479887483367</c:v>
                </c:pt>
                <c:pt idx="164">
                  <c:v>12.174479887483367</c:v>
                </c:pt>
                <c:pt idx="165">
                  <c:v>12.174479887483367</c:v>
                </c:pt>
                <c:pt idx="166">
                  <c:v>12.174479887483367</c:v>
                </c:pt>
                <c:pt idx="167">
                  <c:v>12.174479887483367</c:v>
                </c:pt>
                <c:pt idx="168">
                  <c:v>12.174479887483367</c:v>
                </c:pt>
                <c:pt idx="169">
                  <c:v>12.174479887483367</c:v>
                </c:pt>
                <c:pt idx="170">
                  <c:v>12.174479887483367</c:v>
                </c:pt>
                <c:pt idx="171">
                  <c:v>12.174479887483367</c:v>
                </c:pt>
                <c:pt idx="172">
                  <c:v>12.174479887483367</c:v>
                </c:pt>
                <c:pt idx="173">
                  <c:v>12.174479887483367</c:v>
                </c:pt>
                <c:pt idx="174">
                  <c:v>12.174479887483367</c:v>
                </c:pt>
                <c:pt idx="175">
                  <c:v>12.174479887483367</c:v>
                </c:pt>
                <c:pt idx="176">
                  <c:v>12.174479887483367</c:v>
                </c:pt>
                <c:pt idx="177">
                  <c:v>12.174479887483367</c:v>
                </c:pt>
                <c:pt idx="178">
                  <c:v>12.174479887483367</c:v>
                </c:pt>
                <c:pt idx="179">
                  <c:v>12.174479887483367</c:v>
                </c:pt>
                <c:pt idx="180">
                  <c:v>12.174479887483367</c:v>
                </c:pt>
                <c:pt idx="181">
                  <c:v>12.174479887483367</c:v>
                </c:pt>
                <c:pt idx="182">
                  <c:v>12.174479887483367</c:v>
                </c:pt>
                <c:pt idx="183">
                  <c:v>12.174479887483367</c:v>
                </c:pt>
                <c:pt idx="184">
                  <c:v>12.174479887483367</c:v>
                </c:pt>
                <c:pt idx="185">
                  <c:v>12.174479887483367</c:v>
                </c:pt>
                <c:pt idx="186">
                  <c:v>12.174479887483367</c:v>
                </c:pt>
                <c:pt idx="187">
                  <c:v>12.174479887483367</c:v>
                </c:pt>
                <c:pt idx="188">
                  <c:v>12.174479887483367</c:v>
                </c:pt>
                <c:pt idx="189">
                  <c:v>12.174479887483367</c:v>
                </c:pt>
                <c:pt idx="190">
                  <c:v>12.174479887483367</c:v>
                </c:pt>
                <c:pt idx="191">
                  <c:v>12.174479887483367</c:v>
                </c:pt>
                <c:pt idx="192">
                  <c:v>12.174479887483367</c:v>
                </c:pt>
                <c:pt idx="193">
                  <c:v>12.174479887483367</c:v>
                </c:pt>
                <c:pt idx="194">
                  <c:v>12.174479887483367</c:v>
                </c:pt>
                <c:pt idx="195">
                  <c:v>12.174479887483367</c:v>
                </c:pt>
                <c:pt idx="196">
                  <c:v>12.174479887483367</c:v>
                </c:pt>
                <c:pt idx="197">
                  <c:v>12.174479887483367</c:v>
                </c:pt>
                <c:pt idx="198">
                  <c:v>12.174479887483367</c:v>
                </c:pt>
                <c:pt idx="199">
                  <c:v>12.174479887483367</c:v>
                </c:pt>
                <c:pt idx="200">
                  <c:v>12.174479887483367</c:v>
                </c:pt>
                <c:pt idx="201">
                  <c:v>12.174479887483367</c:v>
                </c:pt>
                <c:pt idx="202">
                  <c:v>12.174479887483367</c:v>
                </c:pt>
                <c:pt idx="203">
                  <c:v>12.174479887483367</c:v>
                </c:pt>
                <c:pt idx="204">
                  <c:v>12.174479887483367</c:v>
                </c:pt>
                <c:pt idx="205">
                  <c:v>12.174479887483367</c:v>
                </c:pt>
                <c:pt idx="206">
                  <c:v>12.174479887483367</c:v>
                </c:pt>
                <c:pt idx="207">
                  <c:v>12.174479887483367</c:v>
                </c:pt>
                <c:pt idx="208">
                  <c:v>12.174479887483367</c:v>
                </c:pt>
                <c:pt idx="209">
                  <c:v>12.174479887483367</c:v>
                </c:pt>
                <c:pt idx="210">
                  <c:v>12.174479887483367</c:v>
                </c:pt>
                <c:pt idx="211">
                  <c:v>12.174479887483367</c:v>
                </c:pt>
                <c:pt idx="212">
                  <c:v>12.174479887483367</c:v>
                </c:pt>
                <c:pt idx="213">
                  <c:v>12.174479887483367</c:v>
                </c:pt>
                <c:pt idx="214">
                  <c:v>12.174479887483367</c:v>
                </c:pt>
                <c:pt idx="215">
                  <c:v>12.174479887483367</c:v>
                </c:pt>
                <c:pt idx="216">
                  <c:v>12.174479887483367</c:v>
                </c:pt>
                <c:pt idx="217">
                  <c:v>12.174479887483367</c:v>
                </c:pt>
                <c:pt idx="218">
                  <c:v>12.174479887483367</c:v>
                </c:pt>
                <c:pt idx="219">
                  <c:v>12.174479887483367</c:v>
                </c:pt>
                <c:pt idx="220">
                  <c:v>12.174479887483367</c:v>
                </c:pt>
                <c:pt idx="221">
                  <c:v>12.174479887483367</c:v>
                </c:pt>
                <c:pt idx="222">
                  <c:v>12.174479887483367</c:v>
                </c:pt>
                <c:pt idx="223">
                  <c:v>12.174479887483367</c:v>
                </c:pt>
                <c:pt idx="224">
                  <c:v>12.174479887483367</c:v>
                </c:pt>
                <c:pt idx="225">
                  <c:v>12.174479887483367</c:v>
                </c:pt>
                <c:pt idx="226">
                  <c:v>12.174479887483367</c:v>
                </c:pt>
                <c:pt idx="227">
                  <c:v>12.174479887483367</c:v>
                </c:pt>
                <c:pt idx="228">
                  <c:v>12.174479887483367</c:v>
                </c:pt>
                <c:pt idx="229">
                  <c:v>12.174479887483367</c:v>
                </c:pt>
                <c:pt idx="230">
                  <c:v>12.174479887483367</c:v>
                </c:pt>
                <c:pt idx="231">
                  <c:v>12.174479887483367</c:v>
                </c:pt>
                <c:pt idx="232">
                  <c:v>12.174479887483367</c:v>
                </c:pt>
                <c:pt idx="233">
                  <c:v>12.174479887483367</c:v>
                </c:pt>
                <c:pt idx="234">
                  <c:v>12.174479887483367</c:v>
                </c:pt>
                <c:pt idx="235">
                  <c:v>12.174479887483367</c:v>
                </c:pt>
                <c:pt idx="236">
                  <c:v>12.174479887483367</c:v>
                </c:pt>
                <c:pt idx="237">
                  <c:v>12.174479887483367</c:v>
                </c:pt>
                <c:pt idx="238">
                  <c:v>12.174479887483367</c:v>
                </c:pt>
                <c:pt idx="239">
                  <c:v>12.174479887483367</c:v>
                </c:pt>
                <c:pt idx="240">
                  <c:v>12.174479887483367</c:v>
                </c:pt>
                <c:pt idx="241">
                  <c:v>12.174479887483367</c:v>
                </c:pt>
                <c:pt idx="242">
                  <c:v>12.174479887483367</c:v>
                </c:pt>
                <c:pt idx="243">
                  <c:v>12.174479887483367</c:v>
                </c:pt>
                <c:pt idx="244">
                  <c:v>12.174479887483367</c:v>
                </c:pt>
                <c:pt idx="245">
                  <c:v>12.174479887483367</c:v>
                </c:pt>
                <c:pt idx="246">
                  <c:v>12.174479887483367</c:v>
                </c:pt>
                <c:pt idx="247">
                  <c:v>12.174479887483367</c:v>
                </c:pt>
                <c:pt idx="248">
                  <c:v>12.174479887483367</c:v>
                </c:pt>
                <c:pt idx="249">
                  <c:v>12.174479887483367</c:v>
                </c:pt>
                <c:pt idx="250">
                  <c:v>12.174479887483367</c:v>
                </c:pt>
                <c:pt idx="251">
                  <c:v>12.174479887483367</c:v>
                </c:pt>
                <c:pt idx="252">
                  <c:v>12.174479887483367</c:v>
                </c:pt>
                <c:pt idx="253">
                  <c:v>12.174479887483367</c:v>
                </c:pt>
                <c:pt idx="254">
                  <c:v>12.174479887483367</c:v>
                </c:pt>
                <c:pt idx="255">
                  <c:v>12.174479887483367</c:v>
                </c:pt>
                <c:pt idx="256">
                  <c:v>12.174479887483367</c:v>
                </c:pt>
                <c:pt idx="257">
                  <c:v>12.174479887483367</c:v>
                </c:pt>
                <c:pt idx="258">
                  <c:v>12.174479887483367</c:v>
                </c:pt>
                <c:pt idx="259">
                  <c:v>12.174479887483367</c:v>
                </c:pt>
                <c:pt idx="260">
                  <c:v>12.174479887483367</c:v>
                </c:pt>
                <c:pt idx="261">
                  <c:v>12.174479887483367</c:v>
                </c:pt>
                <c:pt idx="262">
                  <c:v>12.174479887483367</c:v>
                </c:pt>
                <c:pt idx="263">
                  <c:v>12.174479887483367</c:v>
                </c:pt>
                <c:pt idx="264">
                  <c:v>12.174479887483367</c:v>
                </c:pt>
                <c:pt idx="265">
                  <c:v>12.174479887483367</c:v>
                </c:pt>
                <c:pt idx="266">
                  <c:v>12.174479887483367</c:v>
                </c:pt>
                <c:pt idx="267">
                  <c:v>12.174479887483367</c:v>
                </c:pt>
                <c:pt idx="268">
                  <c:v>12.174479887483367</c:v>
                </c:pt>
                <c:pt idx="269">
                  <c:v>12.174479887483367</c:v>
                </c:pt>
                <c:pt idx="270">
                  <c:v>12.174479887483367</c:v>
                </c:pt>
                <c:pt idx="271">
                  <c:v>12.174479887483367</c:v>
                </c:pt>
                <c:pt idx="272">
                  <c:v>12.174479887483367</c:v>
                </c:pt>
                <c:pt idx="273">
                  <c:v>12.174479887483367</c:v>
                </c:pt>
                <c:pt idx="274">
                  <c:v>12.174479887483367</c:v>
                </c:pt>
                <c:pt idx="275">
                  <c:v>12.174479887483367</c:v>
                </c:pt>
                <c:pt idx="276">
                  <c:v>12.174479887483367</c:v>
                </c:pt>
                <c:pt idx="277">
                  <c:v>12.174479887483367</c:v>
                </c:pt>
                <c:pt idx="278">
                  <c:v>12.174479887483367</c:v>
                </c:pt>
                <c:pt idx="279">
                  <c:v>12.174479887483367</c:v>
                </c:pt>
                <c:pt idx="280">
                  <c:v>12.174479887483367</c:v>
                </c:pt>
                <c:pt idx="281">
                  <c:v>12.174479887483367</c:v>
                </c:pt>
                <c:pt idx="282">
                  <c:v>12.174479887483367</c:v>
                </c:pt>
                <c:pt idx="283">
                  <c:v>12.174479887483367</c:v>
                </c:pt>
                <c:pt idx="284">
                  <c:v>12.174479887483367</c:v>
                </c:pt>
                <c:pt idx="285">
                  <c:v>12.174479887483367</c:v>
                </c:pt>
                <c:pt idx="286">
                  <c:v>12.174479887483367</c:v>
                </c:pt>
                <c:pt idx="287">
                  <c:v>12.174479887483367</c:v>
                </c:pt>
                <c:pt idx="288">
                  <c:v>12.174479887483367</c:v>
                </c:pt>
                <c:pt idx="289">
                  <c:v>12.174479887483367</c:v>
                </c:pt>
                <c:pt idx="290">
                  <c:v>12.174479887483367</c:v>
                </c:pt>
                <c:pt idx="291">
                  <c:v>12.174479887483367</c:v>
                </c:pt>
                <c:pt idx="292">
                  <c:v>12.174479887483367</c:v>
                </c:pt>
                <c:pt idx="293">
                  <c:v>12.174479887483367</c:v>
                </c:pt>
                <c:pt idx="294">
                  <c:v>12.174479887483367</c:v>
                </c:pt>
                <c:pt idx="295">
                  <c:v>12.174479887483367</c:v>
                </c:pt>
                <c:pt idx="296">
                  <c:v>12.174479887483367</c:v>
                </c:pt>
                <c:pt idx="297">
                  <c:v>12.174479887483367</c:v>
                </c:pt>
                <c:pt idx="298">
                  <c:v>12.174479887483367</c:v>
                </c:pt>
                <c:pt idx="299">
                  <c:v>12.174479887483367</c:v>
                </c:pt>
                <c:pt idx="300">
                  <c:v>12.174479887483367</c:v>
                </c:pt>
                <c:pt idx="301">
                  <c:v>12.174479887483367</c:v>
                </c:pt>
                <c:pt idx="302">
                  <c:v>12.174479887483367</c:v>
                </c:pt>
                <c:pt idx="303">
                  <c:v>12.174479887483367</c:v>
                </c:pt>
                <c:pt idx="304">
                  <c:v>12.174479887483367</c:v>
                </c:pt>
                <c:pt idx="305">
                  <c:v>12.174479887483367</c:v>
                </c:pt>
                <c:pt idx="306">
                  <c:v>12.174479887483367</c:v>
                </c:pt>
                <c:pt idx="307">
                  <c:v>12.174479887483367</c:v>
                </c:pt>
                <c:pt idx="308">
                  <c:v>12.174479887483367</c:v>
                </c:pt>
                <c:pt idx="309">
                  <c:v>12.174479887483367</c:v>
                </c:pt>
                <c:pt idx="310">
                  <c:v>12.174479887483367</c:v>
                </c:pt>
                <c:pt idx="311">
                  <c:v>12.174479887483367</c:v>
                </c:pt>
                <c:pt idx="312">
                  <c:v>12.174479887483367</c:v>
                </c:pt>
                <c:pt idx="313">
                  <c:v>12.174479887483367</c:v>
                </c:pt>
                <c:pt idx="314">
                  <c:v>12.174479887483367</c:v>
                </c:pt>
                <c:pt idx="315">
                  <c:v>12.174479887483367</c:v>
                </c:pt>
                <c:pt idx="316">
                  <c:v>12.174479887483367</c:v>
                </c:pt>
                <c:pt idx="317">
                  <c:v>12.174479887483367</c:v>
                </c:pt>
                <c:pt idx="318">
                  <c:v>12.174479887483367</c:v>
                </c:pt>
                <c:pt idx="319">
                  <c:v>12.174479887483367</c:v>
                </c:pt>
                <c:pt idx="320">
                  <c:v>12.174479887483367</c:v>
                </c:pt>
                <c:pt idx="321">
                  <c:v>12.174479887483367</c:v>
                </c:pt>
                <c:pt idx="322">
                  <c:v>12.174479887483367</c:v>
                </c:pt>
                <c:pt idx="323">
                  <c:v>12.174479887483367</c:v>
                </c:pt>
                <c:pt idx="324">
                  <c:v>12.174479887483367</c:v>
                </c:pt>
                <c:pt idx="325">
                  <c:v>12.174479887483367</c:v>
                </c:pt>
                <c:pt idx="326">
                  <c:v>12.174479887483367</c:v>
                </c:pt>
                <c:pt idx="327">
                  <c:v>12.174479887483367</c:v>
                </c:pt>
                <c:pt idx="328">
                  <c:v>12.174479887483367</c:v>
                </c:pt>
                <c:pt idx="329">
                  <c:v>12.174479887483367</c:v>
                </c:pt>
                <c:pt idx="330">
                  <c:v>12.174479887483367</c:v>
                </c:pt>
                <c:pt idx="331">
                  <c:v>12.174479887483367</c:v>
                </c:pt>
                <c:pt idx="332">
                  <c:v>12.174479887483367</c:v>
                </c:pt>
                <c:pt idx="333">
                  <c:v>12.174479887483367</c:v>
                </c:pt>
                <c:pt idx="334">
                  <c:v>12.174479887483367</c:v>
                </c:pt>
                <c:pt idx="335">
                  <c:v>12.174479887483367</c:v>
                </c:pt>
                <c:pt idx="336">
                  <c:v>12.174479887483367</c:v>
                </c:pt>
                <c:pt idx="337">
                  <c:v>12.174479887483367</c:v>
                </c:pt>
                <c:pt idx="338">
                  <c:v>12.174479887483367</c:v>
                </c:pt>
                <c:pt idx="339">
                  <c:v>12.174479887483367</c:v>
                </c:pt>
                <c:pt idx="340">
                  <c:v>12.174479887483367</c:v>
                </c:pt>
                <c:pt idx="341">
                  <c:v>12.174479887483367</c:v>
                </c:pt>
                <c:pt idx="342">
                  <c:v>12.174479887483367</c:v>
                </c:pt>
                <c:pt idx="343">
                  <c:v>12.174479887483367</c:v>
                </c:pt>
                <c:pt idx="344">
                  <c:v>12.174479887483367</c:v>
                </c:pt>
                <c:pt idx="345">
                  <c:v>12.174479887483367</c:v>
                </c:pt>
                <c:pt idx="346">
                  <c:v>12.174479887483367</c:v>
                </c:pt>
                <c:pt idx="347">
                  <c:v>12.174479887483367</c:v>
                </c:pt>
                <c:pt idx="348">
                  <c:v>12.174479887483367</c:v>
                </c:pt>
                <c:pt idx="349">
                  <c:v>12.174479887483367</c:v>
                </c:pt>
                <c:pt idx="350">
                  <c:v>12.174479887483367</c:v>
                </c:pt>
                <c:pt idx="351">
                  <c:v>12.174479887483367</c:v>
                </c:pt>
                <c:pt idx="352">
                  <c:v>12.174479887483367</c:v>
                </c:pt>
                <c:pt idx="353">
                  <c:v>12.174479887483367</c:v>
                </c:pt>
                <c:pt idx="354">
                  <c:v>12.174479887483367</c:v>
                </c:pt>
                <c:pt idx="355">
                  <c:v>12.174479887483367</c:v>
                </c:pt>
                <c:pt idx="356">
                  <c:v>12.174479887483367</c:v>
                </c:pt>
                <c:pt idx="357">
                  <c:v>12.174479887483367</c:v>
                </c:pt>
                <c:pt idx="358">
                  <c:v>12.174479887483367</c:v>
                </c:pt>
                <c:pt idx="359">
                  <c:v>12.174479887483367</c:v>
                </c:pt>
                <c:pt idx="360">
                  <c:v>12.174479887483367</c:v>
                </c:pt>
                <c:pt idx="361">
                  <c:v>12.174479887483367</c:v>
                </c:pt>
                <c:pt idx="362">
                  <c:v>12.174479887483367</c:v>
                </c:pt>
                <c:pt idx="363">
                  <c:v>12.174479887483367</c:v>
                </c:pt>
                <c:pt idx="364">
                  <c:v>12.174479887483367</c:v>
                </c:pt>
                <c:pt idx="365">
                  <c:v>12.174479887483367</c:v>
                </c:pt>
                <c:pt idx="366">
                  <c:v>12.174479887483367</c:v>
                </c:pt>
                <c:pt idx="367">
                  <c:v>12.174479887483367</c:v>
                </c:pt>
                <c:pt idx="368">
                  <c:v>12.174479887483367</c:v>
                </c:pt>
                <c:pt idx="369">
                  <c:v>12.174479887483367</c:v>
                </c:pt>
                <c:pt idx="370">
                  <c:v>12.174479887483367</c:v>
                </c:pt>
                <c:pt idx="371">
                  <c:v>12.174479887483367</c:v>
                </c:pt>
                <c:pt idx="372">
                  <c:v>12.174479887483367</c:v>
                </c:pt>
                <c:pt idx="373">
                  <c:v>12.174479887483367</c:v>
                </c:pt>
                <c:pt idx="374">
                  <c:v>12.174479887483367</c:v>
                </c:pt>
                <c:pt idx="375">
                  <c:v>12.174479887483367</c:v>
                </c:pt>
                <c:pt idx="376">
                  <c:v>12.174479887483367</c:v>
                </c:pt>
                <c:pt idx="377">
                  <c:v>12.174479887483367</c:v>
                </c:pt>
                <c:pt idx="378">
                  <c:v>12.174479887483367</c:v>
                </c:pt>
                <c:pt idx="379">
                  <c:v>12.174479887483367</c:v>
                </c:pt>
                <c:pt idx="380">
                  <c:v>12.174479887483367</c:v>
                </c:pt>
                <c:pt idx="381">
                  <c:v>12.174479887483367</c:v>
                </c:pt>
                <c:pt idx="382">
                  <c:v>12.174479887483367</c:v>
                </c:pt>
                <c:pt idx="383">
                  <c:v>12.174479887483367</c:v>
                </c:pt>
                <c:pt idx="384">
                  <c:v>12.174479887483367</c:v>
                </c:pt>
                <c:pt idx="385">
                  <c:v>12.174479887483367</c:v>
                </c:pt>
                <c:pt idx="386">
                  <c:v>12.174479887483367</c:v>
                </c:pt>
                <c:pt idx="387">
                  <c:v>12.174479887483367</c:v>
                </c:pt>
                <c:pt idx="388">
                  <c:v>12.174479887483367</c:v>
                </c:pt>
                <c:pt idx="389">
                  <c:v>12.174479887483367</c:v>
                </c:pt>
                <c:pt idx="390">
                  <c:v>12.174479887483367</c:v>
                </c:pt>
                <c:pt idx="391">
                  <c:v>12.174479887483367</c:v>
                </c:pt>
                <c:pt idx="392">
                  <c:v>12.174479887483367</c:v>
                </c:pt>
                <c:pt idx="393">
                  <c:v>12.174479887483367</c:v>
                </c:pt>
                <c:pt idx="394">
                  <c:v>12.174479887483367</c:v>
                </c:pt>
                <c:pt idx="395">
                  <c:v>12.174479887483367</c:v>
                </c:pt>
                <c:pt idx="396">
                  <c:v>12.174479887483367</c:v>
                </c:pt>
                <c:pt idx="397">
                  <c:v>12.174479887483367</c:v>
                </c:pt>
                <c:pt idx="398">
                  <c:v>12.174479887483367</c:v>
                </c:pt>
                <c:pt idx="399">
                  <c:v>12.174479887483367</c:v>
                </c:pt>
                <c:pt idx="400">
                  <c:v>12.174479887483367</c:v>
                </c:pt>
                <c:pt idx="401">
                  <c:v>12.174479887483367</c:v>
                </c:pt>
                <c:pt idx="402">
                  <c:v>12.174479887483367</c:v>
                </c:pt>
                <c:pt idx="403">
                  <c:v>12.174479887483367</c:v>
                </c:pt>
                <c:pt idx="404">
                  <c:v>12.174479887483367</c:v>
                </c:pt>
                <c:pt idx="405">
                  <c:v>12.174479887483367</c:v>
                </c:pt>
                <c:pt idx="406">
                  <c:v>12.174479887483367</c:v>
                </c:pt>
                <c:pt idx="407">
                  <c:v>12.174479887483367</c:v>
                </c:pt>
                <c:pt idx="408">
                  <c:v>12.174479887483367</c:v>
                </c:pt>
                <c:pt idx="409">
                  <c:v>12.174479887483367</c:v>
                </c:pt>
                <c:pt idx="410">
                  <c:v>12.174479887483367</c:v>
                </c:pt>
                <c:pt idx="411">
                  <c:v>12.174479887483367</c:v>
                </c:pt>
                <c:pt idx="412">
                  <c:v>12.174479887483367</c:v>
                </c:pt>
                <c:pt idx="413">
                  <c:v>12.174479887483367</c:v>
                </c:pt>
                <c:pt idx="414">
                  <c:v>12.174479887483367</c:v>
                </c:pt>
                <c:pt idx="415">
                  <c:v>12.174479887483367</c:v>
                </c:pt>
                <c:pt idx="416">
                  <c:v>12.174479887483367</c:v>
                </c:pt>
                <c:pt idx="417">
                  <c:v>12.174479887483367</c:v>
                </c:pt>
                <c:pt idx="418">
                  <c:v>12.174479887483367</c:v>
                </c:pt>
                <c:pt idx="419">
                  <c:v>12.174479887483367</c:v>
                </c:pt>
                <c:pt idx="420">
                  <c:v>12.174479887483367</c:v>
                </c:pt>
                <c:pt idx="421">
                  <c:v>12.174479887483367</c:v>
                </c:pt>
                <c:pt idx="422">
                  <c:v>12.174479887483367</c:v>
                </c:pt>
                <c:pt idx="423">
                  <c:v>12.174479887483367</c:v>
                </c:pt>
                <c:pt idx="424">
                  <c:v>12.174479887483367</c:v>
                </c:pt>
                <c:pt idx="425">
                  <c:v>12.174479887483367</c:v>
                </c:pt>
                <c:pt idx="426">
                  <c:v>12.174479887483367</c:v>
                </c:pt>
                <c:pt idx="427">
                  <c:v>12.174479887483367</c:v>
                </c:pt>
                <c:pt idx="428">
                  <c:v>12.174479887483367</c:v>
                </c:pt>
                <c:pt idx="429">
                  <c:v>12.174479887483367</c:v>
                </c:pt>
                <c:pt idx="430">
                  <c:v>12.174479887483367</c:v>
                </c:pt>
                <c:pt idx="431">
                  <c:v>12.174479887483367</c:v>
                </c:pt>
                <c:pt idx="432">
                  <c:v>12.174479887483367</c:v>
                </c:pt>
                <c:pt idx="433">
                  <c:v>12.174479887483367</c:v>
                </c:pt>
                <c:pt idx="434">
                  <c:v>12.174479887483367</c:v>
                </c:pt>
                <c:pt idx="435">
                  <c:v>12.174479887483367</c:v>
                </c:pt>
                <c:pt idx="436">
                  <c:v>12.174479887483367</c:v>
                </c:pt>
                <c:pt idx="437">
                  <c:v>12.174479887483367</c:v>
                </c:pt>
                <c:pt idx="438">
                  <c:v>12.174479887483367</c:v>
                </c:pt>
                <c:pt idx="439">
                  <c:v>12.174479887483367</c:v>
                </c:pt>
                <c:pt idx="440">
                  <c:v>12.174479887483367</c:v>
                </c:pt>
                <c:pt idx="441">
                  <c:v>12.174479887483367</c:v>
                </c:pt>
                <c:pt idx="442">
                  <c:v>12.174479887483367</c:v>
                </c:pt>
                <c:pt idx="443">
                  <c:v>12.174479887483367</c:v>
                </c:pt>
                <c:pt idx="444">
                  <c:v>12.174479887483367</c:v>
                </c:pt>
                <c:pt idx="445">
                  <c:v>12.174479887483367</c:v>
                </c:pt>
                <c:pt idx="446">
                  <c:v>12.174479887483367</c:v>
                </c:pt>
                <c:pt idx="447">
                  <c:v>12.174479887483367</c:v>
                </c:pt>
                <c:pt idx="448">
                  <c:v>12.174479887483367</c:v>
                </c:pt>
                <c:pt idx="449">
                  <c:v>12.174479887483367</c:v>
                </c:pt>
                <c:pt idx="450">
                  <c:v>12.174479887483367</c:v>
                </c:pt>
                <c:pt idx="451">
                  <c:v>12.174479887483367</c:v>
                </c:pt>
                <c:pt idx="452">
                  <c:v>12.174479887483367</c:v>
                </c:pt>
                <c:pt idx="453">
                  <c:v>12.174479887483367</c:v>
                </c:pt>
                <c:pt idx="454">
                  <c:v>12.174479887483367</c:v>
                </c:pt>
                <c:pt idx="455">
                  <c:v>12.174479887483367</c:v>
                </c:pt>
                <c:pt idx="456">
                  <c:v>12.174479887483367</c:v>
                </c:pt>
                <c:pt idx="457">
                  <c:v>12.174479887483367</c:v>
                </c:pt>
                <c:pt idx="458">
                  <c:v>12.174479887483367</c:v>
                </c:pt>
                <c:pt idx="459">
                  <c:v>12.174479887483367</c:v>
                </c:pt>
                <c:pt idx="460">
                  <c:v>12.174479887483367</c:v>
                </c:pt>
                <c:pt idx="461">
                  <c:v>12.174479887483367</c:v>
                </c:pt>
                <c:pt idx="462">
                  <c:v>12.174479887483367</c:v>
                </c:pt>
                <c:pt idx="463">
                  <c:v>12.174479887483367</c:v>
                </c:pt>
                <c:pt idx="464">
                  <c:v>12.174479887483367</c:v>
                </c:pt>
                <c:pt idx="465">
                  <c:v>12.174479887483367</c:v>
                </c:pt>
                <c:pt idx="466">
                  <c:v>12.174479887483367</c:v>
                </c:pt>
                <c:pt idx="467">
                  <c:v>12.174479887483367</c:v>
                </c:pt>
                <c:pt idx="468">
                  <c:v>12.174479887483367</c:v>
                </c:pt>
                <c:pt idx="469">
                  <c:v>12.174479887483367</c:v>
                </c:pt>
                <c:pt idx="470">
                  <c:v>12.174479887483367</c:v>
                </c:pt>
                <c:pt idx="471">
                  <c:v>12.174479887483367</c:v>
                </c:pt>
                <c:pt idx="472">
                  <c:v>12.174479887483367</c:v>
                </c:pt>
                <c:pt idx="473">
                  <c:v>12.174479887483367</c:v>
                </c:pt>
                <c:pt idx="474">
                  <c:v>12.174479887483367</c:v>
                </c:pt>
                <c:pt idx="475">
                  <c:v>12.174479887483367</c:v>
                </c:pt>
                <c:pt idx="476">
                  <c:v>12.174479887483367</c:v>
                </c:pt>
                <c:pt idx="477">
                  <c:v>12.174479887483367</c:v>
                </c:pt>
                <c:pt idx="478">
                  <c:v>12.174479887483367</c:v>
                </c:pt>
                <c:pt idx="479">
                  <c:v>12.174479887483367</c:v>
                </c:pt>
                <c:pt idx="480">
                  <c:v>12.174479887483367</c:v>
                </c:pt>
                <c:pt idx="481">
                  <c:v>12.174479887483367</c:v>
                </c:pt>
                <c:pt idx="482">
                  <c:v>12.174479887483367</c:v>
                </c:pt>
                <c:pt idx="483">
                  <c:v>12.174479887483367</c:v>
                </c:pt>
                <c:pt idx="484">
                  <c:v>12.174479887483367</c:v>
                </c:pt>
                <c:pt idx="485">
                  <c:v>12.174479887483367</c:v>
                </c:pt>
                <c:pt idx="486">
                  <c:v>12.174479887483367</c:v>
                </c:pt>
                <c:pt idx="487">
                  <c:v>12.174479887483367</c:v>
                </c:pt>
                <c:pt idx="488">
                  <c:v>12.174479887483367</c:v>
                </c:pt>
                <c:pt idx="489">
                  <c:v>12.174479887483367</c:v>
                </c:pt>
                <c:pt idx="490">
                  <c:v>12.174479887483367</c:v>
                </c:pt>
                <c:pt idx="491">
                  <c:v>12.174479887483367</c:v>
                </c:pt>
                <c:pt idx="492">
                  <c:v>12.174479887483367</c:v>
                </c:pt>
                <c:pt idx="493">
                  <c:v>12.174479887483367</c:v>
                </c:pt>
                <c:pt idx="494">
                  <c:v>12.174479887483367</c:v>
                </c:pt>
                <c:pt idx="495">
                  <c:v>12.174479887483367</c:v>
                </c:pt>
                <c:pt idx="496">
                  <c:v>12.174479887483367</c:v>
                </c:pt>
                <c:pt idx="497">
                  <c:v>12.174479887483367</c:v>
                </c:pt>
                <c:pt idx="498">
                  <c:v>12.174479887483367</c:v>
                </c:pt>
                <c:pt idx="499">
                  <c:v>12.174479887483367</c:v>
                </c:pt>
                <c:pt idx="500">
                  <c:v>12.174479887483367</c:v>
                </c:pt>
                <c:pt idx="501">
                  <c:v>12.174479887483367</c:v>
                </c:pt>
                <c:pt idx="502">
                  <c:v>12.174479887483367</c:v>
                </c:pt>
                <c:pt idx="503">
                  <c:v>12.174479887483367</c:v>
                </c:pt>
                <c:pt idx="504">
                  <c:v>12.174479887483367</c:v>
                </c:pt>
                <c:pt idx="505">
                  <c:v>12.174479887483367</c:v>
                </c:pt>
                <c:pt idx="506">
                  <c:v>12.174479887483367</c:v>
                </c:pt>
                <c:pt idx="507">
                  <c:v>12.174479887483367</c:v>
                </c:pt>
                <c:pt idx="508">
                  <c:v>12.174479887483367</c:v>
                </c:pt>
                <c:pt idx="509">
                  <c:v>12.174479887483367</c:v>
                </c:pt>
                <c:pt idx="510">
                  <c:v>12.174479887483367</c:v>
                </c:pt>
                <c:pt idx="511">
                  <c:v>12.174479887483367</c:v>
                </c:pt>
                <c:pt idx="512">
                  <c:v>12.174479887483367</c:v>
                </c:pt>
                <c:pt idx="513">
                  <c:v>12.174479887483367</c:v>
                </c:pt>
                <c:pt idx="514">
                  <c:v>12.174479887483367</c:v>
                </c:pt>
                <c:pt idx="515">
                  <c:v>12.174479887483367</c:v>
                </c:pt>
                <c:pt idx="516">
                  <c:v>12.174479887483367</c:v>
                </c:pt>
                <c:pt idx="517">
                  <c:v>12.174479887483367</c:v>
                </c:pt>
                <c:pt idx="518">
                  <c:v>12.174479887483367</c:v>
                </c:pt>
                <c:pt idx="519">
                  <c:v>12.174479887483367</c:v>
                </c:pt>
                <c:pt idx="520">
                  <c:v>12.174479887483367</c:v>
                </c:pt>
                <c:pt idx="521">
                  <c:v>12.174479887483367</c:v>
                </c:pt>
                <c:pt idx="522">
                  <c:v>12.174479887483367</c:v>
                </c:pt>
                <c:pt idx="523">
                  <c:v>12.174479887483367</c:v>
                </c:pt>
                <c:pt idx="524">
                  <c:v>12.174479887483367</c:v>
                </c:pt>
                <c:pt idx="525">
                  <c:v>12.174479887483367</c:v>
                </c:pt>
                <c:pt idx="526">
                  <c:v>12.174479887483367</c:v>
                </c:pt>
                <c:pt idx="527">
                  <c:v>12.174479887483367</c:v>
                </c:pt>
                <c:pt idx="528">
                  <c:v>12.174479887483367</c:v>
                </c:pt>
                <c:pt idx="529">
                  <c:v>12.174479887483367</c:v>
                </c:pt>
                <c:pt idx="530">
                  <c:v>12.174479887483367</c:v>
                </c:pt>
                <c:pt idx="531">
                  <c:v>12.174479887483367</c:v>
                </c:pt>
                <c:pt idx="532">
                  <c:v>12.174479887483367</c:v>
                </c:pt>
                <c:pt idx="533">
                  <c:v>12.174479887483367</c:v>
                </c:pt>
                <c:pt idx="534">
                  <c:v>12.174479887483367</c:v>
                </c:pt>
                <c:pt idx="535">
                  <c:v>12.174479887483367</c:v>
                </c:pt>
                <c:pt idx="536">
                  <c:v>12.174479887483367</c:v>
                </c:pt>
                <c:pt idx="537">
                  <c:v>12.174479887483367</c:v>
                </c:pt>
                <c:pt idx="538">
                  <c:v>12.174479887483367</c:v>
                </c:pt>
                <c:pt idx="539">
                  <c:v>12.174479887483367</c:v>
                </c:pt>
                <c:pt idx="540">
                  <c:v>12.174479887483367</c:v>
                </c:pt>
                <c:pt idx="541">
                  <c:v>12.174479887483367</c:v>
                </c:pt>
                <c:pt idx="542">
                  <c:v>12.174479887483367</c:v>
                </c:pt>
                <c:pt idx="543">
                  <c:v>12.174479887483367</c:v>
                </c:pt>
                <c:pt idx="544">
                  <c:v>12.174479887483367</c:v>
                </c:pt>
                <c:pt idx="545">
                  <c:v>12.174479887483367</c:v>
                </c:pt>
                <c:pt idx="546">
                  <c:v>12.174479887483367</c:v>
                </c:pt>
                <c:pt idx="547">
                  <c:v>12.174479887483367</c:v>
                </c:pt>
                <c:pt idx="548">
                  <c:v>12.174479887483367</c:v>
                </c:pt>
                <c:pt idx="549">
                  <c:v>12.174479887483367</c:v>
                </c:pt>
                <c:pt idx="550">
                  <c:v>12.174479887483367</c:v>
                </c:pt>
                <c:pt idx="551">
                  <c:v>12.174479887483367</c:v>
                </c:pt>
                <c:pt idx="552">
                  <c:v>12.174479887483367</c:v>
                </c:pt>
                <c:pt idx="553">
                  <c:v>12.174479887483367</c:v>
                </c:pt>
                <c:pt idx="554">
                  <c:v>12.174479887483367</c:v>
                </c:pt>
                <c:pt idx="555">
                  <c:v>12.174479887483367</c:v>
                </c:pt>
                <c:pt idx="556">
                  <c:v>12.174479887483367</c:v>
                </c:pt>
                <c:pt idx="557">
                  <c:v>12.174479887483367</c:v>
                </c:pt>
                <c:pt idx="558">
                  <c:v>12.174479887483367</c:v>
                </c:pt>
                <c:pt idx="559">
                  <c:v>12.174479887483367</c:v>
                </c:pt>
                <c:pt idx="560">
                  <c:v>12.174479887483367</c:v>
                </c:pt>
                <c:pt idx="561">
                  <c:v>12.174479887483367</c:v>
                </c:pt>
                <c:pt idx="562">
                  <c:v>12.174479887483367</c:v>
                </c:pt>
                <c:pt idx="563">
                  <c:v>12.174479887483367</c:v>
                </c:pt>
                <c:pt idx="564">
                  <c:v>12.174479887483367</c:v>
                </c:pt>
                <c:pt idx="565">
                  <c:v>12.174479887483367</c:v>
                </c:pt>
                <c:pt idx="566">
                  <c:v>12.174479887483367</c:v>
                </c:pt>
                <c:pt idx="567">
                  <c:v>12.174479887483367</c:v>
                </c:pt>
                <c:pt idx="568">
                  <c:v>12.174479887483367</c:v>
                </c:pt>
                <c:pt idx="569">
                  <c:v>12.174479887483367</c:v>
                </c:pt>
                <c:pt idx="570">
                  <c:v>12.174479887483367</c:v>
                </c:pt>
                <c:pt idx="571">
                  <c:v>12.174479887483367</c:v>
                </c:pt>
                <c:pt idx="572">
                  <c:v>12.174479887483367</c:v>
                </c:pt>
                <c:pt idx="573">
                  <c:v>12.174479887483367</c:v>
                </c:pt>
                <c:pt idx="574">
                  <c:v>12.174479887483367</c:v>
                </c:pt>
                <c:pt idx="575">
                  <c:v>12.174479887483367</c:v>
                </c:pt>
                <c:pt idx="576">
                  <c:v>12.174479887483367</c:v>
                </c:pt>
                <c:pt idx="577">
                  <c:v>12.174479887483367</c:v>
                </c:pt>
                <c:pt idx="578">
                  <c:v>12.174479887483367</c:v>
                </c:pt>
                <c:pt idx="579">
                  <c:v>12.174479887483367</c:v>
                </c:pt>
                <c:pt idx="580">
                  <c:v>12.174479887483367</c:v>
                </c:pt>
                <c:pt idx="581">
                  <c:v>12.174479887483367</c:v>
                </c:pt>
                <c:pt idx="582">
                  <c:v>12.174479887483367</c:v>
                </c:pt>
                <c:pt idx="583">
                  <c:v>12.174479887483367</c:v>
                </c:pt>
                <c:pt idx="584">
                  <c:v>12.174479887483367</c:v>
                </c:pt>
                <c:pt idx="585">
                  <c:v>12.174479887483367</c:v>
                </c:pt>
                <c:pt idx="586">
                  <c:v>12.174479887483367</c:v>
                </c:pt>
                <c:pt idx="587">
                  <c:v>12.174479887483367</c:v>
                </c:pt>
                <c:pt idx="588">
                  <c:v>12.174479887483367</c:v>
                </c:pt>
                <c:pt idx="589">
                  <c:v>12.174479887483367</c:v>
                </c:pt>
                <c:pt idx="590">
                  <c:v>12.174479887483367</c:v>
                </c:pt>
                <c:pt idx="591">
                  <c:v>12.174479887483367</c:v>
                </c:pt>
                <c:pt idx="592">
                  <c:v>12.174479887483367</c:v>
                </c:pt>
                <c:pt idx="593">
                  <c:v>12.174479887483367</c:v>
                </c:pt>
                <c:pt idx="594">
                  <c:v>12.174479887483367</c:v>
                </c:pt>
                <c:pt idx="595">
                  <c:v>12.174479887483367</c:v>
                </c:pt>
                <c:pt idx="596">
                  <c:v>12.174479887483367</c:v>
                </c:pt>
                <c:pt idx="597">
                  <c:v>12.174479887483367</c:v>
                </c:pt>
                <c:pt idx="598">
                  <c:v>12.174479887483367</c:v>
                </c:pt>
                <c:pt idx="599">
                  <c:v>12.174479887483367</c:v>
                </c:pt>
                <c:pt idx="600">
                  <c:v>12.174479887483367</c:v>
                </c:pt>
                <c:pt idx="601">
                  <c:v>12.174479887483367</c:v>
                </c:pt>
                <c:pt idx="602">
                  <c:v>12.174479887483367</c:v>
                </c:pt>
                <c:pt idx="603">
                  <c:v>12.174479887483367</c:v>
                </c:pt>
                <c:pt idx="604">
                  <c:v>12.174479887483367</c:v>
                </c:pt>
                <c:pt idx="605">
                  <c:v>12.174479887483367</c:v>
                </c:pt>
                <c:pt idx="606">
                  <c:v>12.174479887483367</c:v>
                </c:pt>
                <c:pt idx="607">
                  <c:v>12.174479887483367</c:v>
                </c:pt>
                <c:pt idx="608">
                  <c:v>12.174479887483367</c:v>
                </c:pt>
                <c:pt idx="609">
                  <c:v>12.174479887483367</c:v>
                </c:pt>
                <c:pt idx="610">
                  <c:v>12.174479887483367</c:v>
                </c:pt>
                <c:pt idx="611">
                  <c:v>12.174479887483367</c:v>
                </c:pt>
                <c:pt idx="612">
                  <c:v>12.174479887483367</c:v>
                </c:pt>
                <c:pt idx="613">
                  <c:v>12.174479887483367</c:v>
                </c:pt>
                <c:pt idx="614">
                  <c:v>12.174479887483367</c:v>
                </c:pt>
                <c:pt idx="615">
                  <c:v>12.174479887483367</c:v>
                </c:pt>
                <c:pt idx="616">
                  <c:v>12.174479887483367</c:v>
                </c:pt>
                <c:pt idx="617">
                  <c:v>12.174479887483367</c:v>
                </c:pt>
                <c:pt idx="618">
                  <c:v>12.174479887483367</c:v>
                </c:pt>
                <c:pt idx="619">
                  <c:v>12.174479887483367</c:v>
                </c:pt>
                <c:pt idx="620">
                  <c:v>12.174479887483367</c:v>
                </c:pt>
                <c:pt idx="621">
                  <c:v>12.174479887483367</c:v>
                </c:pt>
                <c:pt idx="622">
                  <c:v>12.174479887483367</c:v>
                </c:pt>
                <c:pt idx="623">
                  <c:v>12.174479887483367</c:v>
                </c:pt>
                <c:pt idx="624">
                  <c:v>12.174479887483367</c:v>
                </c:pt>
                <c:pt idx="625">
                  <c:v>12.174479887483367</c:v>
                </c:pt>
                <c:pt idx="626">
                  <c:v>12.174479887483367</c:v>
                </c:pt>
                <c:pt idx="627">
                  <c:v>12.174479887483367</c:v>
                </c:pt>
                <c:pt idx="628">
                  <c:v>12.174479887483367</c:v>
                </c:pt>
                <c:pt idx="629">
                  <c:v>12.174479887483367</c:v>
                </c:pt>
                <c:pt idx="630">
                  <c:v>12.174479887483367</c:v>
                </c:pt>
                <c:pt idx="631">
                  <c:v>12.174479887483367</c:v>
                </c:pt>
                <c:pt idx="632">
                  <c:v>12.174479887483367</c:v>
                </c:pt>
                <c:pt idx="633">
                  <c:v>12.174479887483367</c:v>
                </c:pt>
                <c:pt idx="634">
                  <c:v>12.174479887483367</c:v>
                </c:pt>
                <c:pt idx="635">
                  <c:v>12.174479887483367</c:v>
                </c:pt>
                <c:pt idx="636">
                  <c:v>12.174479887483367</c:v>
                </c:pt>
                <c:pt idx="637">
                  <c:v>12.174479887483367</c:v>
                </c:pt>
                <c:pt idx="638">
                  <c:v>12.174479887483367</c:v>
                </c:pt>
                <c:pt idx="639">
                  <c:v>12.174479887483367</c:v>
                </c:pt>
                <c:pt idx="640">
                  <c:v>12.174479887483367</c:v>
                </c:pt>
                <c:pt idx="641">
                  <c:v>12.174479887483367</c:v>
                </c:pt>
                <c:pt idx="642">
                  <c:v>12.174479887483367</c:v>
                </c:pt>
                <c:pt idx="643">
                  <c:v>12.174479887483367</c:v>
                </c:pt>
                <c:pt idx="644">
                  <c:v>12.174479887483367</c:v>
                </c:pt>
                <c:pt idx="645">
                  <c:v>12.174479887483367</c:v>
                </c:pt>
                <c:pt idx="646">
                  <c:v>12.174479887483367</c:v>
                </c:pt>
                <c:pt idx="647">
                  <c:v>12.174479887483367</c:v>
                </c:pt>
                <c:pt idx="648">
                  <c:v>12.174479887483367</c:v>
                </c:pt>
                <c:pt idx="649">
                  <c:v>12.174479887483367</c:v>
                </c:pt>
                <c:pt idx="650">
                  <c:v>12.174479887483367</c:v>
                </c:pt>
                <c:pt idx="651">
                  <c:v>12.174479887483367</c:v>
                </c:pt>
                <c:pt idx="652">
                  <c:v>12.174479887483367</c:v>
                </c:pt>
                <c:pt idx="653">
                  <c:v>12.174479887483367</c:v>
                </c:pt>
                <c:pt idx="654">
                  <c:v>12.174479887483367</c:v>
                </c:pt>
                <c:pt idx="655">
                  <c:v>12.174479887483367</c:v>
                </c:pt>
                <c:pt idx="656">
                  <c:v>12.174479887483367</c:v>
                </c:pt>
                <c:pt idx="657">
                  <c:v>12.174479887483367</c:v>
                </c:pt>
                <c:pt idx="658">
                  <c:v>12.174479887483367</c:v>
                </c:pt>
                <c:pt idx="659">
                  <c:v>12.174479887483367</c:v>
                </c:pt>
                <c:pt idx="660">
                  <c:v>12.174479887483367</c:v>
                </c:pt>
                <c:pt idx="661">
                  <c:v>12.174479887483367</c:v>
                </c:pt>
                <c:pt idx="662">
                  <c:v>12.174479887483367</c:v>
                </c:pt>
                <c:pt idx="663">
                  <c:v>12.174479887483367</c:v>
                </c:pt>
                <c:pt idx="664">
                  <c:v>12.174479887483367</c:v>
                </c:pt>
                <c:pt idx="665">
                  <c:v>12.174479887483367</c:v>
                </c:pt>
                <c:pt idx="666">
                  <c:v>12.174479887483367</c:v>
                </c:pt>
                <c:pt idx="667">
                  <c:v>12.174479887483367</c:v>
                </c:pt>
                <c:pt idx="668">
                  <c:v>12.174479887483367</c:v>
                </c:pt>
                <c:pt idx="669">
                  <c:v>12.174479887483367</c:v>
                </c:pt>
                <c:pt idx="670">
                  <c:v>12.174479887483367</c:v>
                </c:pt>
                <c:pt idx="671">
                  <c:v>12.174479887483367</c:v>
                </c:pt>
                <c:pt idx="672">
                  <c:v>12.174479887483367</c:v>
                </c:pt>
                <c:pt idx="673">
                  <c:v>12.174479887483367</c:v>
                </c:pt>
                <c:pt idx="674">
                  <c:v>12.174479887483367</c:v>
                </c:pt>
                <c:pt idx="675">
                  <c:v>12.174479887483367</c:v>
                </c:pt>
                <c:pt idx="676">
                  <c:v>12.174479887483367</c:v>
                </c:pt>
                <c:pt idx="677">
                  <c:v>12.174479887483367</c:v>
                </c:pt>
                <c:pt idx="678">
                  <c:v>12.174479887483367</c:v>
                </c:pt>
                <c:pt idx="679">
                  <c:v>12.174479887483367</c:v>
                </c:pt>
                <c:pt idx="680">
                  <c:v>12.174479887483367</c:v>
                </c:pt>
                <c:pt idx="681">
                  <c:v>12.174479887483367</c:v>
                </c:pt>
                <c:pt idx="682">
                  <c:v>12.174479887483367</c:v>
                </c:pt>
                <c:pt idx="683">
                  <c:v>12.174479887483367</c:v>
                </c:pt>
                <c:pt idx="684">
                  <c:v>12.174479887483367</c:v>
                </c:pt>
                <c:pt idx="685">
                  <c:v>12.174479887483367</c:v>
                </c:pt>
                <c:pt idx="686">
                  <c:v>12.174479887483367</c:v>
                </c:pt>
                <c:pt idx="687">
                  <c:v>12.174479887483367</c:v>
                </c:pt>
                <c:pt idx="688">
                  <c:v>12.174479887483367</c:v>
                </c:pt>
                <c:pt idx="689">
                  <c:v>12.174479887483367</c:v>
                </c:pt>
                <c:pt idx="690">
                  <c:v>12.174479887483367</c:v>
                </c:pt>
                <c:pt idx="691">
                  <c:v>12.174479887483367</c:v>
                </c:pt>
                <c:pt idx="692">
                  <c:v>12.174479887483367</c:v>
                </c:pt>
                <c:pt idx="693">
                  <c:v>12.174479887483367</c:v>
                </c:pt>
                <c:pt idx="694">
                  <c:v>12.174479887483367</c:v>
                </c:pt>
                <c:pt idx="695">
                  <c:v>12.174479887483367</c:v>
                </c:pt>
                <c:pt idx="696">
                  <c:v>12.174479887483367</c:v>
                </c:pt>
                <c:pt idx="697">
                  <c:v>12.174479887483367</c:v>
                </c:pt>
                <c:pt idx="698">
                  <c:v>12.174479887483367</c:v>
                </c:pt>
                <c:pt idx="699">
                  <c:v>12.174479887483367</c:v>
                </c:pt>
                <c:pt idx="700">
                  <c:v>12.174479887483367</c:v>
                </c:pt>
                <c:pt idx="701">
                  <c:v>12.174479887483367</c:v>
                </c:pt>
                <c:pt idx="702">
                  <c:v>12.174479887483367</c:v>
                </c:pt>
                <c:pt idx="703">
                  <c:v>12.174479887483367</c:v>
                </c:pt>
                <c:pt idx="704">
                  <c:v>12.174479887483367</c:v>
                </c:pt>
                <c:pt idx="705">
                  <c:v>12.174479887483367</c:v>
                </c:pt>
                <c:pt idx="706">
                  <c:v>12.174479887483367</c:v>
                </c:pt>
                <c:pt idx="707">
                  <c:v>12.174479887483367</c:v>
                </c:pt>
                <c:pt idx="708">
                  <c:v>12.174479887483367</c:v>
                </c:pt>
                <c:pt idx="709">
                  <c:v>12.174479887483367</c:v>
                </c:pt>
                <c:pt idx="710">
                  <c:v>12.174479887483367</c:v>
                </c:pt>
                <c:pt idx="711">
                  <c:v>12.174479887483367</c:v>
                </c:pt>
                <c:pt idx="712">
                  <c:v>12.174479887483367</c:v>
                </c:pt>
                <c:pt idx="713">
                  <c:v>12.174479887483367</c:v>
                </c:pt>
                <c:pt idx="714">
                  <c:v>12.174479887483367</c:v>
                </c:pt>
                <c:pt idx="715">
                  <c:v>12.174479887483367</c:v>
                </c:pt>
                <c:pt idx="716">
                  <c:v>12.174479887483367</c:v>
                </c:pt>
                <c:pt idx="717">
                  <c:v>12.174479887483367</c:v>
                </c:pt>
                <c:pt idx="718">
                  <c:v>12.174479887483367</c:v>
                </c:pt>
                <c:pt idx="719">
                  <c:v>12.174479887483367</c:v>
                </c:pt>
                <c:pt idx="720">
                  <c:v>12.174479887483367</c:v>
                </c:pt>
                <c:pt idx="721">
                  <c:v>12.174479887483367</c:v>
                </c:pt>
                <c:pt idx="722">
                  <c:v>12.174479887483367</c:v>
                </c:pt>
                <c:pt idx="723">
                  <c:v>12.174479887483367</c:v>
                </c:pt>
                <c:pt idx="724">
                  <c:v>12.174479887483367</c:v>
                </c:pt>
                <c:pt idx="725">
                  <c:v>12.174479887483367</c:v>
                </c:pt>
                <c:pt idx="726">
                  <c:v>12.174479887483367</c:v>
                </c:pt>
                <c:pt idx="727">
                  <c:v>12.174479887483367</c:v>
                </c:pt>
                <c:pt idx="728">
                  <c:v>12.174479887483367</c:v>
                </c:pt>
                <c:pt idx="729">
                  <c:v>12.174479887483367</c:v>
                </c:pt>
                <c:pt idx="730">
                  <c:v>12.174479887483367</c:v>
                </c:pt>
                <c:pt idx="731">
                  <c:v>12.174479887483367</c:v>
                </c:pt>
                <c:pt idx="732">
                  <c:v>12.174479887483367</c:v>
                </c:pt>
                <c:pt idx="733">
                  <c:v>12.174479887483367</c:v>
                </c:pt>
                <c:pt idx="734">
                  <c:v>12.174479887483367</c:v>
                </c:pt>
                <c:pt idx="735">
                  <c:v>12.174479887483367</c:v>
                </c:pt>
                <c:pt idx="736">
                  <c:v>12.174479887483367</c:v>
                </c:pt>
                <c:pt idx="737">
                  <c:v>12.174479887483367</c:v>
                </c:pt>
                <c:pt idx="738">
                  <c:v>12.174479887483367</c:v>
                </c:pt>
                <c:pt idx="739">
                  <c:v>12.174479887483367</c:v>
                </c:pt>
                <c:pt idx="740">
                  <c:v>12.174479887483367</c:v>
                </c:pt>
                <c:pt idx="741">
                  <c:v>12.174479887483367</c:v>
                </c:pt>
                <c:pt idx="742">
                  <c:v>12.174479887483367</c:v>
                </c:pt>
                <c:pt idx="743">
                  <c:v>12.174479887483367</c:v>
                </c:pt>
                <c:pt idx="744">
                  <c:v>12.174479887483367</c:v>
                </c:pt>
                <c:pt idx="745">
                  <c:v>12.174479887483367</c:v>
                </c:pt>
                <c:pt idx="746">
                  <c:v>12.174479887483367</c:v>
                </c:pt>
                <c:pt idx="747">
                  <c:v>12.174479887483367</c:v>
                </c:pt>
                <c:pt idx="748">
                  <c:v>12.174479887483367</c:v>
                </c:pt>
                <c:pt idx="749">
                  <c:v>12.174479887483367</c:v>
                </c:pt>
                <c:pt idx="750">
                  <c:v>12.174479887483367</c:v>
                </c:pt>
                <c:pt idx="751">
                  <c:v>12.174479887483367</c:v>
                </c:pt>
                <c:pt idx="752">
                  <c:v>12.174479887483367</c:v>
                </c:pt>
                <c:pt idx="753">
                  <c:v>12.174479887483367</c:v>
                </c:pt>
                <c:pt idx="754">
                  <c:v>12.174479887483367</c:v>
                </c:pt>
                <c:pt idx="755">
                  <c:v>12.174479887483367</c:v>
                </c:pt>
                <c:pt idx="756">
                  <c:v>12.174479887483367</c:v>
                </c:pt>
                <c:pt idx="757">
                  <c:v>12.174479887483367</c:v>
                </c:pt>
                <c:pt idx="758">
                  <c:v>12.174479887483367</c:v>
                </c:pt>
                <c:pt idx="759">
                  <c:v>12.174479887483367</c:v>
                </c:pt>
                <c:pt idx="760">
                  <c:v>12.174479887483367</c:v>
                </c:pt>
                <c:pt idx="761">
                  <c:v>12.174479887483367</c:v>
                </c:pt>
                <c:pt idx="762">
                  <c:v>12.174479887483367</c:v>
                </c:pt>
                <c:pt idx="763">
                  <c:v>12.174479887483367</c:v>
                </c:pt>
                <c:pt idx="764">
                  <c:v>12.174479887483367</c:v>
                </c:pt>
                <c:pt idx="765">
                  <c:v>12.174479887483367</c:v>
                </c:pt>
                <c:pt idx="766">
                  <c:v>12.174479887483367</c:v>
                </c:pt>
                <c:pt idx="767">
                  <c:v>12.174479887483367</c:v>
                </c:pt>
                <c:pt idx="768">
                  <c:v>12.174479887483367</c:v>
                </c:pt>
                <c:pt idx="769">
                  <c:v>12.174479887483367</c:v>
                </c:pt>
                <c:pt idx="770">
                  <c:v>12.174479887483367</c:v>
                </c:pt>
                <c:pt idx="771">
                  <c:v>12.174479887483367</c:v>
                </c:pt>
                <c:pt idx="772">
                  <c:v>12.174479887483367</c:v>
                </c:pt>
                <c:pt idx="773">
                  <c:v>12.174479887483367</c:v>
                </c:pt>
                <c:pt idx="774">
                  <c:v>12.174479887483367</c:v>
                </c:pt>
                <c:pt idx="775">
                  <c:v>12.174479887483367</c:v>
                </c:pt>
                <c:pt idx="776">
                  <c:v>12.174479887483367</c:v>
                </c:pt>
                <c:pt idx="777">
                  <c:v>12.174479887483367</c:v>
                </c:pt>
                <c:pt idx="778">
                  <c:v>12.174479887483367</c:v>
                </c:pt>
                <c:pt idx="779">
                  <c:v>12.174479887483367</c:v>
                </c:pt>
                <c:pt idx="780">
                  <c:v>12.174479887483367</c:v>
                </c:pt>
                <c:pt idx="781">
                  <c:v>12.174479887483367</c:v>
                </c:pt>
                <c:pt idx="782">
                  <c:v>12.174479887483367</c:v>
                </c:pt>
                <c:pt idx="783">
                  <c:v>12.174479887483367</c:v>
                </c:pt>
                <c:pt idx="784">
                  <c:v>12.174479887483367</c:v>
                </c:pt>
                <c:pt idx="785">
                  <c:v>12.174479887483367</c:v>
                </c:pt>
                <c:pt idx="786">
                  <c:v>12.174479887483367</c:v>
                </c:pt>
                <c:pt idx="787">
                  <c:v>12.174479887483367</c:v>
                </c:pt>
                <c:pt idx="788">
                  <c:v>12.174479887483367</c:v>
                </c:pt>
                <c:pt idx="789">
                  <c:v>12.174479887483367</c:v>
                </c:pt>
                <c:pt idx="790">
                  <c:v>12.174479887483367</c:v>
                </c:pt>
                <c:pt idx="791">
                  <c:v>12.174479887483367</c:v>
                </c:pt>
                <c:pt idx="792">
                  <c:v>12.174479887483367</c:v>
                </c:pt>
                <c:pt idx="793">
                  <c:v>12.174479887483367</c:v>
                </c:pt>
                <c:pt idx="794">
                  <c:v>12.174479887483367</c:v>
                </c:pt>
                <c:pt idx="795">
                  <c:v>12.174479887483367</c:v>
                </c:pt>
                <c:pt idx="796">
                  <c:v>12.174479887483367</c:v>
                </c:pt>
                <c:pt idx="797">
                  <c:v>12.174479887483367</c:v>
                </c:pt>
                <c:pt idx="798">
                  <c:v>12.174479887483367</c:v>
                </c:pt>
                <c:pt idx="799">
                  <c:v>12.174479887483367</c:v>
                </c:pt>
                <c:pt idx="800">
                  <c:v>12.174479887483367</c:v>
                </c:pt>
                <c:pt idx="801">
                  <c:v>12.174479887483367</c:v>
                </c:pt>
                <c:pt idx="802">
                  <c:v>12.174479887483367</c:v>
                </c:pt>
                <c:pt idx="803">
                  <c:v>12.174479887483367</c:v>
                </c:pt>
                <c:pt idx="804">
                  <c:v>12.174479887483367</c:v>
                </c:pt>
                <c:pt idx="805">
                  <c:v>12.174479887483367</c:v>
                </c:pt>
                <c:pt idx="806">
                  <c:v>12.174479887483367</c:v>
                </c:pt>
                <c:pt idx="807">
                  <c:v>12.174479887483367</c:v>
                </c:pt>
                <c:pt idx="808">
                  <c:v>12.174479887483367</c:v>
                </c:pt>
                <c:pt idx="809">
                  <c:v>12.174479887483367</c:v>
                </c:pt>
                <c:pt idx="810">
                  <c:v>12.174479887483367</c:v>
                </c:pt>
                <c:pt idx="811">
                  <c:v>12.174479887483367</c:v>
                </c:pt>
                <c:pt idx="812">
                  <c:v>12.174479887483367</c:v>
                </c:pt>
                <c:pt idx="813">
                  <c:v>12.174479887483367</c:v>
                </c:pt>
                <c:pt idx="814">
                  <c:v>12.174479887483367</c:v>
                </c:pt>
                <c:pt idx="815">
                  <c:v>12.174479887483367</c:v>
                </c:pt>
                <c:pt idx="816">
                  <c:v>12.174479887483367</c:v>
                </c:pt>
                <c:pt idx="817">
                  <c:v>12.174479887483367</c:v>
                </c:pt>
                <c:pt idx="818">
                  <c:v>12.174479887483367</c:v>
                </c:pt>
                <c:pt idx="819">
                  <c:v>12.174479887483367</c:v>
                </c:pt>
                <c:pt idx="820">
                  <c:v>12.174479887483367</c:v>
                </c:pt>
                <c:pt idx="821">
                  <c:v>12.174479887483367</c:v>
                </c:pt>
                <c:pt idx="822">
                  <c:v>12.174479887483367</c:v>
                </c:pt>
                <c:pt idx="823">
                  <c:v>12.174479887483367</c:v>
                </c:pt>
                <c:pt idx="824">
                  <c:v>12.174479887483367</c:v>
                </c:pt>
                <c:pt idx="825">
                  <c:v>12.174479887483367</c:v>
                </c:pt>
                <c:pt idx="826">
                  <c:v>12.174479887483367</c:v>
                </c:pt>
                <c:pt idx="827">
                  <c:v>12.174479887483367</c:v>
                </c:pt>
                <c:pt idx="828">
                  <c:v>12.174479887483367</c:v>
                </c:pt>
                <c:pt idx="829">
                  <c:v>12.174479887483367</c:v>
                </c:pt>
                <c:pt idx="830">
                  <c:v>12.174479887483367</c:v>
                </c:pt>
                <c:pt idx="831">
                  <c:v>12.174479887483367</c:v>
                </c:pt>
                <c:pt idx="832">
                  <c:v>12.174479887483367</c:v>
                </c:pt>
                <c:pt idx="833">
                  <c:v>12.174479887483367</c:v>
                </c:pt>
                <c:pt idx="834">
                  <c:v>12.174479887483367</c:v>
                </c:pt>
                <c:pt idx="835">
                  <c:v>12.174479887483367</c:v>
                </c:pt>
                <c:pt idx="836">
                  <c:v>12.174479887483367</c:v>
                </c:pt>
                <c:pt idx="837">
                  <c:v>12.174479887483367</c:v>
                </c:pt>
                <c:pt idx="838">
                  <c:v>12.174479887483367</c:v>
                </c:pt>
                <c:pt idx="839">
                  <c:v>12.174479887483367</c:v>
                </c:pt>
                <c:pt idx="840">
                  <c:v>12.174479887483367</c:v>
                </c:pt>
                <c:pt idx="841">
                  <c:v>12.174479887483367</c:v>
                </c:pt>
                <c:pt idx="842">
                  <c:v>12.174479887483367</c:v>
                </c:pt>
                <c:pt idx="843">
                  <c:v>12.174479887483367</c:v>
                </c:pt>
                <c:pt idx="844">
                  <c:v>12.174479887483367</c:v>
                </c:pt>
                <c:pt idx="845">
                  <c:v>12.174479887483367</c:v>
                </c:pt>
                <c:pt idx="846">
                  <c:v>12.174479887483367</c:v>
                </c:pt>
                <c:pt idx="847">
                  <c:v>12.174479887483367</c:v>
                </c:pt>
                <c:pt idx="848">
                  <c:v>12.174479887483367</c:v>
                </c:pt>
                <c:pt idx="849">
                  <c:v>12.174479887483367</c:v>
                </c:pt>
                <c:pt idx="850">
                  <c:v>12.174479887483367</c:v>
                </c:pt>
                <c:pt idx="851">
                  <c:v>12.174479887483367</c:v>
                </c:pt>
                <c:pt idx="852">
                  <c:v>12.174479887483367</c:v>
                </c:pt>
                <c:pt idx="853">
                  <c:v>12.174479887483367</c:v>
                </c:pt>
                <c:pt idx="854">
                  <c:v>12.174479887483367</c:v>
                </c:pt>
                <c:pt idx="855">
                  <c:v>12.174479887483367</c:v>
                </c:pt>
                <c:pt idx="856">
                  <c:v>12.174479887483367</c:v>
                </c:pt>
                <c:pt idx="857">
                  <c:v>12.174479887483367</c:v>
                </c:pt>
                <c:pt idx="858">
                  <c:v>12.174479887483367</c:v>
                </c:pt>
                <c:pt idx="859">
                  <c:v>12.174479887483367</c:v>
                </c:pt>
                <c:pt idx="860">
                  <c:v>12.174479887483367</c:v>
                </c:pt>
                <c:pt idx="861">
                  <c:v>12.174479887483367</c:v>
                </c:pt>
                <c:pt idx="862">
                  <c:v>12.174479887483367</c:v>
                </c:pt>
                <c:pt idx="863">
                  <c:v>12.174479887483367</c:v>
                </c:pt>
                <c:pt idx="864">
                  <c:v>12.174479887483367</c:v>
                </c:pt>
                <c:pt idx="865">
                  <c:v>12.174479887483367</c:v>
                </c:pt>
                <c:pt idx="866">
                  <c:v>12.174479887483367</c:v>
                </c:pt>
                <c:pt idx="867">
                  <c:v>12.174479887483367</c:v>
                </c:pt>
                <c:pt idx="868">
                  <c:v>12.174479887483367</c:v>
                </c:pt>
                <c:pt idx="869">
                  <c:v>12.174479887483367</c:v>
                </c:pt>
                <c:pt idx="870">
                  <c:v>12.174479887483367</c:v>
                </c:pt>
                <c:pt idx="871">
                  <c:v>12.174479887483367</c:v>
                </c:pt>
                <c:pt idx="872">
                  <c:v>12.174479887483367</c:v>
                </c:pt>
                <c:pt idx="873">
                  <c:v>12.174479887483367</c:v>
                </c:pt>
                <c:pt idx="874">
                  <c:v>12.174479887483367</c:v>
                </c:pt>
                <c:pt idx="875">
                  <c:v>12.174479887483367</c:v>
                </c:pt>
                <c:pt idx="876">
                  <c:v>12.174479887483367</c:v>
                </c:pt>
                <c:pt idx="877">
                  <c:v>12.174479887483367</c:v>
                </c:pt>
                <c:pt idx="878">
                  <c:v>12.174479887483367</c:v>
                </c:pt>
                <c:pt idx="879">
                  <c:v>12.174479887483367</c:v>
                </c:pt>
                <c:pt idx="880">
                  <c:v>12.174479887483367</c:v>
                </c:pt>
                <c:pt idx="881">
                  <c:v>12.174479887483367</c:v>
                </c:pt>
                <c:pt idx="882">
                  <c:v>12.174479887483367</c:v>
                </c:pt>
                <c:pt idx="883">
                  <c:v>12.174479887483367</c:v>
                </c:pt>
                <c:pt idx="884">
                  <c:v>12.174479887483367</c:v>
                </c:pt>
                <c:pt idx="885">
                  <c:v>12.174479887483367</c:v>
                </c:pt>
                <c:pt idx="886">
                  <c:v>12.174479887483367</c:v>
                </c:pt>
                <c:pt idx="887">
                  <c:v>12.174479887483367</c:v>
                </c:pt>
                <c:pt idx="888">
                  <c:v>12.174479887483367</c:v>
                </c:pt>
                <c:pt idx="889">
                  <c:v>12.174479887483367</c:v>
                </c:pt>
                <c:pt idx="890">
                  <c:v>12.174479887483367</c:v>
                </c:pt>
                <c:pt idx="891">
                  <c:v>12.174479887483367</c:v>
                </c:pt>
              </c:numCache>
            </c:numRef>
          </c:val>
          <c:smooth val="0"/>
          <c:extLst>
            <c:ext xmlns:c16="http://schemas.microsoft.com/office/drawing/2014/chart" uri="{C3380CC4-5D6E-409C-BE32-E72D297353CC}">
              <c16:uniqueId val="{00000003-484C-4F9E-91BA-8A726FFABB09}"/>
            </c:ext>
          </c:extLst>
        </c:ser>
        <c:ser>
          <c:idx val="3"/>
          <c:order val="4"/>
          <c:tx>
            <c:strRef>
              <c:f>EMU!$EB$8</c:f>
              <c:strCache>
                <c:ptCount val="1"/>
                <c:pt idx="0">
                  <c:v>+/- 2 std</c:v>
                </c:pt>
              </c:strCache>
            </c:strRef>
          </c:tx>
          <c:spPr>
            <a:ln w="19050" cap="rnd" cmpd="sng" algn="ctr">
              <a:solidFill>
                <a:sysClr val="window" lastClr="FFFFFF">
                  <a:lumMod val="85000"/>
                </a:sysClr>
              </a:solidFill>
              <a:prstDash val="solid"/>
              <a:round/>
              <a:headEnd type="none" w="med" len="med"/>
              <a:tailEnd type="none" w="med" len="med"/>
            </a:ln>
            <a:effectLst/>
          </c:spPr>
          <c:marker>
            <c:symbol val="none"/>
          </c:marker>
          <c:dPt>
            <c:idx val="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6-82FC-421B-A80E-67ACC5454550}"/>
              </c:ext>
            </c:extLst>
          </c:dPt>
          <c:dPt>
            <c:idx val="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7-82FC-421B-A80E-67ACC5454550}"/>
              </c:ext>
            </c:extLst>
          </c:dPt>
          <c:dPt>
            <c:idx val="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8-82FC-421B-A80E-67ACC5454550}"/>
              </c:ext>
            </c:extLst>
          </c:dPt>
          <c:dPt>
            <c:idx val="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9-82FC-421B-A80E-67ACC5454550}"/>
              </c:ext>
            </c:extLst>
          </c:dPt>
          <c:dPt>
            <c:idx val="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A-82FC-421B-A80E-67ACC5454550}"/>
              </c:ext>
            </c:extLst>
          </c:dPt>
          <c:dPt>
            <c:idx val="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B-82FC-421B-A80E-67ACC5454550}"/>
              </c:ext>
            </c:extLst>
          </c:dPt>
          <c:dPt>
            <c:idx val="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C-82FC-421B-A80E-67ACC5454550}"/>
              </c:ext>
            </c:extLst>
          </c:dPt>
          <c:dPt>
            <c:idx val="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D-82FC-421B-A80E-67ACC5454550}"/>
              </c:ext>
            </c:extLst>
          </c:dPt>
          <c:dPt>
            <c:idx val="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E-82FC-421B-A80E-67ACC5454550}"/>
              </c:ext>
            </c:extLst>
          </c:dPt>
          <c:dPt>
            <c:idx val="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7F-82FC-421B-A80E-67ACC5454550}"/>
              </c:ext>
            </c:extLst>
          </c:dPt>
          <c:dPt>
            <c:idx val="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0-82FC-421B-A80E-67ACC5454550}"/>
              </c:ext>
            </c:extLst>
          </c:dPt>
          <c:dPt>
            <c:idx val="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1-82FC-421B-A80E-67ACC5454550}"/>
              </c:ext>
            </c:extLst>
          </c:dPt>
          <c:dPt>
            <c:idx val="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2-82FC-421B-A80E-67ACC5454550}"/>
              </c:ext>
            </c:extLst>
          </c:dPt>
          <c:dPt>
            <c:idx val="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3-82FC-421B-A80E-67ACC5454550}"/>
              </c:ext>
            </c:extLst>
          </c:dPt>
          <c:dPt>
            <c:idx val="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4-82FC-421B-A80E-67ACC5454550}"/>
              </c:ext>
            </c:extLst>
          </c:dPt>
          <c:dPt>
            <c:idx val="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5-82FC-421B-A80E-67ACC5454550}"/>
              </c:ext>
            </c:extLst>
          </c:dPt>
          <c:dPt>
            <c:idx val="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6-82FC-421B-A80E-67ACC5454550}"/>
              </c:ext>
            </c:extLst>
          </c:dPt>
          <c:dPt>
            <c:idx val="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7-82FC-421B-A80E-67ACC5454550}"/>
              </c:ext>
            </c:extLst>
          </c:dPt>
          <c:dPt>
            <c:idx val="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8-82FC-421B-A80E-67ACC5454550}"/>
              </c:ext>
            </c:extLst>
          </c:dPt>
          <c:dPt>
            <c:idx val="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9-82FC-421B-A80E-67ACC5454550}"/>
              </c:ext>
            </c:extLst>
          </c:dPt>
          <c:dPt>
            <c:idx val="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A-82FC-421B-A80E-67ACC5454550}"/>
              </c:ext>
            </c:extLst>
          </c:dPt>
          <c:dPt>
            <c:idx val="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B-82FC-421B-A80E-67ACC5454550}"/>
              </c:ext>
            </c:extLst>
          </c:dPt>
          <c:dPt>
            <c:idx val="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C-82FC-421B-A80E-67ACC5454550}"/>
              </c:ext>
            </c:extLst>
          </c:dPt>
          <c:dPt>
            <c:idx val="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D-82FC-421B-A80E-67ACC5454550}"/>
              </c:ext>
            </c:extLst>
          </c:dPt>
          <c:dPt>
            <c:idx val="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E-82FC-421B-A80E-67ACC5454550}"/>
              </c:ext>
            </c:extLst>
          </c:dPt>
          <c:dPt>
            <c:idx val="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8F-82FC-421B-A80E-67ACC5454550}"/>
              </c:ext>
            </c:extLst>
          </c:dPt>
          <c:dPt>
            <c:idx val="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0-82FC-421B-A80E-67ACC5454550}"/>
              </c:ext>
            </c:extLst>
          </c:dPt>
          <c:dPt>
            <c:idx val="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1-82FC-421B-A80E-67ACC5454550}"/>
              </c:ext>
            </c:extLst>
          </c:dPt>
          <c:dPt>
            <c:idx val="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2-82FC-421B-A80E-67ACC5454550}"/>
              </c:ext>
            </c:extLst>
          </c:dPt>
          <c:dPt>
            <c:idx val="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3-82FC-421B-A80E-67ACC5454550}"/>
              </c:ext>
            </c:extLst>
          </c:dPt>
          <c:dPt>
            <c:idx val="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4-82FC-421B-A80E-67ACC5454550}"/>
              </c:ext>
            </c:extLst>
          </c:dPt>
          <c:dPt>
            <c:idx val="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5-82FC-421B-A80E-67ACC5454550}"/>
              </c:ext>
            </c:extLst>
          </c:dPt>
          <c:dPt>
            <c:idx val="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6-82FC-421B-A80E-67ACC5454550}"/>
              </c:ext>
            </c:extLst>
          </c:dPt>
          <c:dPt>
            <c:idx val="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7-82FC-421B-A80E-67ACC5454550}"/>
              </c:ext>
            </c:extLst>
          </c:dPt>
          <c:dPt>
            <c:idx val="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8-82FC-421B-A80E-67ACC5454550}"/>
              </c:ext>
            </c:extLst>
          </c:dPt>
          <c:dPt>
            <c:idx val="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9-82FC-421B-A80E-67ACC5454550}"/>
              </c:ext>
            </c:extLst>
          </c:dPt>
          <c:dPt>
            <c:idx val="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A-82FC-421B-A80E-67ACC5454550}"/>
              </c:ext>
            </c:extLst>
          </c:dPt>
          <c:dPt>
            <c:idx val="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B-82FC-421B-A80E-67ACC5454550}"/>
              </c:ext>
            </c:extLst>
          </c:dPt>
          <c:dPt>
            <c:idx val="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C-82FC-421B-A80E-67ACC5454550}"/>
              </c:ext>
            </c:extLst>
          </c:dPt>
          <c:dPt>
            <c:idx val="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D-82FC-421B-A80E-67ACC5454550}"/>
              </c:ext>
            </c:extLst>
          </c:dPt>
          <c:dPt>
            <c:idx val="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E-82FC-421B-A80E-67ACC5454550}"/>
              </c:ext>
            </c:extLst>
          </c:dPt>
          <c:dPt>
            <c:idx val="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9F-82FC-421B-A80E-67ACC5454550}"/>
              </c:ext>
            </c:extLst>
          </c:dPt>
          <c:dPt>
            <c:idx val="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0-82FC-421B-A80E-67ACC5454550}"/>
              </c:ext>
            </c:extLst>
          </c:dPt>
          <c:dPt>
            <c:idx val="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1-82FC-421B-A80E-67ACC5454550}"/>
              </c:ext>
            </c:extLst>
          </c:dPt>
          <c:dPt>
            <c:idx val="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2-82FC-421B-A80E-67ACC5454550}"/>
              </c:ext>
            </c:extLst>
          </c:dPt>
          <c:dPt>
            <c:idx val="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3-82FC-421B-A80E-67ACC5454550}"/>
              </c:ext>
            </c:extLst>
          </c:dPt>
          <c:dPt>
            <c:idx val="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4-82FC-421B-A80E-67ACC5454550}"/>
              </c:ext>
            </c:extLst>
          </c:dPt>
          <c:dPt>
            <c:idx val="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5-82FC-421B-A80E-67ACC5454550}"/>
              </c:ext>
            </c:extLst>
          </c:dPt>
          <c:dPt>
            <c:idx val="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6-82FC-421B-A80E-67ACC5454550}"/>
              </c:ext>
            </c:extLst>
          </c:dPt>
          <c:dPt>
            <c:idx val="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7-82FC-421B-A80E-67ACC5454550}"/>
              </c:ext>
            </c:extLst>
          </c:dPt>
          <c:dPt>
            <c:idx val="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8-82FC-421B-A80E-67ACC5454550}"/>
              </c:ext>
            </c:extLst>
          </c:dPt>
          <c:dPt>
            <c:idx val="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9-82FC-421B-A80E-67ACC5454550}"/>
              </c:ext>
            </c:extLst>
          </c:dPt>
          <c:dPt>
            <c:idx val="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A-82FC-421B-A80E-67ACC5454550}"/>
              </c:ext>
            </c:extLst>
          </c:dPt>
          <c:dPt>
            <c:idx val="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B-82FC-421B-A80E-67ACC5454550}"/>
              </c:ext>
            </c:extLst>
          </c:dPt>
          <c:dPt>
            <c:idx val="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C-82FC-421B-A80E-67ACC5454550}"/>
              </c:ext>
            </c:extLst>
          </c:dPt>
          <c:dPt>
            <c:idx val="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D-82FC-421B-A80E-67ACC5454550}"/>
              </c:ext>
            </c:extLst>
          </c:dPt>
          <c:dPt>
            <c:idx val="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E-82FC-421B-A80E-67ACC5454550}"/>
              </c:ext>
            </c:extLst>
          </c:dPt>
          <c:dPt>
            <c:idx val="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AF-82FC-421B-A80E-67ACC5454550}"/>
              </c:ext>
            </c:extLst>
          </c:dPt>
          <c:dPt>
            <c:idx val="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0-82FC-421B-A80E-67ACC5454550}"/>
              </c:ext>
            </c:extLst>
          </c:dPt>
          <c:dPt>
            <c:idx val="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1-82FC-421B-A80E-67ACC5454550}"/>
              </c:ext>
            </c:extLst>
          </c:dPt>
          <c:dPt>
            <c:idx val="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2-82FC-421B-A80E-67ACC5454550}"/>
              </c:ext>
            </c:extLst>
          </c:dPt>
          <c:dPt>
            <c:idx val="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3-82FC-421B-A80E-67ACC5454550}"/>
              </c:ext>
            </c:extLst>
          </c:dPt>
          <c:dPt>
            <c:idx val="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4-82FC-421B-A80E-67ACC5454550}"/>
              </c:ext>
            </c:extLst>
          </c:dPt>
          <c:dPt>
            <c:idx val="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5-82FC-421B-A80E-67ACC5454550}"/>
              </c:ext>
            </c:extLst>
          </c:dPt>
          <c:dPt>
            <c:idx val="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6-82FC-421B-A80E-67ACC5454550}"/>
              </c:ext>
            </c:extLst>
          </c:dPt>
          <c:dPt>
            <c:idx val="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7-82FC-421B-A80E-67ACC5454550}"/>
              </c:ext>
            </c:extLst>
          </c:dPt>
          <c:dPt>
            <c:idx val="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8-82FC-421B-A80E-67ACC5454550}"/>
              </c:ext>
            </c:extLst>
          </c:dPt>
          <c:dPt>
            <c:idx val="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9-82FC-421B-A80E-67ACC5454550}"/>
              </c:ext>
            </c:extLst>
          </c:dPt>
          <c:dPt>
            <c:idx val="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A-82FC-421B-A80E-67ACC5454550}"/>
              </c:ext>
            </c:extLst>
          </c:dPt>
          <c:dPt>
            <c:idx val="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B-82FC-421B-A80E-67ACC5454550}"/>
              </c:ext>
            </c:extLst>
          </c:dPt>
          <c:dPt>
            <c:idx val="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C-82FC-421B-A80E-67ACC5454550}"/>
              </c:ext>
            </c:extLst>
          </c:dPt>
          <c:dPt>
            <c:idx val="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D-82FC-421B-A80E-67ACC5454550}"/>
              </c:ext>
            </c:extLst>
          </c:dPt>
          <c:dPt>
            <c:idx val="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E-82FC-421B-A80E-67ACC5454550}"/>
              </c:ext>
            </c:extLst>
          </c:dPt>
          <c:dPt>
            <c:idx val="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BF-82FC-421B-A80E-67ACC5454550}"/>
              </c:ext>
            </c:extLst>
          </c:dPt>
          <c:dPt>
            <c:idx val="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0-82FC-421B-A80E-67ACC5454550}"/>
              </c:ext>
            </c:extLst>
          </c:dPt>
          <c:dPt>
            <c:idx val="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1-82FC-421B-A80E-67ACC5454550}"/>
              </c:ext>
            </c:extLst>
          </c:dPt>
          <c:dPt>
            <c:idx val="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2-82FC-421B-A80E-67ACC5454550}"/>
              </c:ext>
            </c:extLst>
          </c:dPt>
          <c:dPt>
            <c:idx val="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3-82FC-421B-A80E-67ACC5454550}"/>
              </c:ext>
            </c:extLst>
          </c:dPt>
          <c:dPt>
            <c:idx val="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4-82FC-421B-A80E-67ACC5454550}"/>
              </c:ext>
            </c:extLst>
          </c:dPt>
          <c:dPt>
            <c:idx val="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5-82FC-421B-A80E-67ACC5454550}"/>
              </c:ext>
            </c:extLst>
          </c:dPt>
          <c:dPt>
            <c:idx val="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6-82FC-421B-A80E-67ACC5454550}"/>
              </c:ext>
            </c:extLst>
          </c:dPt>
          <c:dPt>
            <c:idx val="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7-82FC-421B-A80E-67ACC5454550}"/>
              </c:ext>
            </c:extLst>
          </c:dPt>
          <c:dPt>
            <c:idx val="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8-82FC-421B-A80E-67ACC5454550}"/>
              </c:ext>
            </c:extLst>
          </c:dPt>
          <c:dPt>
            <c:idx val="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9-82FC-421B-A80E-67ACC5454550}"/>
              </c:ext>
            </c:extLst>
          </c:dPt>
          <c:dPt>
            <c:idx val="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A-82FC-421B-A80E-67ACC5454550}"/>
              </c:ext>
            </c:extLst>
          </c:dPt>
          <c:dPt>
            <c:idx val="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B-82FC-421B-A80E-67ACC5454550}"/>
              </c:ext>
            </c:extLst>
          </c:dPt>
          <c:dPt>
            <c:idx val="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C-82FC-421B-A80E-67ACC5454550}"/>
              </c:ext>
            </c:extLst>
          </c:dPt>
          <c:dPt>
            <c:idx val="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D-82FC-421B-A80E-67ACC5454550}"/>
              </c:ext>
            </c:extLst>
          </c:dPt>
          <c:dPt>
            <c:idx val="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E-82FC-421B-A80E-67ACC5454550}"/>
              </c:ext>
            </c:extLst>
          </c:dPt>
          <c:dPt>
            <c:idx val="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CF-82FC-421B-A80E-67ACC5454550}"/>
              </c:ext>
            </c:extLst>
          </c:dPt>
          <c:dPt>
            <c:idx val="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0-82FC-421B-A80E-67ACC5454550}"/>
              </c:ext>
            </c:extLst>
          </c:dPt>
          <c:dPt>
            <c:idx val="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1-82FC-421B-A80E-67ACC5454550}"/>
              </c:ext>
            </c:extLst>
          </c:dPt>
          <c:dPt>
            <c:idx val="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2-82FC-421B-A80E-67ACC5454550}"/>
              </c:ext>
            </c:extLst>
          </c:dPt>
          <c:dPt>
            <c:idx val="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3-82FC-421B-A80E-67ACC5454550}"/>
              </c:ext>
            </c:extLst>
          </c:dPt>
          <c:dPt>
            <c:idx val="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4-82FC-421B-A80E-67ACC5454550}"/>
              </c:ext>
            </c:extLst>
          </c:dPt>
          <c:dPt>
            <c:idx val="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5-82FC-421B-A80E-67ACC5454550}"/>
              </c:ext>
            </c:extLst>
          </c:dPt>
          <c:dPt>
            <c:idx val="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6-82FC-421B-A80E-67ACC5454550}"/>
              </c:ext>
            </c:extLst>
          </c:dPt>
          <c:dPt>
            <c:idx val="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7-82FC-421B-A80E-67ACC5454550}"/>
              </c:ext>
            </c:extLst>
          </c:dPt>
          <c:dPt>
            <c:idx val="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8-82FC-421B-A80E-67ACC5454550}"/>
              </c:ext>
            </c:extLst>
          </c:dPt>
          <c:dPt>
            <c:idx val="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9-82FC-421B-A80E-67ACC5454550}"/>
              </c:ext>
            </c:extLst>
          </c:dPt>
          <c:dPt>
            <c:idx val="1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A-82FC-421B-A80E-67ACC5454550}"/>
              </c:ext>
            </c:extLst>
          </c:dPt>
          <c:dPt>
            <c:idx val="1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B-82FC-421B-A80E-67ACC5454550}"/>
              </c:ext>
            </c:extLst>
          </c:dPt>
          <c:dPt>
            <c:idx val="1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C-82FC-421B-A80E-67ACC5454550}"/>
              </c:ext>
            </c:extLst>
          </c:dPt>
          <c:dPt>
            <c:idx val="1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D-82FC-421B-A80E-67ACC5454550}"/>
              </c:ext>
            </c:extLst>
          </c:dPt>
          <c:dPt>
            <c:idx val="1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E-82FC-421B-A80E-67ACC5454550}"/>
              </c:ext>
            </c:extLst>
          </c:dPt>
          <c:dPt>
            <c:idx val="1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DF-82FC-421B-A80E-67ACC5454550}"/>
              </c:ext>
            </c:extLst>
          </c:dPt>
          <c:dPt>
            <c:idx val="1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0-82FC-421B-A80E-67ACC5454550}"/>
              </c:ext>
            </c:extLst>
          </c:dPt>
          <c:dPt>
            <c:idx val="1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1-82FC-421B-A80E-67ACC5454550}"/>
              </c:ext>
            </c:extLst>
          </c:dPt>
          <c:dPt>
            <c:idx val="1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2-82FC-421B-A80E-67ACC5454550}"/>
              </c:ext>
            </c:extLst>
          </c:dPt>
          <c:dPt>
            <c:idx val="1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3-82FC-421B-A80E-67ACC5454550}"/>
              </c:ext>
            </c:extLst>
          </c:dPt>
          <c:dPt>
            <c:idx val="1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4-82FC-421B-A80E-67ACC5454550}"/>
              </c:ext>
            </c:extLst>
          </c:dPt>
          <c:dPt>
            <c:idx val="1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5-82FC-421B-A80E-67ACC5454550}"/>
              </c:ext>
            </c:extLst>
          </c:dPt>
          <c:dPt>
            <c:idx val="1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6-82FC-421B-A80E-67ACC5454550}"/>
              </c:ext>
            </c:extLst>
          </c:dPt>
          <c:dPt>
            <c:idx val="1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7-82FC-421B-A80E-67ACC5454550}"/>
              </c:ext>
            </c:extLst>
          </c:dPt>
          <c:dPt>
            <c:idx val="1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8-82FC-421B-A80E-67ACC5454550}"/>
              </c:ext>
            </c:extLst>
          </c:dPt>
          <c:dPt>
            <c:idx val="1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9-82FC-421B-A80E-67ACC5454550}"/>
              </c:ext>
            </c:extLst>
          </c:dPt>
          <c:dPt>
            <c:idx val="1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A-82FC-421B-A80E-67ACC5454550}"/>
              </c:ext>
            </c:extLst>
          </c:dPt>
          <c:dPt>
            <c:idx val="1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B-82FC-421B-A80E-67ACC5454550}"/>
              </c:ext>
            </c:extLst>
          </c:dPt>
          <c:dPt>
            <c:idx val="1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C-82FC-421B-A80E-67ACC5454550}"/>
              </c:ext>
            </c:extLst>
          </c:dPt>
          <c:dPt>
            <c:idx val="1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D-82FC-421B-A80E-67ACC5454550}"/>
              </c:ext>
            </c:extLst>
          </c:dPt>
          <c:dPt>
            <c:idx val="1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E-82FC-421B-A80E-67ACC5454550}"/>
              </c:ext>
            </c:extLst>
          </c:dPt>
          <c:dPt>
            <c:idx val="1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EF-82FC-421B-A80E-67ACC5454550}"/>
              </c:ext>
            </c:extLst>
          </c:dPt>
          <c:dPt>
            <c:idx val="1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0-82FC-421B-A80E-67ACC5454550}"/>
              </c:ext>
            </c:extLst>
          </c:dPt>
          <c:dPt>
            <c:idx val="1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1-82FC-421B-A80E-67ACC5454550}"/>
              </c:ext>
            </c:extLst>
          </c:dPt>
          <c:dPt>
            <c:idx val="1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2-82FC-421B-A80E-67ACC5454550}"/>
              </c:ext>
            </c:extLst>
          </c:dPt>
          <c:dPt>
            <c:idx val="1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3-82FC-421B-A80E-67ACC5454550}"/>
              </c:ext>
            </c:extLst>
          </c:dPt>
          <c:dPt>
            <c:idx val="1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4-82FC-421B-A80E-67ACC5454550}"/>
              </c:ext>
            </c:extLst>
          </c:dPt>
          <c:dPt>
            <c:idx val="1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5-82FC-421B-A80E-67ACC5454550}"/>
              </c:ext>
            </c:extLst>
          </c:dPt>
          <c:dPt>
            <c:idx val="1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6-82FC-421B-A80E-67ACC5454550}"/>
              </c:ext>
            </c:extLst>
          </c:dPt>
          <c:dPt>
            <c:idx val="1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7-82FC-421B-A80E-67ACC5454550}"/>
              </c:ext>
            </c:extLst>
          </c:dPt>
          <c:dPt>
            <c:idx val="1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8-82FC-421B-A80E-67ACC5454550}"/>
              </c:ext>
            </c:extLst>
          </c:dPt>
          <c:dPt>
            <c:idx val="1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9-82FC-421B-A80E-67ACC5454550}"/>
              </c:ext>
            </c:extLst>
          </c:dPt>
          <c:dPt>
            <c:idx val="1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A-82FC-421B-A80E-67ACC5454550}"/>
              </c:ext>
            </c:extLst>
          </c:dPt>
          <c:dPt>
            <c:idx val="1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B-82FC-421B-A80E-67ACC5454550}"/>
              </c:ext>
            </c:extLst>
          </c:dPt>
          <c:dPt>
            <c:idx val="1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C-82FC-421B-A80E-67ACC5454550}"/>
              </c:ext>
            </c:extLst>
          </c:dPt>
          <c:dPt>
            <c:idx val="1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D-82FC-421B-A80E-67ACC5454550}"/>
              </c:ext>
            </c:extLst>
          </c:dPt>
          <c:dPt>
            <c:idx val="1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E-82FC-421B-A80E-67ACC5454550}"/>
              </c:ext>
            </c:extLst>
          </c:dPt>
          <c:dPt>
            <c:idx val="1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AFF-82FC-421B-A80E-67ACC5454550}"/>
              </c:ext>
            </c:extLst>
          </c:dPt>
          <c:dPt>
            <c:idx val="1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0-82FC-421B-A80E-67ACC5454550}"/>
              </c:ext>
            </c:extLst>
          </c:dPt>
          <c:dPt>
            <c:idx val="1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1-82FC-421B-A80E-67ACC5454550}"/>
              </c:ext>
            </c:extLst>
          </c:dPt>
          <c:dPt>
            <c:idx val="1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2-82FC-421B-A80E-67ACC5454550}"/>
              </c:ext>
            </c:extLst>
          </c:dPt>
          <c:dPt>
            <c:idx val="1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3-82FC-421B-A80E-67ACC5454550}"/>
              </c:ext>
            </c:extLst>
          </c:dPt>
          <c:dPt>
            <c:idx val="1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4-82FC-421B-A80E-67ACC5454550}"/>
              </c:ext>
            </c:extLst>
          </c:dPt>
          <c:dPt>
            <c:idx val="1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5-82FC-421B-A80E-67ACC5454550}"/>
              </c:ext>
            </c:extLst>
          </c:dPt>
          <c:dPt>
            <c:idx val="1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6-82FC-421B-A80E-67ACC5454550}"/>
              </c:ext>
            </c:extLst>
          </c:dPt>
          <c:dPt>
            <c:idx val="1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7-82FC-421B-A80E-67ACC5454550}"/>
              </c:ext>
            </c:extLst>
          </c:dPt>
          <c:dPt>
            <c:idx val="1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8-82FC-421B-A80E-67ACC5454550}"/>
              </c:ext>
            </c:extLst>
          </c:dPt>
          <c:dPt>
            <c:idx val="1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9-82FC-421B-A80E-67ACC5454550}"/>
              </c:ext>
            </c:extLst>
          </c:dPt>
          <c:dPt>
            <c:idx val="1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A-82FC-421B-A80E-67ACC5454550}"/>
              </c:ext>
            </c:extLst>
          </c:dPt>
          <c:dPt>
            <c:idx val="1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B-82FC-421B-A80E-67ACC5454550}"/>
              </c:ext>
            </c:extLst>
          </c:dPt>
          <c:dPt>
            <c:idx val="1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C-82FC-421B-A80E-67ACC5454550}"/>
              </c:ext>
            </c:extLst>
          </c:dPt>
          <c:dPt>
            <c:idx val="1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D-82FC-421B-A80E-67ACC5454550}"/>
              </c:ext>
            </c:extLst>
          </c:dPt>
          <c:dPt>
            <c:idx val="1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E-82FC-421B-A80E-67ACC5454550}"/>
              </c:ext>
            </c:extLst>
          </c:dPt>
          <c:dPt>
            <c:idx val="1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0F-82FC-421B-A80E-67ACC5454550}"/>
              </c:ext>
            </c:extLst>
          </c:dPt>
          <c:dPt>
            <c:idx val="1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0-82FC-421B-A80E-67ACC5454550}"/>
              </c:ext>
            </c:extLst>
          </c:dPt>
          <c:dPt>
            <c:idx val="1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1-82FC-421B-A80E-67ACC5454550}"/>
              </c:ext>
            </c:extLst>
          </c:dPt>
          <c:dPt>
            <c:idx val="1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2-82FC-421B-A80E-67ACC5454550}"/>
              </c:ext>
            </c:extLst>
          </c:dPt>
          <c:dPt>
            <c:idx val="1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3-82FC-421B-A80E-67ACC5454550}"/>
              </c:ext>
            </c:extLst>
          </c:dPt>
          <c:dPt>
            <c:idx val="1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4-82FC-421B-A80E-67ACC5454550}"/>
              </c:ext>
            </c:extLst>
          </c:dPt>
          <c:dPt>
            <c:idx val="1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5-82FC-421B-A80E-67ACC5454550}"/>
              </c:ext>
            </c:extLst>
          </c:dPt>
          <c:dPt>
            <c:idx val="1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6-82FC-421B-A80E-67ACC5454550}"/>
              </c:ext>
            </c:extLst>
          </c:dPt>
          <c:dPt>
            <c:idx val="1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7-82FC-421B-A80E-67ACC5454550}"/>
              </c:ext>
            </c:extLst>
          </c:dPt>
          <c:dPt>
            <c:idx val="1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8-82FC-421B-A80E-67ACC5454550}"/>
              </c:ext>
            </c:extLst>
          </c:dPt>
          <c:dPt>
            <c:idx val="1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9-82FC-421B-A80E-67ACC5454550}"/>
              </c:ext>
            </c:extLst>
          </c:dPt>
          <c:dPt>
            <c:idx val="1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A-82FC-421B-A80E-67ACC5454550}"/>
              </c:ext>
            </c:extLst>
          </c:dPt>
          <c:dPt>
            <c:idx val="1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B-82FC-421B-A80E-67ACC5454550}"/>
              </c:ext>
            </c:extLst>
          </c:dPt>
          <c:dPt>
            <c:idx val="1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C-82FC-421B-A80E-67ACC5454550}"/>
              </c:ext>
            </c:extLst>
          </c:dPt>
          <c:dPt>
            <c:idx val="1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D-82FC-421B-A80E-67ACC5454550}"/>
              </c:ext>
            </c:extLst>
          </c:dPt>
          <c:dPt>
            <c:idx val="1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E-82FC-421B-A80E-67ACC5454550}"/>
              </c:ext>
            </c:extLst>
          </c:dPt>
          <c:dPt>
            <c:idx val="1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1F-82FC-421B-A80E-67ACC5454550}"/>
              </c:ext>
            </c:extLst>
          </c:dPt>
          <c:dPt>
            <c:idx val="1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0-82FC-421B-A80E-67ACC5454550}"/>
              </c:ext>
            </c:extLst>
          </c:dPt>
          <c:dPt>
            <c:idx val="1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1-82FC-421B-A80E-67ACC5454550}"/>
              </c:ext>
            </c:extLst>
          </c:dPt>
          <c:dPt>
            <c:idx val="1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2-82FC-421B-A80E-67ACC5454550}"/>
              </c:ext>
            </c:extLst>
          </c:dPt>
          <c:dPt>
            <c:idx val="1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3-82FC-421B-A80E-67ACC5454550}"/>
              </c:ext>
            </c:extLst>
          </c:dPt>
          <c:dPt>
            <c:idx val="1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4-82FC-421B-A80E-67ACC5454550}"/>
              </c:ext>
            </c:extLst>
          </c:dPt>
          <c:dPt>
            <c:idx val="1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5-82FC-421B-A80E-67ACC5454550}"/>
              </c:ext>
            </c:extLst>
          </c:dPt>
          <c:dPt>
            <c:idx val="1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6-82FC-421B-A80E-67ACC5454550}"/>
              </c:ext>
            </c:extLst>
          </c:dPt>
          <c:dPt>
            <c:idx val="1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7-82FC-421B-A80E-67ACC5454550}"/>
              </c:ext>
            </c:extLst>
          </c:dPt>
          <c:dPt>
            <c:idx val="1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8-82FC-421B-A80E-67ACC5454550}"/>
              </c:ext>
            </c:extLst>
          </c:dPt>
          <c:dPt>
            <c:idx val="1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9-82FC-421B-A80E-67ACC5454550}"/>
              </c:ext>
            </c:extLst>
          </c:dPt>
          <c:dPt>
            <c:idx val="1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A-82FC-421B-A80E-67ACC5454550}"/>
              </c:ext>
            </c:extLst>
          </c:dPt>
          <c:dPt>
            <c:idx val="1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B-82FC-421B-A80E-67ACC5454550}"/>
              </c:ext>
            </c:extLst>
          </c:dPt>
          <c:dPt>
            <c:idx val="1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C-82FC-421B-A80E-67ACC5454550}"/>
              </c:ext>
            </c:extLst>
          </c:dPt>
          <c:dPt>
            <c:idx val="1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D-82FC-421B-A80E-67ACC5454550}"/>
              </c:ext>
            </c:extLst>
          </c:dPt>
          <c:dPt>
            <c:idx val="1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E-82FC-421B-A80E-67ACC5454550}"/>
              </c:ext>
            </c:extLst>
          </c:dPt>
          <c:dPt>
            <c:idx val="1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2F-82FC-421B-A80E-67ACC5454550}"/>
              </c:ext>
            </c:extLst>
          </c:dPt>
          <c:dPt>
            <c:idx val="1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0-82FC-421B-A80E-67ACC5454550}"/>
              </c:ext>
            </c:extLst>
          </c:dPt>
          <c:dPt>
            <c:idx val="1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1-82FC-421B-A80E-67ACC5454550}"/>
              </c:ext>
            </c:extLst>
          </c:dPt>
          <c:dPt>
            <c:idx val="1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2-82FC-421B-A80E-67ACC5454550}"/>
              </c:ext>
            </c:extLst>
          </c:dPt>
          <c:dPt>
            <c:idx val="1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3-82FC-421B-A80E-67ACC5454550}"/>
              </c:ext>
            </c:extLst>
          </c:dPt>
          <c:dPt>
            <c:idx val="1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4-82FC-421B-A80E-67ACC5454550}"/>
              </c:ext>
            </c:extLst>
          </c:dPt>
          <c:dPt>
            <c:idx val="1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5-82FC-421B-A80E-67ACC5454550}"/>
              </c:ext>
            </c:extLst>
          </c:dPt>
          <c:dPt>
            <c:idx val="1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6-82FC-421B-A80E-67ACC5454550}"/>
              </c:ext>
            </c:extLst>
          </c:dPt>
          <c:dPt>
            <c:idx val="1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7-82FC-421B-A80E-67ACC5454550}"/>
              </c:ext>
            </c:extLst>
          </c:dPt>
          <c:dPt>
            <c:idx val="1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8-82FC-421B-A80E-67ACC5454550}"/>
              </c:ext>
            </c:extLst>
          </c:dPt>
          <c:dPt>
            <c:idx val="1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9-82FC-421B-A80E-67ACC5454550}"/>
              </c:ext>
            </c:extLst>
          </c:dPt>
          <c:dPt>
            <c:idx val="1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A-82FC-421B-A80E-67ACC5454550}"/>
              </c:ext>
            </c:extLst>
          </c:dPt>
          <c:dPt>
            <c:idx val="1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B-82FC-421B-A80E-67ACC5454550}"/>
              </c:ext>
            </c:extLst>
          </c:dPt>
          <c:dPt>
            <c:idx val="1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C-82FC-421B-A80E-67ACC5454550}"/>
              </c:ext>
            </c:extLst>
          </c:dPt>
          <c:dPt>
            <c:idx val="1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D-82FC-421B-A80E-67ACC5454550}"/>
              </c:ext>
            </c:extLst>
          </c:dPt>
          <c:dPt>
            <c:idx val="2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E-82FC-421B-A80E-67ACC5454550}"/>
              </c:ext>
            </c:extLst>
          </c:dPt>
          <c:dPt>
            <c:idx val="2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3F-82FC-421B-A80E-67ACC5454550}"/>
              </c:ext>
            </c:extLst>
          </c:dPt>
          <c:dPt>
            <c:idx val="2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0-82FC-421B-A80E-67ACC5454550}"/>
              </c:ext>
            </c:extLst>
          </c:dPt>
          <c:dPt>
            <c:idx val="2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1-82FC-421B-A80E-67ACC5454550}"/>
              </c:ext>
            </c:extLst>
          </c:dPt>
          <c:dPt>
            <c:idx val="2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2-82FC-421B-A80E-67ACC5454550}"/>
              </c:ext>
            </c:extLst>
          </c:dPt>
          <c:dPt>
            <c:idx val="2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3-82FC-421B-A80E-67ACC5454550}"/>
              </c:ext>
            </c:extLst>
          </c:dPt>
          <c:dPt>
            <c:idx val="2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4-82FC-421B-A80E-67ACC5454550}"/>
              </c:ext>
            </c:extLst>
          </c:dPt>
          <c:dPt>
            <c:idx val="2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5-82FC-421B-A80E-67ACC5454550}"/>
              </c:ext>
            </c:extLst>
          </c:dPt>
          <c:dPt>
            <c:idx val="2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6-82FC-421B-A80E-67ACC5454550}"/>
              </c:ext>
            </c:extLst>
          </c:dPt>
          <c:dPt>
            <c:idx val="2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7-82FC-421B-A80E-67ACC5454550}"/>
              </c:ext>
            </c:extLst>
          </c:dPt>
          <c:dPt>
            <c:idx val="2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8-82FC-421B-A80E-67ACC5454550}"/>
              </c:ext>
            </c:extLst>
          </c:dPt>
          <c:dPt>
            <c:idx val="2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9-82FC-421B-A80E-67ACC5454550}"/>
              </c:ext>
            </c:extLst>
          </c:dPt>
          <c:dPt>
            <c:idx val="2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A-82FC-421B-A80E-67ACC5454550}"/>
              </c:ext>
            </c:extLst>
          </c:dPt>
          <c:dPt>
            <c:idx val="2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B-82FC-421B-A80E-67ACC5454550}"/>
              </c:ext>
            </c:extLst>
          </c:dPt>
          <c:dPt>
            <c:idx val="2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C-82FC-421B-A80E-67ACC5454550}"/>
              </c:ext>
            </c:extLst>
          </c:dPt>
          <c:dPt>
            <c:idx val="2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D-82FC-421B-A80E-67ACC5454550}"/>
              </c:ext>
            </c:extLst>
          </c:dPt>
          <c:dPt>
            <c:idx val="2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E-82FC-421B-A80E-67ACC5454550}"/>
              </c:ext>
            </c:extLst>
          </c:dPt>
          <c:dPt>
            <c:idx val="2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4F-82FC-421B-A80E-67ACC5454550}"/>
              </c:ext>
            </c:extLst>
          </c:dPt>
          <c:dPt>
            <c:idx val="2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0-82FC-421B-A80E-67ACC5454550}"/>
              </c:ext>
            </c:extLst>
          </c:dPt>
          <c:dPt>
            <c:idx val="2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1-82FC-421B-A80E-67ACC5454550}"/>
              </c:ext>
            </c:extLst>
          </c:dPt>
          <c:dPt>
            <c:idx val="2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2-82FC-421B-A80E-67ACC5454550}"/>
              </c:ext>
            </c:extLst>
          </c:dPt>
          <c:dPt>
            <c:idx val="2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3-82FC-421B-A80E-67ACC5454550}"/>
              </c:ext>
            </c:extLst>
          </c:dPt>
          <c:dPt>
            <c:idx val="2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4-82FC-421B-A80E-67ACC5454550}"/>
              </c:ext>
            </c:extLst>
          </c:dPt>
          <c:dPt>
            <c:idx val="2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5-82FC-421B-A80E-67ACC5454550}"/>
              </c:ext>
            </c:extLst>
          </c:dPt>
          <c:dPt>
            <c:idx val="2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6-82FC-421B-A80E-67ACC5454550}"/>
              </c:ext>
            </c:extLst>
          </c:dPt>
          <c:dPt>
            <c:idx val="2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7-82FC-421B-A80E-67ACC5454550}"/>
              </c:ext>
            </c:extLst>
          </c:dPt>
          <c:dPt>
            <c:idx val="2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8-82FC-421B-A80E-67ACC5454550}"/>
              </c:ext>
            </c:extLst>
          </c:dPt>
          <c:dPt>
            <c:idx val="2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9-82FC-421B-A80E-67ACC5454550}"/>
              </c:ext>
            </c:extLst>
          </c:dPt>
          <c:dPt>
            <c:idx val="2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A-82FC-421B-A80E-67ACC5454550}"/>
              </c:ext>
            </c:extLst>
          </c:dPt>
          <c:dPt>
            <c:idx val="2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B-82FC-421B-A80E-67ACC5454550}"/>
              </c:ext>
            </c:extLst>
          </c:dPt>
          <c:dPt>
            <c:idx val="2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C-82FC-421B-A80E-67ACC5454550}"/>
              </c:ext>
            </c:extLst>
          </c:dPt>
          <c:dPt>
            <c:idx val="2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D-82FC-421B-A80E-67ACC5454550}"/>
              </c:ext>
            </c:extLst>
          </c:dPt>
          <c:dPt>
            <c:idx val="2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E-82FC-421B-A80E-67ACC5454550}"/>
              </c:ext>
            </c:extLst>
          </c:dPt>
          <c:dPt>
            <c:idx val="2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5F-82FC-421B-A80E-67ACC5454550}"/>
              </c:ext>
            </c:extLst>
          </c:dPt>
          <c:dPt>
            <c:idx val="2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0-82FC-421B-A80E-67ACC5454550}"/>
              </c:ext>
            </c:extLst>
          </c:dPt>
          <c:dPt>
            <c:idx val="2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1-82FC-421B-A80E-67ACC5454550}"/>
              </c:ext>
            </c:extLst>
          </c:dPt>
          <c:dPt>
            <c:idx val="2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2-82FC-421B-A80E-67ACC5454550}"/>
              </c:ext>
            </c:extLst>
          </c:dPt>
          <c:dPt>
            <c:idx val="2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3-82FC-421B-A80E-67ACC5454550}"/>
              </c:ext>
            </c:extLst>
          </c:dPt>
          <c:dPt>
            <c:idx val="2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4-82FC-421B-A80E-67ACC5454550}"/>
              </c:ext>
            </c:extLst>
          </c:dPt>
          <c:dPt>
            <c:idx val="2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5-82FC-421B-A80E-67ACC5454550}"/>
              </c:ext>
            </c:extLst>
          </c:dPt>
          <c:dPt>
            <c:idx val="2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6-82FC-421B-A80E-67ACC5454550}"/>
              </c:ext>
            </c:extLst>
          </c:dPt>
          <c:dPt>
            <c:idx val="2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7-82FC-421B-A80E-67ACC5454550}"/>
              </c:ext>
            </c:extLst>
          </c:dPt>
          <c:dPt>
            <c:idx val="2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8-82FC-421B-A80E-67ACC5454550}"/>
              </c:ext>
            </c:extLst>
          </c:dPt>
          <c:dPt>
            <c:idx val="2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9-82FC-421B-A80E-67ACC5454550}"/>
              </c:ext>
            </c:extLst>
          </c:dPt>
          <c:dPt>
            <c:idx val="2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A-82FC-421B-A80E-67ACC5454550}"/>
              </c:ext>
            </c:extLst>
          </c:dPt>
          <c:dPt>
            <c:idx val="2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B-82FC-421B-A80E-67ACC5454550}"/>
              </c:ext>
            </c:extLst>
          </c:dPt>
          <c:dPt>
            <c:idx val="2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C-82FC-421B-A80E-67ACC5454550}"/>
              </c:ext>
            </c:extLst>
          </c:dPt>
          <c:dPt>
            <c:idx val="2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D-82FC-421B-A80E-67ACC5454550}"/>
              </c:ext>
            </c:extLst>
          </c:dPt>
          <c:dPt>
            <c:idx val="2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E-82FC-421B-A80E-67ACC5454550}"/>
              </c:ext>
            </c:extLst>
          </c:dPt>
          <c:dPt>
            <c:idx val="2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6F-82FC-421B-A80E-67ACC5454550}"/>
              </c:ext>
            </c:extLst>
          </c:dPt>
          <c:dPt>
            <c:idx val="2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0-82FC-421B-A80E-67ACC5454550}"/>
              </c:ext>
            </c:extLst>
          </c:dPt>
          <c:dPt>
            <c:idx val="2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1-82FC-421B-A80E-67ACC5454550}"/>
              </c:ext>
            </c:extLst>
          </c:dPt>
          <c:dPt>
            <c:idx val="2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2-82FC-421B-A80E-67ACC5454550}"/>
              </c:ext>
            </c:extLst>
          </c:dPt>
          <c:dPt>
            <c:idx val="2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3-82FC-421B-A80E-67ACC5454550}"/>
              </c:ext>
            </c:extLst>
          </c:dPt>
          <c:dPt>
            <c:idx val="2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4-82FC-421B-A80E-67ACC5454550}"/>
              </c:ext>
            </c:extLst>
          </c:dPt>
          <c:dPt>
            <c:idx val="2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5-82FC-421B-A80E-67ACC5454550}"/>
              </c:ext>
            </c:extLst>
          </c:dPt>
          <c:dPt>
            <c:idx val="2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6-82FC-421B-A80E-67ACC5454550}"/>
              </c:ext>
            </c:extLst>
          </c:dPt>
          <c:dPt>
            <c:idx val="2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7-82FC-421B-A80E-67ACC5454550}"/>
              </c:ext>
            </c:extLst>
          </c:dPt>
          <c:dPt>
            <c:idx val="2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8-82FC-421B-A80E-67ACC5454550}"/>
              </c:ext>
            </c:extLst>
          </c:dPt>
          <c:dPt>
            <c:idx val="2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9-82FC-421B-A80E-67ACC5454550}"/>
              </c:ext>
            </c:extLst>
          </c:dPt>
          <c:dPt>
            <c:idx val="2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A-82FC-421B-A80E-67ACC5454550}"/>
              </c:ext>
            </c:extLst>
          </c:dPt>
          <c:dPt>
            <c:idx val="2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B-82FC-421B-A80E-67ACC5454550}"/>
              </c:ext>
            </c:extLst>
          </c:dPt>
          <c:dPt>
            <c:idx val="2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C-82FC-421B-A80E-67ACC5454550}"/>
              </c:ext>
            </c:extLst>
          </c:dPt>
          <c:dPt>
            <c:idx val="2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D-82FC-421B-A80E-67ACC5454550}"/>
              </c:ext>
            </c:extLst>
          </c:dPt>
          <c:dPt>
            <c:idx val="2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E-82FC-421B-A80E-67ACC5454550}"/>
              </c:ext>
            </c:extLst>
          </c:dPt>
          <c:dPt>
            <c:idx val="2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7F-82FC-421B-A80E-67ACC5454550}"/>
              </c:ext>
            </c:extLst>
          </c:dPt>
          <c:dPt>
            <c:idx val="2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0-82FC-421B-A80E-67ACC5454550}"/>
              </c:ext>
            </c:extLst>
          </c:dPt>
          <c:dPt>
            <c:idx val="2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1-82FC-421B-A80E-67ACC5454550}"/>
              </c:ext>
            </c:extLst>
          </c:dPt>
          <c:dPt>
            <c:idx val="2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2-82FC-421B-A80E-67ACC5454550}"/>
              </c:ext>
            </c:extLst>
          </c:dPt>
          <c:dPt>
            <c:idx val="2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3-82FC-421B-A80E-67ACC5454550}"/>
              </c:ext>
            </c:extLst>
          </c:dPt>
          <c:dPt>
            <c:idx val="2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4-82FC-421B-A80E-67ACC5454550}"/>
              </c:ext>
            </c:extLst>
          </c:dPt>
          <c:dPt>
            <c:idx val="2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5-82FC-421B-A80E-67ACC5454550}"/>
              </c:ext>
            </c:extLst>
          </c:dPt>
          <c:dPt>
            <c:idx val="2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6-82FC-421B-A80E-67ACC5454550}"/>
              </c:ext>
            </c:extLst>
          </c:dPt>
          <c:dPt>
            <c:idx val="2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7-82FC-421B-A80E-67ACC5454550}"/>
              </c:ext>
            </c:extLst>
          </c:dPt>
          <c:dPt>
            <c:idx val="2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8-82FC-421B-A80E-67ACC5454550}"/>
              </c:ext>
            </c:extLst>
          </c:dPt>
          <c:dPt>
            <c:idx val="2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9-82FC-421B-A80E-67ACC5454550}"/>
              </c:ext>
            </c:extLst>
          </c:dPt>
          <c:dPt>
            <c:idx val="2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A-82FC-421B-A80E-67ACC5454550}"/>
              </c:ext>
            </c:extLst>
          </c:dPt>
          <c:dPt>
            <c:idx val="2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B-82FC-421B-A80E-67ACC5454550}"/>
              </c:ext>
            </c:extLst>
          </c:dPt>
          <c:dPt>
            <c:idx val="2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C-82FC-421B-A80E-67ACC5454550}"/>
              </c:ext>
            </c:extLst>
          </c:dPt>
          <c:dPt>
            <c:idx val="2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D-82FC-421B-A80E-67ACC5454550}"/>
              </c:ext>
            </c:extLst>
          </c:dPt>
          <c:dPt>
            <c:idx val="2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E-82FC-421B-A80E-67ACC5454550}"/>
              </c:ext>
            </c:extLst>
          </c:dPt>
          <c:dPt>
            <c:idx val="2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8F-82FC-421B-A80E-67ACC5454550}"/>
              </c:ext>
            </c:extLst>
          </c:dPt>
          <c:dPt>
            <c:idx val="2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0-82FC-421B-A80E-67ACC5454550}"/>
              </c:ext>
            </c:extLst>
          </c:dPt>
          <c:dPt>
            <c:idx val="2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1-82FC-421B-A80E-67ACC5454550}"/>
              </c:ext>
            </c:extLst>
          </c:dPt>
          <c:dPt>
            <c:idx val="2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2-82FC-421B-A80E-67ACC5454550}"/>
              </c:ext>
            </c:extLst>
          </c:dPt>
          <c:dPt>
            <c:idx val="2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3-82FC-421B-A80E-67ACC5454550}"/>
              </c:ext>
            </c:extLst>
          </c:dPt>
          <c:dPt>
            <c:idx val="2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4-82FC-421B-A80E-67ACC5454550}"/>
              </c:ext>
            </c:extLst>
          </c:dPt>
          <c:dPt>
            <c:idx val="2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5-82FC-421B-A80E-67ACC5454550}"/>
              </c:ext>
            </c:extLst>
          </c:dPt>
          <c:dPt>
            <c:idx val="2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6-82FC-421B-A80E-67ACC5454550}"/>
              </c:ext>
            </c:extLst>
          </c:dPt>
          <c:dPt>
            <c:idx val="2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7-82FC-421B-A80E-67ACC5454550}"/>
              </c:ext>
            </c:extLst>
          </c:dPt>
          <c:dPt>
            <c:idx val="2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8-82FC-421B-A80E-67ACC5454550}"/>
              </c:ext>
            </c:extLst>
          </c:dPt>
          <c:dPt>
            <c:idx val="2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9-82FC-421B-A80E-67ACC5454550}"/>
              </c:ext>
            </c:extLst>
          </c:dPt>
          <c:dPt>
            <c:idx val="2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A-82FC-421B-A80E-67ACC5454550}"/>
              </c:ext>
            </c:extLst>
          </c:dPt>
          <c:dPt>
            <c:idx val="2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B-82FC-421B-A80E-67ACC5454550}"/>
              </c:ext>
            </c:extLst>
          </c:dPt>
          <c:dPt>
            <c:idx val="2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C-82FC-421B-A80E-67ACC5454550}"/>
              </c:ext>
            </c:extLst>
          </c:dPt>
          <c:dPt>
            <c:idx val="2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D-82FC-421B-A80E-67ACC5454550}"/>
              </c:ext>
            </c:extLst>
          </c:dPt>
          <c:dPt>
            <c:idx val="2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E-82FC-421B-A80E-67ACC5454550}"/>
              </c:ext>
            </c:extLst>
          </c:dPt>
          <c:dPt>
            <c:idx val="2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9F-82FC-421B-A80E-67ACC5454550}"/>
              </c:ext>
            </c:extLst>
          </c:dPt>
          <c:dPt>
            <c:idx val="2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0-82FC-421B-A80E-67ACC5454550}"/>
              </c:ext>
            </c:extLst>
          </c:dPt>
          <c:dPt>
            <c:idx val="2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1-82FC-421B-A80E-67ACC5454550}"/>
              </c:ext>
            </c:extLst>
          </c:dPt>
          <c:dPt>
            <c:idx val="3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2-82FC-421B-A80E-67ACC5454550}"/>
              </c:ext>
            </c:extLst>
          </c:dPt>
          <c:dPt>
            <c:idx val="3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3-82FC-421B-A80E-67ACC5454550}"/>
              </c:ext>
            </c:extLst>
          </c:dPt>
          <c:dPt>
            <c:idx val="3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4-82FC-421B-A80E-67ACC5454550}"/>
              </c:ext>
            </c:extLst>
          </c:dPt>
          <c:dPt>
            <c:idx val="3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5-82FC-421B-A80E-67ACC5454550}"/>
              </c:ext>
            </c:extLst>
          </c:dPt>
          <c:dPt>
            <c:idx val="3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6-82FC-421B-A80E-67ACC5454550}"/>
              </c:ext>
            </c:extLst>
          </c:dPt>
          <c:dPt>
            <c:idx val="3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7-82FC-421B-A80E-67ACC5454550}"/>
              </c:ext>
            </c:extLst>
          </c:dPt>
          <c:dPt>
            <c:idx val="3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8-82FC-421B-A80E-67ACC5454550}"/>
              </c:ext>
            </c:extLst>
          </c:dPt>
          <c:dPt>
            <c:idx val="3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9-82FC-421B-A80E-67ACC5454550}"/>
              </c:ext>
            </c:extLst>
          </c:dPt>
          <c:dPt>
            <c:idx val="3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A-82FC-421B-A80E-67ACC5454550}"/>
              </c:ext>
            </c:extLst>
          </c:dPt>
          <c:dPt>
            <c:idx val="3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B-82FC-421B-A80E-67ACC5454550}"/>
              </c:ext>
            </c:extLst>
          </c:dPt>
          <c:dPt>
            <c:idx val="3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C-82FC-421B-A80E-67ACC5454550}"/>
              </c:ext>
            </c:extLst>
          </c:dPt>
          <c:dPt>
            <c:idx val="3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D-82FC-421B-A80E-67ACC5454550}"/>
              </c:ext>
            </c:extLst>
          </c:dPt>
          <c:dPt>
            <c:idx val="3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E-82FC-421B-A80E-67ACC5454550}"/>
              </c:ext>
            </c:extLst>
          </c:dPt>
          <c:dPt>
            <c:idx val="3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AF-82FC-421B-A80E-67ACC5454550}"/>
              </c:ext>
            </c:extLst>
          </c:dPt>
          <c:dPt>
            <c:idx val="3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0-82FC-421B-A80E-67ACC5454550}"/>
              </c:ext>
            </c:extLst>
          </c:dPt>
          <c:dPt>
            <c:idx val="3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1-82FC-421B-A80E-67ACC5454550}"/>
              </c:ext>
            </c:extLst>
          </c:dPt>
          <c:dPt>
            <c:idx val="3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2-82FC-421B-A80E-67ACC5454550}"/>
              </c:ext>
            </c:extLst>
          </c:dPt>
          <c:dPt>
            <c:idx val="3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3-82FC-421B-A80E-67ACC5454550}"/>
              </c:ext>
            </c:extLst>
          </c:dPt>
          <c:dPt>
            <c:idx val="3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4-82FC-421B-A80E-67ACC5454550}"/>
              </c:ext>
            </c:extLst>
          </c:dPt>
          <c:dPt>
            <c:idx val="3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5-82FC-421B-A80E-67ACC5454550}"/>
              </c:ext>
            </c:extLst>
          </c:dPt>
          <c:dPt>
            <c:idx val="3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6-82FC-421B-A80E-67ACC5454550}"/>
              </c:ext>
            </c:extLst>
          </c:dPt>
          <c:dPt>
            <c:idx val="3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7-82FC-421B-A80E-67ACC5454550}"/>
              </c:ext>
            </c:extLst>
          </c:dPt>
          <c:dPt>
            <c:idx val="3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8-82FC-421B-A80E-67ACC5454550}"/>
              </c:ext>
            </c:extLst>
          </c:dPt>
          <c:dPt>
            <c:idx val="3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9-82FC-421B-A80E-67ACC5454550}"/>
              </c:ext>
            </c:extLst>
          </c:dPt>
          <c:dPt>
            <c:idx val="3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A-82FC-421B-A80E-67ACC5454550}"/>
              </c:ext>
            </c:extLst>
          </c:dPt>
          <c:dPt>
            <c:idx val="3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B-82FC-421B-A80E-67ACC5454550}"/>
              </c:ext>
            </c:extLst>
          </c:dPt>
          <c:dPt>
            <c:idx val="3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C-82FC-421B-A80E-67ACC5454550}"/>
              </c:ext>
            </c:extLst>
          </c:dPt>
          <c:dPt>
            <c:idx val="3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D-82FC-421B-A80E-67ACC5454550}"/>
              </c:ext>
            </c:extLst>
          </c:dPt>
          <c:dPt>
            <c:idx val="3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E-82FC-421B-A80E-67ACC5454550}"/>
              </c:ext>
            </c:extLst>
          </c:dPt>
          <c:dPt>
            <c:idx val="3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BF-82FC-421B-A80E-67ACC5454550}"/>
              </c:ext>
            </c:extLst>
          </c:dPt>
          <c:dPt>
            <c:idx val="3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0-82FC-421B-A80E-67ACC5454550}"/>
              </c:ext>
            </c:extLst>
          </c:dPt>
          <c:dPt>
            <c:idx val="3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1-82FC-421B-A80E-67ACC5454550}"/>
              </c:ext>
            </c:extLst>
          </c:dPt>
          <c:dPt>
            <c:idx val="3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2-82FC-421B-A80E-67ACC5454550}"/>
              </c:ext>
            </c:extLst>
          </c:dPt>
          <c:dPt>
            <c:idx val="3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3-82FC-421B-A80E-67ACC5454550}"/>
              </c:ext>
            </c:extLst>
          </c:dPt>
          <c:dPt>
            <c:idx val="3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4-82FC-421B-A80E-67ACC5454550}"/>
              </c:ext>
            </c:extLst>
          </c:dPt>
          <c:dPt>
            <c:idx val="3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5-82FC-421B-A80E-67ACC5454550}"/>
              </c:ext>
            </c:extLst>
          </c:dPt>
          <c:dPt>
            <c:idx val="3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6-82FC-421B-A80E-67ACC5454550}"/>
              </c:ext>
            </c:extLst>
          </c:dPt>
          <c:dPt>
            <c:idx val="3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7-82FC-421B-A80E-67ACC5454550}"/>
              </c:ext>
            </c:extLst>
          </c:dPt>
          <c:dPt>
            <c:idx val="3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8-82FC-421B-A80E-67ACC5454550}"/>
              </c:ext>
            </c:extLst>
          </c:dPt>
          <c:dPt>
            <c:idx val="3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9-82FC-421B-A80E-67ACC5454550}"/>
              </c:ext>
            </c:extLst>
          </c:dPt>
          <c:dPt>
            <c:idx val="3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A-82FC-421B-A80E-67ACC5454550}"/>
              </c:ext>
            </c:extLst>
          </c:dPt>
          <c:dPt>
            <c:idx val="3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B-82FC-421B-A80E-67ACC5454550}"/>
              </c:ext>
            </c:extLst>
          </c:dPt>
          <c:dPt>
            <c:idx val="3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C-82FC-421B-A80E-67ACC5454550}"/>
              </c:ext>
            </c:extLst>
          </c:dPt>
          <c:dPt>
            <c:idx val="3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D-82FC-421B-A80E-67ACC5454550}"/>
              </c:ext>
            </c:extLst>
          </c:dPt>
          <c:dPt>
            <c:idx val="3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E-82FC-421B-A80E-67ACC5454550}"/>
              </c:ext>
            </c:extLst>
          </c:dPt>
          <c:dPt>
            <c:idx val="3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CF-82FC-421B-A80E-67ACC5454550}"/>
              </c:ext>
            </c:extLst>
          </c:dPt>
          <c:dPt>
            <c:idx val="3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0-82FC-421B-A80E-67ACC5454550}"/>
              </c:ext>
            </c:extLst>
          </c:dPt>
          <c:dPt>
            <c:idx val="3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1-82FC-421B-A80E-67ACC5454550}"/>
              </c:ext>
            </c:extLst>
          </c:dPt>
          <c:dPt>
            <c:idx val="3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2-82FC-421B-A80E-67ACC5454550}"/>
              </c:ext>
            </c:extLst>
          </c:dPt>
          <c:dPt>
            <c:idx val="3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3-82FC-421B-A80E-67ACC5454550}"/>
              </c:ext>
            </c:extLst>
          </c:dPt>
          <c:dPt>
            <c:idx val="3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4-82FC-421B-A80E-67ACC5454550}"/>
              </c:ext>
            </c:extLst>
          </c:dPt>
          <c:dPt>
            <c:idx val="3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5-82FC-421B-A80E-67ACC5454550}"/>
              </c:ext>
            </c:extLst>
          </c:dPt>
          <c:dPt>
            <c:idx val="3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6-82FC-421B-A80E-67ACC5454550}"/>
              </c:ext>
            </c:extLst>
          </c:dPt>
          <c:dPt>
            <c:idx val="3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7-82FC-421B-A80E-67ACC5454550}"/>
              </c:ext>
            </c:extLst>
          </c:dPt>
          <c:dPt>
            <c:idx val="3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8-82FC-421B-A80E-67ACC5454550}"/>
              </c:ext>
            </c:extLst>
          </c:dPt>
          <c:dPt>
            <c:idx val="3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9-82FC-421B-A80E-67ACC5454550}"/>
              </c:ext>
            </c:extLst>
          </c:dPt>
          <c:dPt>
            <c:idx val="3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A-82FC-421B-A80E-67ACC5454550}"/>
              </c:ext>
            </c:extLst>
          </c:dPt>
          <c:dPt>
            <c:idx val="3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B-82FC-421B-A80E-67ACC5454550}"/>
              </c:ext>
            </c:extLst>
          </c:dPt>
          <c:dPt>
            <c:idx val="3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C-82FC-421B-A80E-67ACC5454550}"/>
              </c:ext>
            </c:extLst>
          </c:dPt>
          <c:dPt>
            <c:idx val="3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D-82FC-421B-A80E-67ACC5454550}"/>
              </c:ext>
            </c:extLst>
          </c:dPt>
          <c:dPt>
            <c:idx val="3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E-82FC-421B-A80E-67ACC5454550}"/>
              </c:ext>
            </c:extLst>
          </c:dPt>
          <c:dPt>
            <c:idx val="3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DF-82FC-421B-A80E-67ACC5454550}"/>
              </c:ext>
            </c:extLst>
          </c:dPt>
          <c:dPt>
            <c:idx val="3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0-82FC-421B-A80E-67ACC5454550}"/>
              </c:ext>
            </c:extLst>
          </c:dPt>
          <c:dPt>
            <c:idx val="3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1-82FC-421B-A80E-67ACC5454550}"/>
              </c:ext>
            </c:extLst>
          </c:dPt>
          <c:dPt>
            <c:idx val="3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2-82FC-421B-A80E-67ACC5454550}"/>
              </c:ext>
            </c:extLst>
          </c:dPt>
          <c:dPt>
            <c:idx val="3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3-82FC-421B-A80E-67ACC5454550}"/>
              </c:ext>
            </c:extLst>
          </c:dPt>
          <c:dPt>
            <c:idx val="3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4-82FC-421B-A80E-67ACC5454550}"/>
              </c:ext>
            </c:extLst>
          </c:dPt>
          <c:dPt>
            <c:idx val="3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5-82FC-421B-A80E-67ACC5454550}"/>
              </c:ext>
            </c:extLst>
          </c:dPt>
          <c:dPt>
            <c:idx val="3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6-82FC-421B-A80E-67ACC5454550}"/>
              </c:ext>
            </c:extLst>
          </c:dPt>
          <c:dPt>
            <c:idx val="3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7-82FC-421B-A80E-67ACC5454550}"/>
              </c:ext>
            </c:extLst>
          </c:dPt>
          <c:dPt>
            <c:idx val="3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8-82FC-421B-A80E-67ACC5454550}"/>
              </c:ext>
            </c:extLst>
          </c:dPt>
          <c:dPt>
            <c:idx val="3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9-82FC-421B-A80E-67ACC5454550}"/>
              </c:ext>
            </c:extLst>
          </c:dPt>
          <c:dPt>
            <c:idx val="3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A-82FC-421B-A80E-67ACC5454550}"/>
              </c:ext>
            </c:extLst>
          </c:dPt>
          <c:dPt>
            <c:idx val="3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B-82FC-421B-A80E-67ACC5454550}"/>
              </c:ext>
            </c:extLst>
          </c:dPt>
          <c:dPt>
            <c:idx val="3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C-82FC-421B-A80E-67ACC5454550}"/>
              </c:ext>
            </c:extLst>
          </c:dPt>
          <c:dPt>
            <c:idx val="3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D-82FC-421B-A80E-67ACC5454550}"/>
              </c:ext>
            </c:extLst>
          </c:dPt>
          <c:dPt>
            <c:idx val="3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E-82FC-421B-A80E-67ACC5454550}"/>
              </c:ext>
            </c:extLst>
          </c:dPt>
          <c:dPt>
            <c:idx val="3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EF-82FC-421B-A80E-67ACC5454550}"/>
              </c:ext>
            </c:extLst>
          </c:dPt>
          <c:dPt>
            <c:idx val="3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0-82FC-421B-A80E-67ACC5454550}"/>
              </c:ext>
            </c:extLst>
          </c:dPt>
          <c:dPt>
            <c:idx val="3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1-82FC-421B-A80E-67ACC5454550}"/>
              </c:ext>
            </c:extLst>
          </c:dPt>
          <c:dPt>
            <c:idx val="3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2-82FC-421B-A80E-67ACC5454550}"/>
              </c:ext>
            </c:extLst>
          </c:dPt>
          <c:dPt>
            <c:idx val="3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3-82FC-421B-A80E-67ACC5454550}"/>
              </c:ext>
            </c:extLst>
          </c:dPt>
          <c:dPt>
            <c:idx val="3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4-82FC-421B-A80E-67ACC5454550}"/>
              </c:ext>
            </c:extLst>
          </c:dPt>
          <c:dPt>
            <c:idx val="3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5-82FC-421B-A80E-67ACC5454550}"/>
              </c:ext>
            </c:extLst>
          </c:dPt>
          <c:dPt>
            <c:idx val="3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6-82FC-421B-A80E-67ACC5454550}"/>
              </c:ext>
            </c:extLst>
          </c:dPt>
          <c:dPt>
            <c:idx val="3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7-82FC-421B-A80E-67ACC5454550}"/>
              </c:ext>
            </c:extLst>
          </c:dPt>
          <c:dPt>
            <c:idx val="3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8-82FC-421B-A80E-67ACC5454550}"/>
              </c:ext>
            </c:extLst>
          </c:dPt>
          <c:dPt>
            <c:idx val="3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9-82FC-421B-A80E-67ACC5454550}"/>
              </c:ext>
            </c:extLst>
          </c:dPt>
          <c:dPt>
            <c:idx val="3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A-82FC-421B-A80E-67ACC5454550}"/>
              </c:ext>
            </c:extLst>
          </c:dPt>
          <c:dPt>
            <c:idx val="3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B-82FC-421B-A80E-67ACC5454550}"/>
              </c:ext>
            </c:extLst>
          </c:dPt>
          <c:dPt>
            <c:idx val="3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C-82FC-421B-A80E-67ACC5454550}"/>
              </c:ext>
            </c:extLst>
          </c:dPt>
          <c:dPt>
            <c:idx val="3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D-82FC-421B-A80E-67ACC5454550}"/>
              </c:ext>
            </c:extLst>
          </c:dPt>
          <c:dPt>
            <c:idx val="3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E-82FC-421B-A80E-67ACC5454550}"/>
              </c:ext>
            </c:extLst>
          </c:dPt>
          <c:dPt>
            <c:idx val="3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BFF-82FC-421B-A80E-67ACC5454550}"/>
              </c:ext>
            </c:extLst>
          </c:dPt>
          <c:dPt>
            <c:idx val="3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0-82FC-421B-A80E-67ACC5454550}"/>
              </c:ext>
            </c:extLst>
          </c:dPt>
          <c:dPt>
            <c:idx val="3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1-82FC-421B-A80E-67ACC5454550}"/>
              </c:ext>
            </c:extLst>
          </c:dPt>
          <c:dPt>
            <c:idx val="3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2-82FC-421B-A80E-67ACC5454550}"/>
              </c:ext>
            </c:extLst>
          </c:dPt>
          <c:dPt>
            <c:idx val="3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3-82FC-421B-A80E-67ACC5454550}"/>
              </c:ext>
            </c:extLst>
          </c:dPt>
          <c:dPt>
            <c:idx val="3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4-82FC-421B-A80E-67ACC5454550}"/>
              </c:ext>
            </c:extLst>
          </c:dPt>
          <c:dPt>
            <c:idx val="3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5-82FC-421B-A80E-67ACC5454550}"/>
              </c:ext>
            </c:extLst>
          </c:dPt>
          <c:dPt>
            <c:idx val="4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6-82FC-421B-A80E-67ACC5454550}"/>
              </c:ext>
            </c:extLst>
          </c:dPt>
          <c:dPt>
            <c:idx val="4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7-82FC-421B-A80E-67ACC5454550}"/>
              </c:ext>
            </c:extLst>
          </c:dPt>
          <c:dPt>
            <c:idx val="4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8-82FC-421B-A80E-67ACC5454550}"/>
              </c:ext>
            </c:extLst>
          </c:dPt>
          <c:dPt>
            <c:idx val="4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9-82FC-421B-A80E-67ACC5454550}"/>
              </c:ext>
            </c:extLst>
          </c:dPt>
          <c:dPt>
            <c:idx val="4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A-82FC-421B-A80E-67ACC5454550}"/>
              </c:ext>
            </c:extLst>
          </c:dPt>
          <c:dPt>
            <c:idx val="4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B-82FC-421B-A80E-67ACC5454550}"/>
              </c:ext>
            </c:extLst>
          </c:dPt>
          <c:dPt>
            <c:idx val="4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C-82FC-421B-A80E-67ACC5454550}"/>
              </c:ext>
            </c:extLst>
          </c:dPt>
          <c:dPt>
            <c:idx val="4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D-82FC-421B-A80E-67ACC5454550}"/>
              </c:ext>
            </c:extLst>
          </c:dPt>
          <c:dPt>
            <c:idx val="4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E-82FC-421B-A80E-67ACC5454550}"/>
              </c:ext>
            </c:extLst>
          </c:dPt>
          <c:dPt>
            <c:idx val="4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0F-82FC-421B-A80E-67ACC5454550}"/>
              </c:ext>
            </c:extLst>
          </c:dPt>
          <c:dPt>
            <c:idx val="4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0-82FC-421B-A80E-67ACC5454550}"/>
              </c:ext>
            </c:extLst>
          </c:dPt>
          <c:dPt>
            <c:idx val="4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1-82FC-421B-A80E-67ACC5454550}"/>
              </c:ext>
            </c:extLst>
          </c:dPt>
          <c:dPt>
            <c:idx val="4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2-82FC-421B-A80E-67ACC5454550}"/>
              </c:ext>
            </c:extLst>
          </c:dPt>
          <c:dPt>
            <c:idx val="4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3-82FC-421B-A80E-67ACC5454550}"/>
              </c:ext>
            </c:extLst>
          </c:dPt>
          <c:dPt>
            <c:idx val="4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4-82FC-421B-A80E-67ACC5454550}"/>
              </c:ext>
            </c:extLst>
          </c:dPt>
          <c:dPt>
            <c:idx val="4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5-82FC-421B-A80E-67ACC5454550}"/>
              </c:ext>
            </c:extLst>
          </c:dPt>
          <c:dPt>
            <c:idx val="4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6-82FC-421B-A80E-67ACC5454550}"/>
              </c:ext>
            </c:extLst>
          </c:dPt>
          <c:dPt>
            <c:idx val="4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7-82FC-421B-A80E-67ACC5454550}"/>
              </c:ext>
            </c:extLst>
          </c:dPt>
          <c:dPt>
            <c:idx val="4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8-82FC-421B-A80E-67ACC5454550}"/>
              </c:ext>
            </c:extLst>
          </c:dPt>
          <c:dPt>
            <c:idx val="4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9-82FC-421B-A80E-67ACC5454550}"/>
              </c:ext>
            </c:extLst>
          </c:dPt>
          <c:dPt>
            <c:idx val="4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A-82FC-421B-A80E-67ACC5454550}"/>
              </c:ext>
            </c:extLst>
          </c:dPt>
          <c:dPt>
            <c:idx val="4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B-82FC-421B-A80E-67ACC5454550}"/>
              </c:ext>
            </c:extLst>
          </c:dPt>
          <c:dPt>
            <c:idx val="4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C-82FC-421B-A80E-67ACC5454550}"/>
              </c:ext>
            </c:extLst>
          </c:dPt>
          <c:dPt>
            <c:idx val="4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D-82FC-421B-A80E-67ACC5454550}"/>
              </c:ext>
            </c:extLst>
          </c:dPt>
          <c:dPt>
            <c:idx val="4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E-82FC-421B-A80E-67ACC5454550}"/>
              </c:ext>
            </c:extLst>
          </c:dPt>
          <c:dPt>
            <c:idx val="4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1F-82FC-421B-A80E-67ACC5454550}"/>
              </c:ext>
            </c:extLst>
          </c:dPt>
          <c:dPt>
            <c:idx val="4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0-82FC-421B-A80E-67ACC5454550}"/>
              </c:ext>
            </c:extLst>
          </c:dPt>
          <c:dPt>
            <c:idx val="4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1-82FC-421B-A80E-67ACC5454550}"/>
              </c:ext>
            </c:extLst>
          </c:dPt>
          <c:dPt>
            <c:idx val="4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2-82FC-421B-A80E-67ACC5454550}"/>
              </c:ext>
            </c:extLst>
          </c:dPt>
          <c:dPt>
            <c:idx val="4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3-82FC-421B-A80E-67ACC5454550}"/>
              </c:ext>
            </c:extLst>
          </c:dPt>
          <c:dPt>
            <c:idx val="4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4-82FC-421B-A80E-67ACC5454550}"/>
              </c:ext>
            </c:extLst>
          </c:dPt>
          <c:dPt>
            <c:idx val="4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5-82FC-421B-A80E-67ACC5454550}"/>
              </c:ext>
            </c:extLst>
          </c:dPt>
          <c:dPt>
            <c:idx val="4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6-82FC-421B-A80E-67ACC5454550}"/>
              </c:ext>
            </c:extLst>
          </c:dPt>
          <c:dPt>
            <c:idx val="4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7-82FC-421B-A80E-67ACC5454550}"/>
              </c:ext>
            </c:extLst>
          </c:dPt>
          <c:dPt>
            <c:idx val="4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8-82FC-421B-A80E-67ACC5454550}"/>
              </c:ext>
            </c:extLst>
          </c:dPt>
          <c:dPt>
            <c:idx val="4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9-82FC-421B-A80E-67ACC5454550}"/>
              </c:ext>
            </c:extLst>
          </c:dPt>
          <c:dPt>
            <c:idx val="4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A-82FC-421B-A80E-67ACC5454550}"/>
              </c:ext>
            </c:extLst>
          </c:dPt>
          <c:dPt>
            <c:idx val="4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B-82FC-421B-A80E-67ACC5454550}"/>
              </c:ext>
            </c:extLst>
          </c:dPt>
          <c:dPt>
            <c:idx val="4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C-82FC-421B-A80E-67ACC5454550}"/>
              </c:ext>
            </c:extLst>
          </c:dPt>
          <c:dPt>
            <c:idx val="4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D-82FC-421B-A80E-67ACC5454550}"/>
              </c:ext>
            </c:extLst>
          </c:dPt>
          <c:dPt>
            <c:idx val="4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E-82FC-421B-A80E-67ACC5454550}"/>
              </c:ext>
            </c:extLst>
          </c:dPt>
          <c:dPt>
            <c:idx val="4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2F-82FC-421B-A80E-67ACC5454550}"/>
              </c:ext>
            </c:extLst>
          </c:dPt>
          <c:dPt>
            <c:idx val="4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0-82FC-421B-A80E-67ACC5454550}"/>
              </c:ext>
            </c:extLst>
          </c:dPt>
          <c:dPt>
            <c:idx val="4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1-82FC-421B-A80E-67ACC5454550}"/>
              </c:ext>
            </c:extLst>
          </c:dPt>
          <c:dPt>
            <c:idx val="4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2-82FC-421B-A80E-67ACC5454550}"/>
              </c:ext>
            </c:extLst>
          </c:dPt>
          <c:dPt>
            <c:idx val="4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3-82FC-421B-A80E-67ACC5454550}"/>
              </c:ext>
            </c:extLst>
          </c:dPt>
          <c:dPt>
            <c:idx val="4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4-82FC-421B-A80E-67ACC5454550}"/>
              </c:ext>
            </c:extLst>
          </c:dPt>
          <c:dPt>
            <c:idx val="4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5-82FC-421B-A80E-67ACC5454550}"/>
              </c:ext>
            </c:extLst>
          </c:dPt>
          <c:dPt>
            <c:idx val="4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6-82FC-421B-A80E-67ACC5454550}"/>
              </c:ext>
            </c:extLst>
          </c:dPt>
          <c:dPt>
            <c:idx val="4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7-82FC-421B-A80E-67ACC5454550}"/>
              </c:ext>
            </c:extLst>
          </c:dPt>
          <c:dPt>
            <c:idx val="4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8-82FC-421B-A80E-67ACC5454550}"/>
              </c:ext>
            </c:extLst>
          </c:dPt>
          <c:dPt>
            <c:idx val="4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9-82FC-421B-A80E-67ACC5454550}"/>
              </c:ext>
            </c:extLst>
          </c:dPt>
          <c:dPt>
            <c:idx val="4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A-82FC-421B-A80E-67ACC5454550}"/>
              </c:ext>
            </c:extLst>
          </c:dPt>
          <c:dPt>
            <c:idx val="4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B-82FC-421B-A80E-67ACC5454550}"/>
              </c:ext>
            </c:extLst>
          </c:dPt>
          <c:dPt>
            <c:idx val="4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C-82FC-421B-A80E-67ACC5454550}"/>
              </c:ext>
            </c:extLst>
          </c:dPt>
          <c:dPt>
            <c:idx val="4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D-82FC-421B-A80E-67ACC5454550}"/>
              </c:ext>
            </c:extLst>
          </c:dPt>
          <c:dPt>
            <c:idx val="4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E-82FC-421B-A80E-67ACC5454550}"/>
              </c:ext>
            </c:extLst>
          </c:dPt>
          <c:dPt>
            <c:idx val="4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3F-82FC-421B-A80E-67ACC5454550}"/>
              </c:ext>
            </c:extLst>
          </c:dPt>
          <c:dPt>
            <c:idx val="4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0-82FC-421B-A80E-67ACC5454550}"/>
              </c:ext>
            </c:extLst>
          </c:dPt>
          <c:dPt>
            <c:idx val="4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1-82FC-421B-A80E-67ACC5454550}"/>
              </c:ext>
            </c:extLst>
          </c:dPt>
          <c:dPt>
            <c:idx val="4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2-82FC-421B-A80E-67ACC5454550}"/>
              </c:ext>
            </c:extLst>
          </c:dPt>
          <c:dPt>
            <c:idx val="4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3-82FC-421B-A80E-67ACC5454550}"/>
              </c:ext>
            </c:extLst>
          </c:dPt>
          <c:dPt>
            <c:idx val="4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4-82FC-421B-A80E-67ACC5454550}"/>
              </c:ext>
            </c:extLst>
          </c:dPt>
          <c:dPt>
            <c:idx val="4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5-82FC-421B-A80E-67ACC5454550}"/>
              </c:ext>
            </c:extLst>
          </c:dPt>
          <c:dPt>
            <c:idx val="4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6-82FC-421B-A80E-67ACC5454550}"/>
              </c:ext>
            </c:extLst>
          </c:dPt>
          <c:dPt>
            <c:idx val="4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7-82FC-421B-A80E-67ACC5454550}"/>
              </c:ext>
            </c:extLst>
          </c:dPt>
          <c:dPt>
            <c:idx val="4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8-82FC-421B-A80E-67ACC5454550}"/>
              </c:ext>
            </c:extLst>
          </c:dPt>
          <c:dPt>
            <c:idx val="4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9-82FC-421B-A80E-67ACC5454550}"/>
              </c:ext>
            </c:extLst>
          </c:dPt>
          <c:dPt>
            <c:idx val="4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A-82FC-421B-A80E-67ACC5454550}"/>
              </c:ext>
            </c:extLst>
          </c:dPt>
          <c:dPt>
            <c:idx val="4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B-82FC-421B-A80E-67ACC5454550}"/>
              </c:ext>
            </c:extLst>
          </c:dPt>
          <c:dPt>
            <c:idx val="4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C-82FC-421B-A80E-67ACC5454550}"/>
              </c:ext>
            </c:extLst>
          </c:dPt>
          <c:dPt>
            <c:idx val="4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D-82FC-421B-A80E-67ACC5454550}"/>
              </c:ext>
            </c:extLst>
          </c:dPt>
          <c:dPt>
            <c:idx val="4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E-82FC-421B-A80E-67ACC5454550}"/>
              </c:ext>
            </c:extLst>
          </c:dPt>
          <c:dPt>
            <c:idx val="4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4F-82FC-421B-A80E-67ACC5454550}"/>
              </c:ext>
            </c:extLst>
          </c:dPt>
          <c:dPt>
            <c:idx val="4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0-82FC-421B-A80E-67ACC5454550}"/>
              </c:ext>
            </c:extLst>
          </c:dPt>
          <c:dPt>
            <c:idx val="4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1-82FC-421B-A80E-67ACC5454550}"/>
              </c:ext>
            </c:extLst>
          </c:dPt>
          <c:dPt>
            <c:idx val="4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2-82FC-421B-A80E-67ACC5454550}"/>
              </c:ext>
            </c:extLst>
          </c:dPt>
          <c:dPt>
            <c:idx val="4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3-82FC-421B-A80E-67ACC5454550}"/>
              </c:ext>
            </c:extLst>
          </c:dPt>
          <c:dPt>
            <c:idx val="4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4-82FC-421B-A80E-67ACC5454550}"/>
              </c:ext>
            </c:extLst>
          </c:dPt>
          <c:dPt>
            <c:idx val="4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5-82FC-421B-A80E-67ACC5454550}"/>
              </c:ext>
            </c:extLst>
          </c:dPt>
          <c:dPt>
            <c:idx val="4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6-82FC-421B-A80E-67ACC5454550}"/>
              </c:ext>
            </c:extLst>
          </c:dPt>
          <c:dPt>
            <c:idx val="4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7-82FC-421B-A80E-67ACC5454550}"/>
              </c:ext>
            </c:extLst>
          </c:dPt>
          <c:dPt>
            <c:idx val="4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8-82FC-421B-A80E-67ACC5454550}"/>
              </c:ext>
            </c:extLst>
          </c:dPt>
          <c:dPt>
            <c:idx val="4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9-82FC-421B-A80E-67ACC5454550}"/>
              </c:ext>
            </c:extLst>
          </c:dPt>
          <c:dPt>
            <c:idx val="4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A-82FC-421B-A80E-67ACC5454550}"/>
              </c:ext>
            </c:extLst>
          </c:dPt>
          <c:dPt>
            <c:idx val="4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B-82FC-421B-A80E-67ACC5454550}"/>
              </c:ext>
            </c:extLst>
          </c:dPt>
          <c:dPt>
            <c:idx val="4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C-82FC-421B-A80E-67ACC5454550}"/>
              </c:ext>
            </c:extLst>
          </c:dPt>
          <c:dPt>
            <c:idx val="4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D-82FC-421B-A80E-67ACC5454550}"/>
              </c:ext>
            </c:extLst>
          </c:dPt>
          <c:dPt>
            <c:idx val="4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E-82FC-421B-A80E-67ACC5454550}"/>
              </c:ext>
            </c:extLst>
          </c:dPt>
          <c:dPt>
            <c:idx val="4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5F-82FC-421B-A80E-67ACC5454550}"/>
              </c:ext>
            </c:extLst>
          </c:dPt>
          <c:dPt>
            <c:idx val="4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0-82FC-421B-A80E-67ACC5454550}"/>
              </c:ext>
            </c:extLst>
          </c:dPt>
          <c:dPt>
            <c:idx val="4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1-82FC-421B-A80E-67ACC5454550}"/>
              </c:ext>
            </c:extLst>
          </c:dPt>
          <c:dPt>
            <c:idx val="4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2-82FC-421B-A80E-67ACC5454550}"/>
              </c:ext>
            </c:extLst>
          </c:dPt>
          <c:dPt>
            <c:idx val="4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3-82FC-421B-A80E-67ACC5454550}"/>
              </c:ext>
            </c:extLst>
          </c:dPt>
          <c:dPt>
            <c:idx val="4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4-82FC-421B-A80E-67ACC5454550}"/>
              </c:ext>
            </c:extLst>
          </c:dPt>
          <c:dPt>
            <c:idx val="4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5-82FC-421B-A80E-67ACC5454550}"/>
              </c:ext>
            </c:extLst>
          </c:dPt>
          <c:dPt>
            <c:idx val="4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6-82FC-421B-A80E-67ACC5454550}"/>
              </c:ext>
            </c:extLst>
          </c:dPt>
          <c:dPt>
            <c:idx val="4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7-82FC-421B-A80E-67ACC5454550}"/>
              </c:ext>
            </c:extLst>
          </c:dPt>
          <c:dPt>
            <c:idx val="4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8-82FC-421B-A80E-67ACC5454550}"/>
              </c:ext>
            </c:extLst>
          </c:dPt>
          <c:dPt>
            <c:idx val="4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9-82FC-421B-A80E-67ACC5454550}"/>
              </c:ext>
            </c:extLst>
          </c:dPt>
          <c:dPt>
            <c:idx val="5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A-82FC-421B-A80E-67ACC5454550}"/>
              </c:ext>
            </c:extLst>
          </c:dPt>
          <c:dPt>
            <c:idx val="5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B-82FC-421B-A80E-67ACC5454550}"/>
              </c:ext>
            </c:extLst>
          </c:dPt>
          <c:dPt>
            <c:idx val="5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C-82FC-421B-A80E-67ACC5454550}"/>
              </c:ext>
            </c:extLst>
          </c:dPt>
          <c:dPt>
            <c:idx val="5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D-82FC-421B-A80E-67ACC5454550}"/>
              </c:ext>
            </c:extLst>
          </c:dPt>
          <c:dPt>
            <c:idx val="5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E-82FC-421B-A80E-67ACC5454550}"/>
              </c:ext>
            </c:extLst>
          </c:dPt>
          <c:dPt>
            <c:idx val="5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6F-82FC-421B-A80E-67ACC5454550}"/>
              </c:ext>
            </c:extLst>
          </c:dPt>
          <c:dPt>
            <c:idx val="5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0-82FC-421B-A80E-67ACC5454550}"/>
              </c:ext>
            </c:extLst>
          </c:dPt>
          <c:dPt>
            <c:idx val="5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1-82FC-421B-A80E-67ACC5454550}"/>
              </c:ext>
            </c:extLst>
          </c:dPt>
          <c:dPt>
            <c:idx val="5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2-82FC-421B-A80E-67ACC5454550}"/>
              </c:ext>
            </c:extLst>
          </c:dPt>
          <c:dPt>
            <c:idx val="5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3-82FC-421B-A80E-67ACC5454550}"/>
              </c:ext>
            </c:extLst>
          </c:dPt>
          <c:dPt>
            <c:idx val="5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4-82FC-421B-A80E-67ACC5454550}"/>
              </c:ext>
            </c:extLst>
          </c:dPt>
          <c:dPt>
            <c:idx val="5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5-82FC-421B-A80E-67ACC5454550}"/>
              </c:ext>
            </c:extLst>
          </c:dPt>
          <c:dPt>
            <c:idx val="5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6-82FC-421B-A80E-67ACC5454550}"/>
              </c:ext>
            </c:extLst>
          </c:dPt>
          <c:dPt>
            <c:idx val="5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7-82FC-421B-A80E-67ACC5454550}"/>
              </c:ext>
            </c:extLst>
          </c:dPt>
          <c:dPt>
            <c:idx val="5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8-82FC-421B-A80E-67ACC5454550}"/>
              </c:ext>
            </c:extLst>
          </c:dPt>
          <c:dPt>
            <c:idx val="5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9-82FC-421B-A80E-67ACC5454550}"/>
              </c:ext>
            </c:extLst>
          </c:dPt>
          <c:dPt>
            <c:idx val="5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A-82FC-421B-A80E-67ACC5454550}"/>
              </c:ext>
            </c:extLst>
          </c:dPt>
          <c:dPt>
            <c:idx val="5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B-82FC-421B-A80E-67ACC5454550}"/>
              </c:ext>
            </c:extLst>
          </c:dPt>
          <c:dPt>
            <c:idx val="5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C-82FC-421B-A80E-67ACC5454550}"/>
              </c:ext>
            </c:extLst>
          </c:dPt>
          <c:dPt>
            <c:idx val="5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D-82FC-421B-A80E-67ACC5454550}"/>
              </c:ext>
            </c:extLst>
          </c:dPt>
          <c:dPt>
            <c:idx val="5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E-82FC-421B-A80E-67ACC5454550}"/>
              </c:ext>
            </c:extLst>
          </c:dPt>
          <c:dPt>
            <c:idx val="5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7F-82FC-421B-A80E-67ACC5454550}"/>
              </c:ext>
            </c:extLst>
          </c:dPt>
          <c:dPt>
            <c:idx val="5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0-82FC-421B-A80E-67ACC5454550}"/>
              </c:ext>
            </c:extLst>
          </c:dPt>
          <c:dPt>
            <c:idx val="5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1-82FC-421B-A80E-67ACC5454550}"/>
              </c:ext>
            </c:extLst>
          </c:dPt>
          <c:dPt>
            <c:idx val="5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2-82FC-421B-A80E-67ACC5454550}"/>
              </c:ext>
            </c:extLst>
          </c:dPt>
          <c:dPt>
            <c:idx val="5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3-82FC-421B-A80E-67ACC5454550}"/>
              </c:ext>
            </c:extLst>
          </c:dPt>
          <c:dPt>
            <c:idx val="5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4-82FC-421B-A80E-67ACC5454550}"/>
              </c:ext>
            </c:extLst>
          </c:dPt>
          <c:dPt>
            <c:idx val="5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5-82FC-421B-A80E-67ACC5454550}"/>
              </c:ext>
            </c:extLst>
          </c:dPt>
          <c:dPt>
            <c:idx val="5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6-82FC-421B-A80E-67ACC5454550}"/>
              </c:ext>
            </c:extLst>
          </c:dPt>
          <c:dPt>
            <c:idx val="5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7-82FC-421B-A80E-67ACC5454550}"/>
              </c:ext>
            </c:extLst>
          </c:dPt>
          <c:dPt>
            <c:idx val="5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8-82FC-421B-A80E-67ACC5454550}"/>
              </c:ext>
            </c:extLst>
          </c:dPt>
          <c:dPt>
            <c:idx val="5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9-82FC-421B-A80E-67ACC5454550}"/>
              </c:ext>
            </c:extLst>
          </c:dPt>
          <c:dPt>
            <c:idx val="5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A-82FC-421B-A80E-67ACC5454550}"/>
              </c:ext>
            </c:extLst>
          </c:dPt>
          <c:dPt>
            <c:idx val="5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B-82FC-421B-A80E-67ACC5454550}"/>
              </c:ext>
            </c:extLst>
          </c:dPt>
          <c:dPt>
            <c:idx val="5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C-82FC-421B-A80E-67ACC5454550}"/>
              </c:ext>
            </c:extLst>
          </c:dPt>
          <c:dPt>
            <c:idx val="5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D-82FC-421B-A80E-67ACC5454550}"/>
              </c:ext>
            </c:extLst>
          </c:dPt>
          <c:dPt>
            <c:idx val="5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E-82FC-421B-A80E-67ACC5454550}"/>
              </c:ext>
            </c:extLst>
          </c:dPt>
          <c:dPt>
            <c:idx val="5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8F-82FC-421B-A80E-67ACC5454550}"/>
              </c:ext>
            </c:extLst>
          </c:dPt>
          <c:dPt>
            <c:idx val="5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0-82FC-421B-A80E-67ACC5454550}"/>
              </c:ext>
            </c:extLst>
          </c:dPt>
          <c:dPt>
            <c:idx val="5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1-82FC-421B-A80E-67ACC5454550}"/>
              </c:ext>
            </c:extLst>
          </c:dPt>
          <c:dPt>
            <c:idx val="5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2-82FC-421B-A80E-67ACC5454550}"/>
              </c:ext>
            </c:extLst>
          </c:dPt>
          <c:dPt>
            <c:idx val="5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3-82FC-421B-A80E-67ACC5454550}"/>
              </c:ext>
            </c:extLst>
          </c:dPt>
          <c:dPt>
            <c:idx val="5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4-82FC-421B-A80E-67ACC5454550}"/>
              </c:ext>
            </c:extLst>
          </c:dPt>
          <c:dPt>
            <c:idx val="5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5-82FC-421B-A80E-67ACC5454550}"/>
              </c:ext>
            </c:extLst>
          </c:dPt>
          <c:dPt>
            <c:idx val="5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6-82FC-421B-A80E-67ACC5454550}"/>
              </c:ext>
            </c:extLst>
          </c:dPt>
          <c:dPt>
            <c:idx val="5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7-82FC-421B-A80E-67ACC5454550}"/>
              </c:ext>
            </c:extLst>
          </c:dPt>
          <c:dPt>
            <c:idx val="5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8-82FC-421B-A80E-67ACC5454550}"/>
              </c:ext>
            </c:extLst>
          </c:dPt>
          <c:dPt>
            <c:idx val="5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9-82FC-421B-A80E-67ACC5454550}"/>
              </c:ext>
            </c:extLst>
          </c:dPt>
          <c:dPt>
            <c:idx val="5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A-82FC-421B-A80E-67ACC5454550}"/>
              </c:ext>
            </c:extLst>
          </c:dPt>
          <c:dPt>
            <c:idx val="5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B-82FC-421B-A80E-67ACC5454550}"/>
              </c:ext>
            </c:extLst>
          </c:dPt>
          <c:dPt>
            <c:idx val="5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C-82FC-421B-A80E-67ACC5454550}"/>
              </c:ext>
            </c:extLst>
          </c:dPt>
          <c:dPt>
            <c:idx val="5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D-82FC-421B-A80E-67ACC5454550}"/>
              </c:ext>
            </c:extLst>
          </c:dPt>
          <c:dPt>
            <c:idx val="5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E-82FC-421B-A80E-67ACC5454550}"/>
              </c:ext>
            </c:extLst>
          </c:dPt>
          <c:dPt>
            <c:idx val="5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9F-82FC-421B-A80E-67ACC5454550}"/>
              </c:ext>
            </c:extLst>
          </c:dPt>
          <c:dPt>
            <c:idx val="5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0-82FC-421B-A80E-67ACC5454550}"/>
              </c:ext>
            </c:extLst>
          </c:dPt>
          <c:dPt>
            <c:idx val="5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1-82FC-421B-A80E-67ACC5454550}"/>
              </c:ext>
            </c:extLst>
          </c:dPt>
          <c:dPt>
            <c:idx val="5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2-82FC-421B-A80E-67ACC5454550}"/>
              </c:ext>
            </c:extLst>
          </c:dPt>
          <c:dPt>
            <c:idx val="5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3-82FC-421B-A80E-67ACC5454550}"/>
              </c:ext>
            </c:extLst>
          </c:dPt>
          <c:dPt>
            <c:idx val="5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4-82FC-421B-A80E-67ACC5454550}"/>
              </c:ext>
            </c:extLst>
          </c:dPt>
          <c:dPt>
            <c:idx val="5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5-82FC-421B-A80E-67ACC5454550}"/>
              </c:ext>
            </c:extLst>
          </c:dPt>
          <c:dPt>
            <c:idx val="5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6-82FC-421B-A80E-67ACC5454550}"/>
              </c:ext>
            </c:extLst>
          </c:dPt>
          <c:dPt>
            <c:idx val="5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7-82FC-421B-A80E-67ACC5454550}"/>
              </c:ext>
            </c:extLst>
          </c:dPt>
          <c:dPt>
            <c:idx val="5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8-82FC-421B-A80E-67ACC5454550}"/>
              </c:ext>
            </c:extLst>
          </c:dPt>
          <c:dPt>
            <c:idx val="5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9-82FC-421B-A80E-67ACC5454550}"/>
              </c:ext>
            </c:extLst>
          </c:dPt>
          <c:dPt>
            <c:idx val="5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A-82FC-421B-A80E-67ACC5454550}"/>
              </c:ext>
            </c:extLst>
          </c:dPt>
          <c:dPt>
            <c:idx val="5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B-82FC-421B-A80E-67ACC5454550}"/>
              </c:ext>
            </c:extLst>
          </c:dPt>
          <c:dPt>
            <c:idx val="5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C-82FC-421B-A80E-67ACC5454550}"/>
              </c:ext>
            </c:extLst>
          </c:dPt>
          <c:dPt>
            <c:idx val="5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D-82FC-421B-A80E-67ACC5454550}"/>
              </c:ext>
            </c:extLst>
          </c:dPt>
          <c:dPt>
            <c:idx val="5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E-82FC-421B-A80E-67ACC5454550}"/>
              </c:ext>
            </c:extLst>
          </c:dPt>
          <c:dPt>
            <c:idx val="5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AF-82FC-421B-A80E-67ACC5454550}"/>
              </c:ext>
            </c:extLst>
          </c:dPt>
          <c:dPt>
            <c:idx val="5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0-82FC-421B-A80E-67ACC5454550}"/>
              </c:ext>
            </c:extLst>
          </c:dPt>
          <c:dPt>
            <c:idx val="5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1-82FC-421B-A80E-67ACC5454550}"/>
              </c:ext>
            </c:extLst>
          </c:dPt>
          <c:dPt>
            <c:idx val="5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2-82FC-421B-A80E-67ACC5454550}"/>
              </c:ext>
            </c:extLst>
          </c:dPt>
          <c:dPt>
            <c:idx val="5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3-82FC-421B-A80E-67ACC5454550}"/>
              </c:ext>
            </c:extLst>
          </c:dPt>
          <c:dPt>
            <c:idx val="5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4-82FC-421B-A80E-67ACC5454550}"/>
              </c:ext>
            </c:extLst>
          </c:dPt>
          <c:dPt>
            <c:idx val="5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5-82FC-421B-A80E-67ACC5454550}"/>
              </c:ext>
            </c:extLst>
          </c:dPt>
          <c:dPt>
            <c:idx val="5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6-82FC-421B-A80E-67ACC5454550}"/>
              </c:ext>
            </c:extLst>
          </c:dPt>
          <c:dPt>
            <c:idx val="5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7-82FC-421B-A80E-67ACC5454550}"/>
              </c:ext>
            </c:extLst>
          </c:dPt>
          <c:dPt>
            <c:idx val="5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8-82FC-421B-A80E-67ACC5454550}"/>
              </c:ext>
            </c:extLst>
          </c:dPt>
          <c:dPt>
            <c:idx val="5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9-82FC-421B-A80E-67ACC5454550}"/>
              </c:ext>
            </c:extLst>
          </c:dPt>
          <c:dPt>
            <c:idx val="5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A-82FC-421B-A80E-67ACC5454550}"/>
              </c:ext>
            </c:extLst>
          </c:dPt>
          <c:dPt>
            <c:idx val="5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B-82FC-421B-A80E-67ACC5454550}"/>
              </c:ext>
            </c:extLst>
          </c:dPt>
          <c:dPt>
            <c:idx val="5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C-82FC-421B-A80E-67ACC5454550}"/>
              </c:ext>
            </c:extLst>
          </c:dPt>
          <c:dPt>
            <c:idx val="5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D-82FC-421B-A80E-67ACC5454550}"/>
              </c:ext>
            </c:extLst>
          </c:dPt>
          <c:dPt>
            <c:idx val="5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E-82FC-421B-A80E-67ACC5454550}"/>
              </c:ext>
            </c:extLst>
          </c:dPt>
          <c:dPt>
            <c:idx val="5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BF-82FC-421B-A80E-67ACC5454550}"/>
              </c:ext>
            </c:extLst>
          </c:dPt>
          <c:dPt>
            <c:idx val="5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0-82FC-421B-A80E-67ACC5454550}"/>
              </c:ext>
            </c:extLst>
          </c:dPt>
          <c:dPt>
            <c:idx val="5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1-82FC-421B-A80E-67ACC5454550}"/>
              </c:ext>
            </c:extLst>
          </c:dPt>
          <c:dPt>
            <c:idx val="5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2-82FC-421B-A80E-67ACC5454550}"/>
              </c:ext>
            </c:extLst>
          </c:dPt>
          <c:dPt>
            <c:idx val="5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3-82FC-421B-A80E-67ACC5454550}"/>
              </c:ext>
            </c:extLst>
          </c:dPt>
          <c:dPt>
            <c:idx val="5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4-82FC-421B-A80E-67ACC5454550}"/>
              </c:ext>
            </c:extLst>
          </c:dPt>
          <c:dPt>
            <c:idx val="5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5-82FC-421B-A80E-67ACC5454550}"/>
              </c:ext>
            </c:extLst>
          </c:dPt>
          <c:dPt>
            <c:idx val="5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6-82FC-421B-A80E-67ACC5454550}"/>
              </c:ext>
            </c:extLst>
          </c:dPt>
          <c:dPt>
            <c:idx val="5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7-82FC-421B-A80E-67ACC5454550}"/>
              </c:ext>
            </c:extLst>
          </c:dPt>
          <c:dPt>
            <c:idx val="5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8-82FC-421B-A80E-67ACC5454550}"/>
              </c:ext>
            </c:extLst>
          </c:dPt>
          <c:dPt>
            <c:idx val="5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9-82FC-421B-A80E-67ACC5454550}"/>
              </c:ext>
            </c:extLst>
          </c:dPt>
          <c:dPt>
            <c:idx val="5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A-82FC-421B-A80E-67ACC5454550}"/>
              </c:ext>
            </c:extLst>
          </c:dPt>
          <c:dPt>
            <c:idx val="5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B-82FC-421B-A80E-67ACC5454550}"/>
              </c:ext>
            </c:extLst>
          </c:dPt>
          <c:dPt>
            <c:idx val="5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C-82FC-421B-A80E-67ACC5454550}"/>
              </c:ext>
            </c:extLst>
          </c:dPt>
          <c:dPt>
            <c:idx val="5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D-82FC-421B-A80E-67ACC5454550}"/>
              </c:ext>
            </c:extLst>
          </c:dPt>
          <c:dPt>
            <c:idx val="6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E-82FC-421B-A80E-67ACC5454550}"/>
              </c:ext>
            </c:extLst>
          </c:dPt>
          <c:dPt>
            <c:idx val="6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CF-82FC-421B-A80E-67ACC5454550}"/>
              </c:ext>
            </c:extLst>
          </c:dPt>
          <c:dPt>
            <c:idx val="6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0-82FC-421B-A80E-67ACC5454550}"/>
              </c:ext>
            </c:extLst>
          </c:dPt>
          <c:dPt>
            <c:idx val="6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1-82FC-421B-A80E-67ACC5454550}"/>
              </c:ext>
            </c:extLst>
          </c:dPt>
          <c:dPt>
            <c:idx val="6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2-82FC-421B-A80E-67ACC5454550}"/>
              </c:ext>
            </c:extLst>
          </c:dPt>
          <c:dPt>
            <c:idx val="6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3-82FC-421B-A80E-67ACC5454550}"/>
              </c:ext>
            </c:extLst>
          </c:dPt>
          <c:dPt>
            <c:idx val="6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4-82FC-421B-A80E-67ACC5454550}"/>
              </c:ext>
            </c:extLst>
          </c:dPt>
          <c:dPt>
            <c:idx val="6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5-82FC-421B-A80E-67ACC5454550}"/>
              </c:ext>
            </c:extLst>
          </c:dPt>
          <c:dPt>
            <c:idx val="6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6-82FC-421B-A80E-67ACC5454550}"/>
              </c:ext>
            </c:extLst>
          </c:dPt>
          <c:dPt>
            <c:idx val="6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7-82FC-421B-A80E-67ACC5454550}"/>
              </c:ext>
            </c:extLst>
          </c:dPt>
          <c:dPt>
            <c:idx val="6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8-82FC-421B-A80E-67ACC5454550}"/>
              </c:ext>
            </c:extLst>
          </c:dPt>
          <c:dPt>
            <c:idx val="6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9-82FC-421B-A80E-67ACC5454550}"/>
              </c:ext>
            </c:extLst>
          </c:dPt>
          <c:dPt>
            <c:idx val="6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A-82FC-421B-A80E-67ACC5454550}"/>
              </c:ext>
            </c:extLst>
          </c:dPt>
          <c:dPt>
            <c:idx val="6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B-82FC-421B-A80E-67ACC5454550}"/>
              </c:ext>
            </c:extLst>
          </c:dPt>
          <c:dPt>
            <c:idx val="6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C-82FC-421B-A80E-67ACC5454550}"/>
              </c:ext>
            </c:extLst>
          </c:dPt>
          <c:dPt>
            <c:idx val="6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D-82FC-421B-A80E-67ACC5454550}"/>
              </c:ext>
            </c:extLst>
          </c:dPt>
          <c:dPt>
            <c:idx val="6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E-82FC-421B-A80E-67ACC5454550}"/>
              </c:ext>
            </c:extLst>
          </c:dPt>
          <c:dPt>
            <c:idx val="6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DF-82FC-421B-A80E-67ACC5454550}"/>
              </c:ext>
            </c:extLst>
          </c:dPt>
          <c:dPt>
            <c:idx val="6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0-82FC-421B-A80E-67ACC5454550}"/>
              </c:ext>
            </c:extLst>
          </c:dPt>
          <c:dPt>
            <c:idx val="6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1-82FC-421B-A80E-67ACC5454550}"/>
              </c:ext>
            </c:extLst>
          </c:dPt>
          <c:dPt>
            <c:idx val="6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2-82FC-421B-A80E-67ACC5454550}"/>
              </c:ext>
            </c:extLst>
          </c:dPt>
          <c:dPt>
            <c:idx val="6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3-82FC-421B-A80E-67ACC5454550}"/>
              </c:ext>
            </c:extLst>
          </c:dPt>
          <c:dPt>
            <c:idx val="6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4-82FC-421B-A80E-67ACC5454550}"/>
              </c:ext>
            </c:extLst>
          </c:dPt>
          <c:dPt>
            <c:idx val="6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5-82FC-421B-A80E-67ACC5454550}"/>
              </c:ext>
            </c:extLst>
          </c:dPt>
          <c:dPt>
            <c:idx val="6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6-82FC-421B-A80E-67ACC5454550}"/>
              </c:ext>
            </c:extLst>
          </c:dPt>
          <c:dPt>
            <c:idx val="6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7-82FC-421B-A80E-67ACC5454550}"/>
              </c:ext>
            </c:extLst>
          </c:dPt>
          <c:dPt>
            <c:idx val="6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8-82FC-421B-A80E-67ACC5454550}"/>
              </c:ext>
            </c:extLst>
          </c:dPt>
          <c:dPt>
            <c:idx val="6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9-82FC-421B-A80E-67ACC5454550}"/>
              </c:ext>
            </c:extLst>
          </c:dPt>
          <c:dPt>
            <c:idx val="6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A-82FC-421B-A80E-67ACC5454550}"/>
              </c:ext>
            </c:extLst>
          </c:dPt>
          <c:dPt>
            <c:idx val="6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B-82FC-421B-A80E-67ACC5454550}"/>
              </c:ext>
            </c:extLst>
          </c:dPt>
          <c:dPt>
            <c:idx val="6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C-82FC-421B-A80E-67ACC5454550}"/>
              </c:ext>
            </c:extLst>
          </c:dPt>
          <c:dPt>
            <c:idx val="6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D-82FC-421B-A80E-67ACC5454550}"/>
              </c:ext>
            </c:extLst>
          </c:dPt>
          <c:dPt>
            <c:idx val="6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E-82FC-421B-A80E-67ACC5454550}"/>
              </c:ext>
            </c:extLst>
          </c:dPt>
          <c:dPt>
            <c:idx val="6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EF-82FC-421B-A80E-67ACC5454550}"/>
              </c:ext>
            </c:extLst>
          </c:dPt>
          <c:dPt>
            <c:idx val="6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0-82FC-421B-A80E-67ACC5454550}"/>
              </c:ext>
            </c:extLst>
          </c:dPt>
          <c:dPt>
            <c:idx val="6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1-82FC-421B-A80E-67ACC5454550}"/>
              </c:ext>
            </c:extLst>
          </c:dPt>
          <c:dPt>
            <c:idx val="6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2-82FC-421B-A80E-67ACC5454550}"/>
              </c:ext>
            </c:extLst>
          </c:dPt>
          <c:dPt>
            <c:idx val="6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3-82FC-421B-A80E-67ACC5454550}"/>
              </c:ext>
            </c:extLst>
          </c:dPt>
          <c:dPt>
            <c:idx val="6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4-82FC-421B-A80E-67ACC5454550}"/>
              </c:ext>
            </c:extLst>
          </c:dPt>
          <c:dPt>
            <c:idx val="6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5-82FC-421B-A80E-67ACC5454550}"/>
              </c:ext>
            </c:extLst>
          </c:dPt>
          <c:dPt>
            <c:idx val="6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6-82FC-421B-A80E-67ACC5454550}"/>
              </c:ext>
            </c:extLst>
          </c:dPt>
          <c:dPt>
            <c:idx val="6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7-82FC-421B-A80E-67ACC5454550}"/>
              </c:ext>
            </c:extLst>
          </c:dPt>
          <c:dPt>
            <c:idx val="6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8-82FC-421B-A80E-67ACC5454550}"/>
              </c:ext>
            </c:extLst>
          </c:dPt>
          <c:dPt>
            <c:idx val="6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9-82FC-421B-A80E-67ACC5454550}"/>
              </c:ext>
            </c:extLst>
          </c:dPt>
          <c:dPt>
            <c:idx val="6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A-82FC-421B-A80E-67ACC5454550}"/>
              </c:ext>
            </c:extLst>
          </c:dPt>
          <c:dPt>
            <c:idx val="6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B-82FC-421B-A80E-67ACC5454550}"/>
              </c:ext>
            </c:extLst>
          </c:dPt>
          <c:dPt>
            <c:idx val="6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C-82FC-421B-A80E-67ACC5454550}"/>
              </c:ext>
            </c:extLst>
          </c:dPt>
          <c:dPt>
            <c:idx val="6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D-82FC-421B-A80E-67ACC5454550}"/>
              </c:ext>
            </c:extLst>
          </c:dPt>
          <c:dPt>
            <c:idx val="6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E-82FC-421B-A80E-67ACC5454550}"/>
              </c:ext>
            </c:extLst>
          </c:dPt>
          <c:dPt>
            <c:idx val="6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CFF-82FC-421B-A80E-67ACC5454550}"/>
              </c:ext>
            </c:extLst>
          </c:dPt>
          <c:dPt>
            <c:idx val="6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0-82FC-421B-A80E-67ACC5454550}"/>
              </c:ext>
            </c:extLst>
          </c:dPt>
          <c:dPt>
            <c:idx val="6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1-82FC-421B-A80E-67ACC5454550}"/>
              </c:ext>
            </c:extLst>
          </c:dPt>
          <c:dPt>
            <c:idx val="6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2-82FC-421B-A80E-67ACC5454550}"/>
              </c:ext>
            </c:extLst>
          </c:dPt>
          <c:dPt>
            <c:idx val="6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3-82FC-421B-A80E-67ACC5454550}"/>
              </c:ext>
            </c:extLst>
          </c:dPt>
          <c:dPt>
            <c:idx val="6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4-82FC-421B-A80E-67ACC5454550}"/>
              </c:ext>
            </c:extLst>
          </c:dPt>
          <c:dPt>
            <c:idx val="6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5-82FC-421B-A80E-67ACC5454550}"/>
              </c:ext>
            </c:extLst>
          </c:dPt>
          <c:dPt>
            <c:idx val="6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6-82FC-421B-A80E-67ACC5454550}"/>
              </c:ext>
            </c:extLst>
          </c:dPt>
          <c:dPt>
            <c:idx val="6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7-82FC-421B-A80E-67ACC5454550}"/>
              </c:ext>
            </c:extLst>
          </c:dPt>
          <c:dPt>
            <c:idx val="6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8-82FC-421B-A80E-67ACC5454550}"/>
              </c:ext>
            </c:extLst>
          </c:dPt>
          <c:dPt>
            <c:idx val="6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9-82FC-421B-A80E-67ACC5454550}"/>
              </c:ext>
            </c:extLst>
          </c:dPt>
          <c:dPt>
            <c:idx val="6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A-82FC-421B-A80E-67ACC5454550}"/>
              </c:ext>
            </c:extLst>
          </c:dPt>
          <c:dPt>
            <c:idx val="6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B-82FC-421B-A80E-67ACC5454550}"/>
              </c:ext>
            </c:extLst>
          </c:dPt>
          <c:dPt>
            <c:idx val="6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C-82FC-421B-A80E-67ACC5454550}"/>
              </c:ext>
            </c:extLst>
          </c:dPt>
          <c:dPt>
            <c:idx val="6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D-82FC-421B-A80E-67ACC5454550}"/>
              </c:ext>
            </c:extLst>
          </c:dPt>
          <c:dPt>
            <c:idx val="6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E-82FC-421B-A80E-67ACC5454550}"/>
              </c:ext>
            </c:extLst>
          </c:dPt>
          <c:dPt>
            <c:idx val="6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0F-82FC-421B-A80E-67ACC5454550}"/>
              </c:ext>
            </c:extLst>
          </c:dPt>
          <c:dPt>
            <c:idx val="6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0-82FC-421B-A80E-67ACC5454550}"/>
              </c:ext>
            </c:extLst>
          </c:dPt>
          <c:dPt>
            <c:idx val="6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1-82FC-421B-A80E-67ACC5454550}"/>
              </c:ext>
            </c:extLst>
          </c:dPt>
          <c:dPt>
            <c:idx val="6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2-82FC-421B-A80E-67ACC5454550}"/>
              </c:ext>
            </c:extLst>
          </c:dPt>
          <c:dPt>
            <c:idx val="6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3-82FC-421B-A80E-67ACC5454550}"/>
              </c:ext>
            </c:extLst>
          </c:dPt>
          <c:dPt>
            <c:idx val="6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4-82FC-421B-A80E-67ACC5454550}"/>
              </c:ext>
            </c:extLst>
          </c:dPt>
          <c:dPt>
            <c:idx val="6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5-82FC-421B-A80E-67ACC5454550}"/>
              </c:ext>
            </c:extLst>
          </c:dPt>
          <c:dPt>
            <c:idx val="6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6-82FC-421B-A80E-67ACC5454550}"/>
              </c:ext>
            </c:extLst>
          </c:dPt>
          <c:dPt>
            <c:idx val="6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7-82FC-421B-A80E-67ACC5454550}"/>
              </c:ext>
            </c:extLst>
          </c:dPt>
          <c:dPt>
            <c:idx val="6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8-82FC-421B-A80E-67ACC5454550}"/>
              </c:ext>
            </c:extLst>
          </c:dPt>
          <c:dPt>
            <c:idx val="6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9-82FC-421B-A80E-67ACC5454550}"/>
              </c:ext>
            </c:extLst>
          </c:dPt>
          <c:dPt>
            <c:idx val="6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A-82FC-421B-A80E-67ACC5454550}"/>
              </c:ext>
            </c:extLst>
          </c:dPt>
          <c:dPt>
            <c:idx val="6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B-82FC-421B-A80E-67ACC5454550}"/>
              </c:ext>
            </c:extLst>
          </c:dPt>
          <c:dPt>
            <c:idx val="6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C-82FC-421B-A80E-67ACC5454550}"/>
              </c:ext>
            </c:extLst>
          </c:dPt>
          <c:dPt>
            <c:idx val="6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D-82FC-421B-A80E-67ACC5454550}"/>
              </c:ext>
            </c:extLst>
          </c:dPt>
          <c:dPt>
            <c:idx val="6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E-82FC-421B-A80E-67ACC5454550}"/>
              </c:ext>
            </c:extLst>
          </c:dPt>
          <c:dPt>
            <c:idx val="6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1F-82FC-421B-A80E-67ACC5454550}"/>
              </c:ext>
            </c:extLst>
          </c:dPt>
          <c:dPt>
            <c:idx val="6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0-82FC-421B-A80E-67ACC5454550}"/>
              </c:ext>
            </c:extLst>
          </c:dPt>
          <c:dPt>
            <c:idx val="6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1-82FC-421B-A80E-67ACC5454550}"/>
              </c:ext>
            </c:extLst>
          </c:dPt>
          <c:dPt>
            <c:idx val="6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2-82FC-421B-A80E-67ACC5454550}"/>
              </c:ext>
            </c:extLst>
          </c:dPt>
          <c:dPt>
            <c:idx val="6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3-82FC-421B-A80E-67ACC5454550}"/>
              </c:ext>
            </c:extLst>
          </c:dPt>
          <c:dPt>
            <c:idx val="6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4-82FC-421B-A80E-67ACC5454550}"/>
              </c:ext>
            </c:extLst>
          </c:dPt>
          <c:dPt>
            <c:idx val="6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5-82FC-421B-A80E-67ACC5454550}"/>
              </c:ext>
            </c:extLst>
          </c:dPt>
          <c:dPt>
            <c:idx val="6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6-82FC-421B-A80E-67ACC5454550}"/>
              </c:ext>
            </c:extLst>
          </c:dPt>
          <c:dPt>
            <c:idx val="6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7-82FC-421B-A80E-67ACC5454550}"/>
              </c:ext>
            </c:extLst>
          </c:dPt>
          <c:dPt>
            <c:idx val="6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8-82FC-421B-A80E-67ACC5454550}"/>
              </c:ext>
            </c:extLst>
          </c:dPt>
          <c:dPt>
            <c:idx val="6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9-82FC-421B-A80E-67ACC5454550}"/>
              </c:ext>
            </c:extLst>
          </c:dPt>
          <c:dPt>
            <c:idx val="6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A-82FC-421B-A80E-67ACC5454550}"/>
              </c:ext>
            </c:extLst>
          </c:dPt>
          <c:dPt>
            <c:idx val="6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B-82FC-421B-A80E-67ACC5454550}"/>
              </c:ext>
            </c:extLst>
          </c:dPt>
          <c:dPt>
            <c:idx val="6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C-82FC-421B-A80E-67ACC5454550}"/>
              </c:ext>
            </c:extLst>
          </c:dPt>
          <c:dPt>
            <c:idx val="6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D-82FC-421B-A80E-67ACC5454550}"/>
              </c:ext>
            </c:extLst>
          </c:dPt>
          <c:dPt>
            <c:idx val="6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E-82FC-421B-A80E-67ACC5454550}"/>
              </c:ext>
            </c:extLst>
          </c:dPt>
          <c:dPt>
            <c:idx val="6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2F-82FC-421B-A80E-67ACC5454550}"/>
              </c:ext>
            </c:extLst>
          </c:dPt>
          <c:dPt>
            <c:idx val="6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0-82FC-421B-A80E-67ACC5454550}"/>
              </c:ext>
            </c:extLst>
          </c:dPt>
          <c:dPt>
            <c:idx val="6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1-82FC-421B-A80E-67ACC5454550}"/>
              </c:ext>
            </c:extLst>
          </c:dPt>
          <c:dPt>
            <c:idx val="7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2-82FC-421B-A80E-67ACC5454550}"/>
              </c:ext>
            </c:extLst>
          </c:dPt>
          <c:dPt>
            <c:idx val="7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3-82FC-421B-A80E-67ACC5454550}"/>
              </c:ext>
            </c:extLst>
          </c:dPt>
          <c:dPt>
            <c:idx val="7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4-82FC-421B-A80E-67ACC5454550}"/>
              </c:ext>
            </c:extLst>
          </c:dPt>
          <c:dPt>
            <c:idx val="7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5-82FC-421B-A80E-67ACC5454550}"/>
              </c:ext>
            </c:extLst>
          </c:dPt>
          <c:dPt>
            <c:idx val="7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6-82FC-421B-A80E-67ACC5454550}"/>
              </c:ext>
            </c:extLst>
          </c:dPt>
          <c:dPt>
            <c:idx val="7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7-82FC-421B-A80E-67ACC5454550}"/>
              </c:ext>
            </c:extLst>
          </c:dPt>
          <c:dPt>
            <c:idx val="7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8-82FC-421B-A80E-67ACC5454550}"/>
              </c:ext>
            </c:extLst>
          </c:dPt>
          <c:dPt>
            <c:idx val="7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9-82FC-421B-A80E-67ACC5454550}"/>
              </c:ext>
            </c:extLst>
          </c:dPt>
          <c:dPt>
            <c:idx val="7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A-82FC-421B-A80E-67ACC5454550}"/>
              </c:ext>
            </c:extLst>
          </c:dPt>
          <c:dPt>
            <c:idx val="7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B-82FC-421B-A80E-67ACC5454550}"/>
              </c:ext>
            </c:extLst>
          </c:dPt>
          <c:dPt>
            <c:idx val="7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C-82FC-421B-A80E-67ACC5454550}"/>
              </c:ext>
            </c:extLst>
          </c:dPt>
          <c:dPt>
            <c:idx val="7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D-82FC-421B-A80E-67ACC5454550}"/>
              </c:ext>
            </c:extLst>
          </c:dPt>
          <c:dPt>
            <c:idx val="7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E-82FC-421B-A80E-67ACC5454550}"/>
              </c:ext>
            </c:extLst>
          </c:dPt>
          <c:dPt>
            <c:idx val="7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3F-82FC-421B-A80E-67ACC5454550}"/>
              </c:ext>
            </c:extLst>
          </c:dPt>
          <c:dPt>
            <c:idx val="7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0-82FC-421B-A80E-67ACC5454550}"/>
              </c:ext>
            </c:extLst>
          </c:dPt>
          <c:dPt>
            <c:idx val="7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1-82FC-421B-A80E-67ACC5454550}"/>
              </c:ext>
            </c:extLst>
          </c:dPt>
          <c:dPt>
            <c:idx val="7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2-82FC-421B-A80E-67ACC5454550}"/>
              </c:ext>
            </c:extLst>
          </c:dPt>
          <c:dPt>
            <c:idx val="7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3-82FC-421B-A80E-67ACC5454550}"/>
              </c:ext>
            </c:extLst>
          </c:dPt>
          <c:dPt>
            <c:idx val="7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4-82FC-421B-A80E-67ACC5454550}"/>
              </c:ext>
            </c:extLst>
          </c:dPt>
          <c:dPt>
            <c:idx val="7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5-82FC-421B-A80E-67ACC5454550}"/>
              </c:ext>
            </c:extLst>
          </c:dPt>
          <c:dPt>
            <c:idx val="7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6-82FC-421B-A80E-67ACC5454550}"/>
              </c:ext>
            </c:extLst>
          </c:dPt>
          <c:dPt>
            <c:idx val="7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7-82FC-421B-A80E-67ACC5454550}"/>
              </c:ext>
            </c:extLst>
          </c:dPt>
          <c:dPt>
            <c:idx val="7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8-82FC-421B-A80E-67ACC5454550}"/>
              </c:ext>
            </c:extLst>
          </c:dPt>
          <c:dPt>
            <c:idx val="7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9-82FC-421B-A80E-67ACC5454550}"/>
              </c:ext>
            </c:extLst>
          </c:dPt>
          <c:dPt>
            <c:idx val="7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A-82FC-421B-A80E-67ACC5454550}"/>
              </c:ext>
            </c:extLst>
          </c:dPt>
          <c:dPt>
            <c:idx val="7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B-82FC-421B-A80E-67ACC5454550}"/>
              </c:ext>
            </c:extLst>
          </c:dPt>
          <c:dPt>
            <c:idx val="7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C-82FC-421B-A80E-67ACC5454550}"/>
              </c:ext>
            </c:extLst>
          </c:dPt>
          <c:dPt>
            <c:idx val="7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D-82FC-421B-A80E-67ACC5454550}"/>
              </c:ext>
            </c:extLst>
          </c:dPt>
          <c:dPt>
            <c:idx val="7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E-82FC-421B-A80E-67ACC5454550}"/>
              </c:ext>
            </c:extLst>
          </c:dPt>
          <c:dPt>
            <c:idx val="7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4F-82FC-421B-A80E-67ACC5454550}"/>
              </c:ext>
            </c:extLst>
          </c:dPt>
          <c:dPt>
            <c:idx val="7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0-82FC-421B-A80E-67ACC5454550}"/>
              </c:ext>
            </c:extLst>
          </c:dPt>
          <c:dPt>
            <c:idx val="7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1-82FC-421B-A80E-67ACC5454550}"/>
              </c:ext>
            </c:extLst>
          </c:dPt>
          <c:dPt>
            <c:idx val="7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2-82FC-421B-A80E-67ACC5454550}"/>
              </c:ext>
            </c:extLst>
          </c:dPt>
          <c:dPt>
            <c:idx val="7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3-82FC-421B-A80E-67ACC5454550}"/>
              </c:ext>
            </c:extLst>
          </c:dPt>
          <c:dPt>
            <c:idx val="7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4-82FC-421B-A80E-67ACC5454550}"/>
              </c:ext>
            </c:extLst>
          </c:dPt>
          <c:dPt>
            <c:idx val="7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5-82FC-421B-A80E-67ACC5454550}"/>
              </c:ext>
            </c:extLst>
          </c:dPt>
          <c:dPt>
            <c:idx val="7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6-82FC-421B-A80E-67ACC5454550}"/>
              </c:ext>
            </c:extLst>
          </c:dPt>
          <c:dPt>
            <c:idx val="7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7-82FC-421B-A80E-67ACC5454550}"/>
              </c:ext>
            </c:extLst>
          </c:dPt>
          <c:dPt>
            <c:idx val="7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8-82FC-421B-A80E-67ACC5454550}"/>
              </c:ext>
            </c:extLst>
          </c:dPt>
          <c:dPt>
            <c:idx val="7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9-82FC-421B-A80E-67ACC5454550}"/>
              </c:ext>
            </c:extLst>
          </c:dPt>
          <c:dPt>
            <c:idx val="7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A-82FC-421B-A80E-67ACC5454550}"/>
              </c:ext>
            </c:extLst>
          </c:dPt>
          <c:dPt>
            <c:idx val="7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B-82FC-421B-A80E-67ACC5454550}"/>
              </c:ext>
            </c:extLst>
          </c:dPt>
          <c:dPt>
            <c:idx val="7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C-82FC-421B-A80E-67ACC5454550}"/>
              </c:ext>
            </c:extLst>
          </c:dPt>
          <c:dPt>
            <c:idx val="7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D-82FC-421B-A80E-67ACC5454550}"/>
              </c:ext>
            </c:extLst>
          </c:dPt>
          <c:dPt>
            <c:idx val="7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E-82FC-421B-A80E-67ACC5454550}"/>
              </c:ext>
            </c:extLst>
          </c:dPt>
          <c:dPt>
            <c:idx val="7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5F-82FC-421B-A80E-67ACC5454550}"/>
              </c:ext>
            </c:extLst>
          </c:dPt>
          <c:dPt>
            <c:idx val="7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0-82FC-421B-A80E-67ACC5454550}"/>
              </c:ext>
            </c:extLst>
          </c:dPt>
          <c:dPt>
            <c:idx val="7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1-82FC-421B-A80E-67ACC5454550}"/>
              </c:ext>
            </c:extLst>
          </c:dPt>
          <c:dPt>
            <c:idx val="7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2-82FC-421B-A80E-67ACC5454550}"/>
              </c:ext>
            </c:extLst>
          </c:dPt>
          <c:dPt>
            <c:idx val="7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3-82FC-421B-A80E-67ACC5454550}"/>
              </c:ext>
            </c:extLst>
          </c:dPt>
          <c:dPt>
            <c:idx val="7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4-82FC-421B-A80E-67ACC5454550}"/>
              </c:ext>
            </c:extLst>
          </c:dPt>
          <c:dPt>
            <c:idx val="7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5-82FC-421B-A80E-67ACC5454550}"/>
              </c:ext>
            </c:extLst>
          </c:dPt>
          <c:dPt>
            <c:idx val="7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6-82FC-421B-A80E-67ACC5454550}"/>
              </c:ext>
            </c:extLst>
          </c:dPt>
          <c:dPt>
            <c:idx val="7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7-82FC-421B-A80E-67ACC5454550}"/>
              </c:ext>
            </c:extLst>
          </c:dPt>
          <c:dPt>
            <c:idx val="7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8-82FC-421B-A80E-67ACC5454550}"/>
              </c:ext>
            </c:extLst>
          </c:dPt>
          <c:dPt>
            <c:idx val="7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9-82FC-421B-A80E-67ACC5454550}"/>
              </c:ext>
            </c:extLst>
          </c:dPt>
          <c:dPt>
            <c:idx val="7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A-82FC-421B-A80E-67ACC5454550}"/>
              </c:ext>
            </c:extLst>
          </c:dPt>
          <c:dPt>
            <c:idx val="7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B-82FC-421B-A80E-67ACC5454550}"/>
              </c:ext>
            </c:extLst>
          </c:dPt>
          <c:dPt>
            <c:idx val="7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C-82FC-421B-A80E-67ACC5454550}"/>
              </c:ext>
            </c:extLst>
          </c:dPt>
          <c:dPt>
            <c:idx val="7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D-82FC-421B-A80E-67ACC5454550}"/>
              </c:ext>
            </c:extLst>
          </c:dPt>
          <c:dPt>
            <c:idx val="7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E-82FC-421B-A80E-67ACC5454550}"/>
              </c:ext>
            </c:extLst>
          </c:dPt>
          <c:dPt>
            <c:idx val="7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6F-82FC-421B-A80E-67ACC5454550}"/>
              </c:ext>
            </c:extLst>
          </c:dPt>
          <c:dPt>
            <c:idx val="7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0-82FC-421B-A80E-67ACC5454550}"/>
              </c:ext>
            </c:extLst>
          </c:dPt>
          <c:dPt>
            <c:idx val="7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1-82FC-421B-A80E-67ACC5454550}"/>
              </c:ext>
            </c:extLst>
          </c:dPt>
          <c:dPt>
            <c:idx val="7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2-82FC-421B-A80E-67ACC5454550}"/>
              </c:ext>
            </c:extLst>
          </c:dPt>
          <c:dPt>
            <c:idx val="7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3-82FC-421B-A80E-67ACC5454550}"/>
              </c:ext>
            </c:extLst>
          </c:dPt>
          <c:dPt>
            <c:idx val="7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4-82FC-421B-A80E-67ACC5454550}"/>
              </c:ext>
            </c:extLst>
          </c:dPt>
          <c:dPt>
            <c:idx val="7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5-82FC-421B-A80E-67ACC5454550}"/>
              </c:ext>
            </c:extLst>
          </c:dPt>
          <c:dPt>
            <c:idx val="7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6-82FC-421B-A80E-67ACC5454550}"/>
              </c:ext>
            </c:extLst>
          </c:dPt>
          <c:dPt>
            <c:idx val="7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7-82FC-421B-A80E-67ACC5454550}"/>
              </c:ext>
            </c:extLst>
          </c:dPt>
          <c:dPt>
            <c:idx val="7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8-82FC-421B-A80E-67ACC5454550}"/>
              </c:ext>
            </c:extLst>
          </c:dPt>
          <c:dPt>
            <c:idx val="7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9-82FC-421B-A80E-67ACC5454550}"/>
              </c:ext>
            </c:extLst>
          </c:dPt>
          <c:dPt>
            <c:idx val="7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A-82FC-421B-A80E-67ACC5454550}"/>
              </c:ext>
            </c:extLst>
          </c:dPt>
          <c:dPt>
            <c:idx val="7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B-82FC-421B-A80E-67ACC5454550}"/>
              </c:ext>
            </c:extLst>
          </c:dPt>
          <c:dPt>
            <c:idx val="7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C-82FC-421B-A80E-67ACC5454550}"/>
              </c:ext>
            </c:extLst>
          </c:dPt>
          <c:dPt>
            <c:idx val="7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D-82FC-421B-A80E-67ACC5454550}"/>
              </c:ext>
            </c:extLst>
          </c:dPt>
          <c:dPt>
            <c:idx val="7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E-82FC-421B-A80E-67ACC5454550}"/>
              </c:ext>
            </c:extLst>
          </c:dPt>
          <c:dPt>
            <c:idx val="7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7F-82FC-421B-A80E-67ACC5454550}"/>
              </c:ext>
            </c:extLst>
          </c:dPt>
          <c:dPt>
            <c:idx val="7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0-82FC-421B-A80E-67ACC5454550}"/>
              </c:ext>
            </c:extLst>
          </c:dPt>
          <c:dPt>
            <c:idx val="7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1-82FC-421B-A80E-67ACC5454550}"/>
              </c:ext>
            </c:extLst>
          </c:dPt>
          <c:dPt>
            <c:idx val="7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2-82FC-421B-A80E-67ACC5454550}"/>
              </c:ext>
            </c:extLst>
          </c:dPt>
          <c:dPt>
            <c:idx val="7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3-82FC-421B-A80E-67ACC5454550}"/>
              </c:ext>
            </c:extLst>
          </c:dPt>
          <c:dPt>
            <c:idx val="7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4-82FC-421B-A80E-67ACC5454550}"/>
              </c:ext>
            </c:extLst>
          </c:dPt>
          <c:dPt>
            <c:idx val="7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5-82FC-421B-A80E-67ACC5454550}"/>
              </c:ext>
            </c:extLst>
          </c:dPt>
          <c:dPt>
            <c:idx val="7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6-82FC-421B-A80E-67ACC5454550}"/>
              </c:ext>
            </c:extLst>
          </c:dPt>
          <c:dPt>
            <c:idx val="7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7-82FC-421B-A80E-67ACC5454550}"/>
              </c:ext>
            </c:extLst>
          </c:dPt>
          <c:dPt>
            <c:idx val="7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8-82FC-421B-A80E-67ACC5454550}"/>
              </c:ext>
            </c:extLst>
          </c:dPt>
          <c:dPt>
            <c:idx val="7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9-82FC-421B-A80E-67ACC5454550}"/>
              </c:ext>
            </c:extLst>
          </c:dPt>
          <c:dPt>
            <c:idx val="7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A-82FC-421B-A80E-67ACC5454550}"/>
              </c:ext>
            </c:extLst>
          </c:dPt>
          <c:dPt>
            <c:idx val="7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B-82FC-421B-A80E-67ACC5454550}"/>
              </c:ext>
            </c:extLst>
          </c:dPt>
          <c:dPt>
            <c:idx val="7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C-82FC-421B-A80E-67ACC5454550}"/>
              </c:ext>
            </c:extLst>
          </c:dPt>
          <c:dPt>
            <c:idx val="7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D-82FC-421B-A80E-67ACC5454550}"/>
              </c:ext>
            </c:extLst>
          </c:dPt>
          <c:dPt>
            <c:idx val="7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E-82FC-421B-A80E-67ACC5454550}"/>
              </c:ext>
            </c:extLst>
          </c:dPt>
          <c:dPt>
            <c:idx val="7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8F-82FC-421B-A80E-67ACC5454550}"/>
              </c:ext>
            </c:extLst>
          </c:dPt>
          <c:dPt>
            <c:idx val="7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0-82FC-421B-A80E-67ACC5454550}"/>
              </c:ext>
            </c:extLst>
          </c:dPt>
          <c:dPt>
            <c:idx val="7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1-82FC-421B-A80E-67ACC5454550}"/>
              </c:ext>
            </c:extLst>
          </c:dPt>
          <c:dPt>
            <c:idx val="7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2-82FC-421B-A80E-67ACC5454550}"/>
              </c:ext>
            </c:extLst>
          </c:dPt>
          <c:dPt>
            <c:idx val="7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3-82FC-421B-A80E-67ACC5454550}"/>
              </c:ext>
            </c:extLst>
          </c:dPt>
          <c:dPt>
            <c:idx val="7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4-82FC-421B-A80E-67ACC5454550}"/>
              </c:ext>
            </c:extLst>
          </c:dPt>
          <c:dPt>
            <c:idx val="7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5-82FC-421B-A80E-67ACC5454550}"/>
              </c:ext>
            </c:extLst>
          </c:dPt>
          <c:dPt>
            <c:idx val="8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6-82FC-421B-A80E-67ACC5454550}"/>
              </c:ext>
            </c:extLst>
          </c:dPt>
          <c:dPt>
            <c:idx val="8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7-82FC-421B-A80E-67ACC5454550}"/>
              </c:ext>
            </c:extLst>
          </c:dPt>
          <c:dPt>
            <c:idx val="8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8-82FC-421B-A80E-67ACC5454550}"/>
              </c:ext>
            </c:extLst>
          </c:dPt>
          <c:dPt>
            <c:idx val="8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9-82FC-421B-A80E-67ACC5454550}"/>
              </c:ext>
            </c:extLst>
          </c:dPt>
          <c:dPt>
            <c:idx val="8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A-82FC-421B-A80E-67ACC5454550}"/>
              </c:ext>
            </c:extLst>
          </c:dPt>
          <c:dPt>
            <c:idx val="8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B-82FC-421B-A80E-67ACC5454550}"/>
              </c:ext>
            </c:extLst>
          </c:dPt>
          <c:dPt>
            <c:idx val="8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C-82FC-421B-A80E-67ACC5454550}"/>
              </c:ext>
            </c:extLst>
          </c:dPt>
          <c:dPt>
            <c:idx val="8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D-82FC-421B-A80E-67ACC5454550}"/>
              </c:ext>
            </c:extLst>
          </c:dPt>
          <c:dPt>
            <c:idx val="8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E-82FC-421B-A80E-67ACC5454550}"/>
              </c:ext>
            </c:extLst>
          </c:dPt>
          <c:dPt>
            <c:idx val="8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9F-82FC-421B-A80E-67ACC5454550}"/>
              </c:ext>
            </c:extLst>
          </c:dPt>
          <c:dPt>
            <c:idx val="8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0-82FC-421B-A80E-67ACC5454550}"/>
              </c:ext>
            </c:extLst>
          </c:dPt>
          <c:dPt>
            <c:idx val="8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1-82FC-421B-A80E-67ACC5454550}"/>
              </c:ext>
            </c:extLst>
          </c:dPt>
          <c:dPt>
            <c:idx val="8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2-82FC-421B-A80E-67ACC5454550}"/>
              </c:ext>
            </c:extLst>
          </c:dPt>
          <c:dPt>
            <c:idx val="8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3-82FC-421B-A80E-67ACC5454550}"/>
              </c:ext>
            </c:extLst>
          </c:dPt>
          <c:dPt>
            <c:idx val="8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4-82FC-421B-A80E-67ACC5454550}"/>
              </c:ext>
            </c:extLst>
          </c:dPt>
          <c:dPt>
            <c:idx val="8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5-82FC-421B-A80E-67ACC5454550}"/>
              </c:ext>
            </c:extLst>
          </c:dPt>
          <c:dPt>
            <c:idx val="8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6-82FC-421B-A80E-67ACC5454550}"/>
              </c:ext>
            </c:extLst>
          </c:dPt>
          <c:dPt>
            <c:idx val="8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7-82FC-421B-A80E-67ACC5454550}"/>
              </c:ext>
            </c:extLst>
          </c:dPt>
          <c:dPt>
            <c:idx val="8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8-82FC-421B-A80E-67ACC5454550}"/>
              </c:ext>
            </c:extLst>
          </c:dPt>
          <c:dPt>
            <c:idx val="8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9-82FC-421B-A80E-67ACC5454550}"/>
              </c:ext>
            </c:extLst>
          </c:dPt>
          <c:dPt>
            <c:idx val="8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A-82FC-421B-A80E-67ACC5454550}"/>
              </c:ext>
            </c:extLst>
          </c:dPt>
          <c:dPt>
            <c:idx val="8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B-82FC-421B-A80E-67ACC5454550}"/>
              </c:ext>
            </c:extLst>
          </c:dPt>
          <c:dPt>
            <c:idx val="8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C-82FC-421B-A80E-67ACC5454550}"/>
              </c:ext>
            </c:extLst>
          </c:dPt>
          <c:dPt>
            <c:idx val="8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D-82FC-421B-A80E-67ACC5454550}"/>
              </c:ext>
            </c:extLst>
          </c:dPt>
          <c:dPt>
            <c:idx val="8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E-82FC-421B-A80E-67ACC5454550}"/>
              </c:ext>
            </c:extLst>
          </c:dPt>
          <c:dPt>
            <c:idx val="8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AF-82FC-421B-A80E-67ACC5454550}"/>
              </c:ext>
            </c:extLst>
          </c:dPt>
          <c:dPt>
            <c:idx val="8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0-82FC-421B-A80E-67ACC5454550}"/>
              </c:ext>
            </c:extLst>
          </c:dPt>
          <c:dPt>
            <c:idx val="8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1-82FC-421B-A80E-67ACC5454550}"/>
              </c:ext>
            </c:extLst>
          </c:dPt>
          <c:dPt>
            <c:idx val="8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2-82FC-421B-A80E-67ACC5454550}"/>
              </c:ext>
            </c:extLst>
          </c:dPt>
          <c:dPt>
            <c:idx val="8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3-82FC-421B-A80E-67ACC5454550}"/>
              </c:ext>
            </c:extLst>
          </c:dPt>
          <c:dPt>
            <c:idx val="8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4-82FC-421B-A80E-67ACC5454550}"/>
              </c:ext>
            </c:extLst>
          </c:dPt>
          <c:dPt>
            <c:idx val="8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5-82FC-421B-A80E-67ACC5454550}"/>
              </c:ext>
            </c:extLst>
          </c:dPt>
          <c:dPt>
            <c:idx val="8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6-82FC-421B-A80E-67ACC5454550}"/>
              </c:ext>
            </c:extLst>
          </c:dPt>
          <c:dPt>
            <c:idx val="8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7-82FC-421B-A80E-67ACC5454550}"/>
              </c:ext>
            </c:extLst>
          </c:dPt>
          <c:dPt>
            <c:idx val="8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8-82FC-421B-A80E-67ACC5454550}"/>
              </c:ext>
            </c:extLst>
          </c:dPt>
          <c:dPt>
            <c:idx val="8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9-82FC-421B-A80E-67ACC5454550}"/>
              </c:ext>
            </c:extLst>
          </c:dPt>
          <c:dPt>
            <c:idx val="8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A-82FC-421B-A80E-67ACC5454550}"/>
              </c:ext>
            </c:extLst>
          </c:dPt>
          <c:dPt>
            <c:idx val="8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B-82FC-421B-A80E-67ACC5454550}"/>
              </c:ext>
            </c:extLst>
          </c:dPt>
          <c:dPt>
            <c:idx val="8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C-82FC-421B-A80E-67ACC5454550}"/>
              </c:ext>
            </c:extLst>
          </c:dPt>
          <c:dPt>
            <c:idx val="8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D-82FC-421B-A80E-67ACC5454550}"/>
              </c:ext>
            </c:extLst>
          </c:dPt>
          <c:dPt>
            <c:idx val="8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E-82FC-421B-A80E-67ACC5454550}"/>
              </c:ext>
            </c:extLst>
          </c:dPt>
          <c:dPt>
            <c:idx val="8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BF-82FC-421B-A80E-67ACC5454550}"/>
              </c:ext>
            </c:extLst>
          </c:dPt>
          <c:dPt>
            <c:idx val="8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0-82FC-421B-A80E-67ACC5454550}"/>
              </c:ext>
            </c:extLst>
          </c:dPt>
          <c:dPt>
            <c:idx val="8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1-82FC-421B-A80E-67ACC5454550}"/>
              </c:ext>
            </c:extLst>
          </c:dPt>
          <c:dPt>
            <c:idx val="8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2-82FC-421B-A80E-67ACC5454550}"/>
              </c:ext>
            </c:extLst>
          </c:dPt>
          <c:dPt>
            <c:idx val="8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3-82FC-421B-A80E-67ACC5454550}"/>
              </c:ext>
            </c:extLst>
          </c:dPt>
          <c:dPt>
            <c:idx val="8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4-82FC-421B-A80E-67ACC5454550}"/>
              </c:ext>
            </c:extLst>
          </c:dPt>
          <c:dPt>
            <c:idx val="8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5-82FC-421B-A80E-67ACC5454550}"/>
              </c:ext>
            </c:extLst>
          </c:dPt>
          <c:dPt>
            <c:idx val="8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6-82FC-421B-A80E-67ACC5454550}"/>
              </c:ext>
            </c:extLst>
          </c:dPt>
          <c:dPt>
            <c:idx val="8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7-82FC-421B-A80E-67ACC5454550}"/>
              </c:ext>
            </c:extLst>
          </c:dPt>
          <c:dPt>
            <c:idx val="8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8-82FC-421B-A80E-67ACC5454550}"/>
              </c:ext>
            </c:extLst>
          </c:dPt>
          <c:dPt>
            <c:idx val="8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9-82FC-421B-A80E-67ACC5454550}"/>
              </c:ext>
            </c:extLst>
          </c:dPt>
          <c:dPt>
            <c:idx val="8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A-82FC-421B-A80E-67ACC5454550}"/>
              </c:ext>
            </c:extLst>
          </c:dPt>
          <c:dPt>
            <c:idx val="8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B-82FC-421B-A80E-67ACC5454550}"/>
              </c:ext>
            </c:extLst>
          </c:dPt>
          <c:dPt>
            <c:idx val="8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C-82FC-421B-A80E-67ACC5454550}"/>
              </c:ext>
            </c:extLst>
          </c:dPt>
          <c:dPt>
            <c:idx val="8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D-82FC-421B-A80E-67ACC5454550}"/>
              </c:ext>
            </c:extLst>
          </c:dPt>
          <c:dPt>
            <c:idx val="8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E-82FC-421B-A80E-67ACC5454550}"/>
              </c:ext>
            </c:extLst>
          </c:dPt>
          <c:dPt>
            <c:idx val="8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CF-82FC-421B-A80E-67ACC5454550}"/>
              </c:ext>
            </c:extLst>
          </c:dPt>
          <c:dPt>
            <c:idx val="8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0-82FC-421B-A80E-67ACC5454550}"/>
              </c:ext>
            </c:extLst>
          </c:dPt>
          <c:dPt>
            <c:idx val="8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1-82FC-421B-A80E-67ACC5454550}"/>
              </c:ext>
            </c:extLst>
          </c:dPt>
          <c:dPt>
            <c:idx val="8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2-82FC-421B-A80E-67ACC5454550}"/>
              </c:ext>
            </c:extLst>
          </c:dPt>
          <c:dPt>
            <c:idx val="8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3-82FC-421B-A80E-67ACC5454550}"/>
              </c:ext>
            </c:extLst>
          </c:dPt>
          <c:dPt>
            <c:idx val="8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4-82FC-421B-A80E-67ACC5454550}"/>
              </c:ext>
            </c:extLst>
          </c:dPt>
          <c:dPt>
            <c:idx val="8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5-82FC-421B-A80E-67ACC5454550}"/>
              </c:ext>
            </c:extLst>
          </c:dPt>
          <c:dPt>
            <c:idx val="8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6-82FC-421B-A80E-67ACC5454550}"/>
              </c:ext>
            </c:extLst>
          </c:dPt>
          <c:dPt>
            <c:idx val="8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7-82FC-421B-A80E-67ACC5454550}"/>
              </c:ext>
            </c:extLst>
          </c:dPt>
          <c:dPt>
            <c:idx val="8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8-82FC-421B-A80E-67ACC5454550}"/>
              </c:ext>
            </c:extLst>
          </c:dPt>
          <c:dPt>
            <c:idx val="8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9-82FC-421B-A80E-67ACC5454550}"/>
              </c:ext>
            </c:extLst>
          </c:dPt>
          <c:dPt>
            <c:idx val="8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A-82FC-421B-A80E-67ACC5454550}"/>
              </c:ext>
            </c:extLst>
          </c:dPt>
          <c:dPt>
            <c:idx val="8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B-82FC-421B-A80E-67ACC5454550}"/>
              </c:ext>
            </c:extLst>
          </c:dPt>
          <c:dPt>
            <c:idx val="8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C-82FC-421B-A80E-67ACC5454550}"/>
              </c:ext>
            </c:extLst>
          </c:dPt>
          <c:dPt>
            <c:idx val="8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D-82FC-421B-A80E-67ACC5454550}"/>
              </c:ext>
            </c:extLst>
          </c:dPt>
          <c:dPt>
            <c:idx val="8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E-82FC-421B-A80E-67ACC5454550}"/>
              </c:ext>
            </c:extLst>
          </c:dPt>
          <c:dPt>
            <c:idx val="8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DF-82FC-421B-A80E-67ACC5454550}"/>
              </c:ext>
            </c:extLst>
          </c:dPt>
          <c:dPt>
            <c:idx val="8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0-82FC-421B-A80E-67ACC5454550}"/>
              </c:ext>
            </c:extLst>
          </c:dPt>
          <c:dPt>
            <c:idx val="8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1-82FC-421B-A80E-67ACC5454550}"/>
              </c:ext>
            </c:extLst>
          </c:dPt>
          <c:dPt>
            <c:idx val="8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2-82FC-421B-A80E-67ACC5454550}"/>
              </c:ext>
            </c:extLst>
          </c:dPt>
          <c:dPt>
            <c:idx val="8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3-82FC-421B-A80E-67ACC5454550}"/>
              </c:ext>
            </c:extLst>
          </c:dPt>
          <c:dPt>
            <c:idx val="8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4-82FC-421B-A80E-67ACC5454550}"/>
              </c:ext>
            </c:extLst>
          </c:dPt>
          <c:dPt>
            <c:idx val="8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5-82FC-421B-A80E-67ACC5454550}"/>
              </c:ext>
            </c:extLst>
          </c:dPt>
          <c:dPt>
            <c:idx val="8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6-82FC-421B-A80E-67ACC5454550}"/>
              </c:ext>
            </c:extLst>
          </c:dPt>
          <c:dPt>
            <c:idx val="8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7-82FC-421B-A80E-67ACC5454550}"/>
              </c:ext>
            </c:extLst>
          </c:dPt>
          <c:dPt>
            <c:idx val="8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8-82FC-421B-A80E-67ACC5454550}"/>
              </c:ext>
            </c:extLst>
          </c:dPt>
          <c:dPt>
            <c:idx val="8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9-82FC-421B-A80E-67ACC5454550}"/>
              </c:ext>
            </c:extLst>
          </c:dPt>
          <c:dPt>
            <c:idx val="8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A-82FC-421B-A80E-67ACC5454550}"/>
              </c:ext>
            </c:extLst>
          </c:dPt>
          <c:dPt>
            <c:idx val="8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B-82FC-421B-A80E-67ACC5454550}"/>
              </c:ext>
            </c:extLst>
          </c:dPt>
          <c:dPt>
            <c:idx val="8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C-82FC-421B-A80E-67ACC5454550}"/>
              </c:ext>
            </c:extLst>
          </c:dPt>
          <c:dPt>
            <c:idx val="8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D-82FC-421B-A80E-67ACC5454550}"/>
              </c:ext>
            </c:extLst>
          </c:dPt>
          <c:dPt>
            <c:idx val="8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E-82FC-421B-A80E-67ACC5454550}"/>
              </c:ext>
            </c:extLst>
          </c:dPt>
          <c:dPt>
            <c:idx val="8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EF-82FC-421B-A80E-67ACC5454550}"/>
              </c:ext>
            </c:extLst>
          </c:dPt>
          <c:dPt>
            <c:idx val="8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0-82FC-421B-A80E-67ACC5454550}"/>
              </c:ext>
            </c:extLst>
          </c:dPt>
          <c:dPt>
            <c:idx val="8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1-82FC-421B-A80E-67ACC5454550}"/>
              </c:ext>
            </c:extLst>
          </c:dPt>
          <c:dPt>
            <c:idx val="8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2-82FC-421B-A80E-67ACC5454550}"/>
              </c:ext>
            </c:extLst>
          </c:dPt>
          <c:cat>
            <c:numRef>
              <c:f>EMU!$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EMU!$EB$9:$EB$901</c:f>
              <c:numCache>
                <c:formatCode>0.00</c:formatCode>
                <c:ptCount val="893"/>
                <c:pt idx="0">
                  <c:v>17.296051642127875</c:v>
                </c:pt>
                <c:pt idx="1">
                  <c:v>17.296051642127875</c:v>
                </c:pt>
                <c:pt idx="2">
                  <c:v>17.296051642127875</c:v>
                </c:pt>
                <c:pt idx="3">
                  <c:v>17.296051642127875</c:v>
                </c:pt>
                <c:pt idx="4">
                  <c:v>17.296051642127875</c:v>
                </c:pt>
                <c:pt idx="5">
                  <c:v>17.296051642127875</c:v>
                </c:pt>
                <c:pt idx="6">
                  <c:v>17.296051642127875</c:v>
                </c:pt>
                <c:pt idx="7">
                  <c:v>17.296051642127875</c:v>
                </c:pt>
                <c:pt idx="8">
                  <c:v>17.296051642127875</c:v>
                </c:pt>
                <c:pt idx="9">
                  <c:v>17.296051642127875</c:v>
                </c:pt>
                <c:pt idx="10">
                  <c:v>17.296051642127875</c:v>
                </c:pt>
                <c:pt idx="11">
                  <c:v>17.296051642127875</c:v>
                </c:pt>
                <c:pt idx="12">
                  <c:v>17.296051642127875</c:v>
                </c:pt>
                <c:pt idx="13">
                  <c:v>17.296051642127875</c:v>
                </c:pt>
                <c:pt idx="14">
                  <c:v>17.296051642127875</c:v>
                </c:pt>
                <c:pt idx="15">
                  <c:v>17.296051642127875</c:v>
                </c:pt>
                <c:pt idx="16">
                  <c:v>17.296051642127875</c:v>
                </c:pt>
                <c:pt idx="17">
                  <c:v>17.296051642127875</c:v>
                </c:pt>
                <c:pt idx="18">
                  <c:v>17.296051642127875</c:v>
                </c:pt>
                <c:pt idx="19">
                  <c:v>17.296051642127875</c:v>
                </c:pt>
                <c:pt idx="20">
                  <c:v>17.296051642127875</c:v>
                </c:pt>
                <c:pt idx="21">
                  <c:v>17.296051642127875</c:v>
                </c:pt>
                <c:pt idx="22">
                  <c:v>17.296051642127875</c:v>
                </c:pt>
                <c:pt idx="23">
                  <c:v>17.296051642127875</c:v>
                </c:pt>
                <c:pt idx="24">
                  <c:v>17.296051642127875</c:v>
                </c:pt>
                <c:pt idx="25">
                  <c:v>17.296051642127875</c:v>
                </c:pt>
                <c:pt idx="26">
                  <c:v>17.296051642127875</c:v>
                </c:pt>
                <c:pt idx="27">
                  <c:v>17.296051642127875</c:v>
                </c:pt>
                <c:pt idx="28">
                  <c:v>17.296051642127875</c:v>
                </c:pt>
                <c:pt idx="29">
                  <c:v>17.296051642127875</c:v>
                </c:pt>
                <c:pt idx="30">
                  <c:v>17.296051642127875</c:v>
                </c:pt>
                <c:pt idx="31">
                  <c:v>17.296051642127875</c:v>
                </c:pt>
                <c:pt idx="32">
                  <c:v>17.296051642127875</c:v>
                </c:pt>
                <c:pt idx="33">
                  <c:v>17.296051642127875</c:v>
                </c:pt>
                <c:pt idx="34">
                  <c:v>17.296051642127875</c:v>
                </c:pt>
                <c:pt idx="35">
                  <c:v>17.296051642127875</c:v>
                </c:pt>
                <c:pt idx="36">
                  <c:v>17.296051642127875</c:v>
                </c:pt>
                <c:pt idx="37">
                  <c:v>17.296051642127875</c:v>
                </c:pt>
                <c:pt idx="38">
                  <c:v>17.296051642127875</c:v>
                </c:pt>
                <c:pt idx="39">
                  <c:v>17.296051642127875</c:v>
                </c:pt>
                <c:pt idx="40">
                  <c:v>17.296051642127875</c:v>
                </c:pt>
                <c:pt idx="41">
                  <c:v>17.296051642127875</c:v>
                </c:pt>
                <c:pt idx="42">
                  <c:v>17.296051642127875</c:v>
                </c:pt>
                <c:pt idx="43">
                  <c:v>17.296051642127875</c:v>
                </c:pt>
                <c:pt idx="44">
                  <c:v>17.296051642127875</c:v>
                </c:pt>
                <c:pt idx="45">
                  <c:v>17.296051642127875</c:v>
                </c:pt>
                <c:pt idx="46">
                  <c:v>17.296051642127875</c:v>
                </c:pt>
                <c:pt idx="47">
                  <c:v>17.296051642127875</c:v>
                </c:pt>
                <c:pt idx="48">
                  <c:v>17.296051642127875</c:v>
                </c:pt>
                <c:pt idx="49">
                  <c:v>17.296051642127875</c:v>
                </c:pt>
                <c:pt idx="50">
                  <c:v>17.296051642127875</c:v>
                </c:pt>
                <c:pt idx="51">
                  <c:v>17.296051642127875</c:v>
                </c:pt>
                <c:pt idx="52">
                  <c:v>17.296051642127875</c:v>
                </c:pt>
                <c:pt idx="53">
                  <c:v>17.296051642127875</c:v>
                </c:pt>
                <c:pt idx="54">
                  <c:v>17.296051642127875</c:v>
                </c:pt>
                <c:pt idx="55">
                  <c:v>17.296051642127875</c:v>
                </c:pt>
                <c:pt idx="56">
                  <c:v>17.296051642127875</c:v>
                </c:pt>
                <c:pt idx="57">
                  <c:v>17.296051642127875</c:v>
                </c:pt>
                <c:pt idx="58">
                  <c:v>17.296051642127875</c:v>
                </c:pt>
                <c:pt idx="59">
                  <c:v>17.296051642127875</c:v>
                </c:pt>
                <c:pt idx="60">
                  <c:v>17.296051642127875</c:v>
                </c:pt>
                <c:pt idx="61">
                  <c:v>17.296051642127875</c:v>
                </c:pt>
                <c:pt idx="62">
                  <c:v>17.296051642127875</c:v>
                </c:pt>
                <c:pt idx="63">
                  <c:v>17.296051642127875</c:v>
                </c:pt>
                <c:pt idx="64">
                  <c:v>17.296051642127875</c:v>
                </c:pt>
                <c:pt idx="65">
                  <c:v>17.296051642127875</c:v>
                </c:pt>
                <c:pt idx="66">
                  <c:v>17.296051642127875</c:v>
                </c:pt>
                <c:pt idx="67">
                  <c:v>17.296051642127875</c:v>
                </c:pt>
                <c:pt idx="68">
                  <c:v>17.296051642127875</c:v>
                </c:pt>
                <c:pt idx="69">
                  <c:v>17.296051642127875</c:v>
                </c:pt>
                <c:pt idx="70">
                  <c:v>17.296051642127875</c:v>
                </c:pt>
                <c:pt idx="71">
                  <c:v>17.296051642127875</c:v>
                </c:pt>
                <c:pt idx="72">
                  <c:v>17.296051642127875</c:v>
                </c:pt>
                <c:pt idx="73">
                  <c:v>17.296051642127875</c:v>
                </c:pt>
                <c:pt idx="74">
                  <c:v>17.296051642127875</c:v>
                </c:pt>
                <c:pt idx="75">
                  <c:v>17.296051642127875</c:v>
                </c:pt>
                <c:pt idx="76">
                  <c:v>17.296051642127875</c:v>
                </c:pt>
                <c:pt idx="77">
                  <c:v>17.296051642127875</c:v>
                </c:pt>
                <c:pt idx="78">
                  <c:v>17.296051642127875</c:v>
                </c:pt>
                <c:pt idx="79">
                  <c:v>17.296051642127875</c:v>
                </c:pt>
                <c:pt idx="80">
                  <c:v>17.296051642127875</c:v>
                </c:pt>
                <c:pt idx="81">
                  <c:v>17.296051642127875</c:v>
                </c:pt>
                <c:pt idx="82">
                  <c:v>17.296051642127875</c:v>
                </c:pt>
                <c:pt idx="83">
                  <c:v>17.296051642127875</c:v>
                </c:pt>
                <c:pt idx="84">
                  <c:v>17.296051642127875</c:v>
                </c:pt>
                <c:pt idx="85">
                  <c:v>17.296051642127875</c:v>
                </c:pt>
                <c:pt idx="86">
                  <c:v>17.296051642127875</c:v>
                </c:pt>
                <c:pt idx="87">
                  <c:v>17.296051642127875</c:v>
                </c:pt>
                <c:pt idx="88">
                  <c:v>17.296051642127875</c:v>
                </c:pt>
                <c:pt idx="89">
                  <c:v>17.296051642127875</c:v>
                </c:pt>
                <c:pt idx="90">
                  <c:v>17.296051642127875</c:v>
                </c:pt>
                <c:pt idx="91">
                  <c:v>17.296051642127875</c:v>
                </c:pt>
                <c:pt idx="92">
                  <c:v>17.296051642127875</c:v>
                </c:pt>
                <c:pt idx="93">
                  <c:v>17.296051642127875</c:v>
                </c:pt>
                <c:pt idx="94">
                  <c:v>17.296051642127875</c:v>
                </c:pt>
                <c:pt idx="95">
                  <c:v>17.296051642127875</c:v>
                </c:pt>
                <c:pt idx="96">
                  <c:v>17.296051642127875</c:v>
                </c:pt>
                <c:pt idx="97">
                  <c:v>17.296051642127875</c:v>
                </c:pt>
                <c:pt idx="98">
                  <c:v>17.296051642127875</c:v>
                </c:pt>
                <c:pt idx="99">
                  <c:v>17.296051642127875</c:v>
                </c:pt>
                <c:pt idx="100">
                  <c:v>17.296051642127875</c:v>
                </c:pt>
                <c:pt idx="101">
                  <c:v>17.296051642127875</c:v>
                </c:pt>
                <c:pt idx="102">
                  <c:v>17.296051642127875</c:v>
                </c:pt>
                <c:pt idx="103">
                  <c:v>17.296051642127875</c:v>
                </c:pt>
                <c:pt idx="104">
                  <c:v>17.296051642127875</c:v>
                </c:pt>
                <c:pt idx="105">
                  <c:v>17.296051642127875</c:v>
                </c:pt>
                <c:pt idx="106">
                  <c:v>17.296051642127875</c:v>
                </c:pt>
                <c:pt idx="107">
                  <c:v>17.296051642127875</c:v>
                </c:pt>
                <c:pt idx="108">
                  <c:v>17.296051642127875</c:v>
                </c:pt>
                <c:pt idx="109">
                  <c:v>17.296051642127875</c:v>
                </c:pt>
                <c:pt idx="110">
                  <c:v>17.296051642127875</c:v>
                </c:pt>
                <c:pt idx="111">
                  <c:v>17.296051642127875</c:v>
                </c:pt>
                <c:pt idx="112">
                  <c:v>17.296051642127875</c:v>
                </c:pt>
                <c:pt idx="113">
                  <c:v>17.296051642127875</c:v>
                </c:pt>
                <c:pt idx="114">
                  <c:v>17.296051642127875</c:v>
                </c:pt>
                <c:pt idx="115">
                  <c:v>17.296051642127875</c:v>
                </c:pt>
                <c:pt idx="116">
                  <c:v>17.296051642127875</c:v>
                </c:pt>
                <c:pt idx="117">
                  <c:v>17.296051642127875</c:v>
                </c:pt>
                <c:pt idx="118">
                  <c:v>17.296051642127875</c:v>
                </c:pt>
                <c:pt idx="119">
                  <c:v>17.296051642127875</c:v>
                </c:pt>
                <c:pt idx="120">
                  <c:v>17.296051642127875</c:v>
                </c:pt>
                <c:pt idx="121">
                  <c:v>17.296051642127875</c:v>
                </c:pt>
                <c:pt idx="122">
                  <c:v>17.296051642127875</c:v>
                </c:pt>
                <c:pt idx="123">
                  <c:v>17.296051642127875</c:v>
                </c:pt>
                <c:pt idx="124">
                  <c:v>17.296051642127875</c:v>
                </c:pt>
                <c:pt idx="125">
                  <c:v>17.296051642127875</c:v>
                </c:pt>
                <c:pt idx="126">
                  <c:v>17.296051642127875</c:v>
                </c:pt>
                <c:pt idx="127">
                  <c:v>17.296051642127875</c:v>
                </c:pt>
                <c:pt idx="128">
                  <c:v>17.296051642127875</c:v>
                </c:pt>
                <c:pt idx="129">
                  <c:v>17.296051642127875</c:v>
                </c:pt>
                <c:pt idx="130">
                  <c:v>17.296051642127875</c:v>
                </c:pt>
                <c:pt idx="131">
                  <c:v>17.296051642127875</c:v>
                </c:pt>
                <c:pt idx="132">
                  <c:v>17.296051642127875</c:v>
                </c:pt>
                <c:pt idx="133">
                  <c:v>17.296051642127875</c:v>
                </c:pt>
                <c:pt idx="134">
                  <c:v>17.296051642127875</c:v>
                </c:pt>
                <c:pt idx="135">
                  <c:v>17.296051642127875</c:v>
                </c:pt>
                <c:pt idx="136">
                  <c:v>17.296051642127875</c:v>
                </c:pt>
                <c:pt idx="137">
                  <c:v>17.296051642127875</c:v>
                </c:pt>
                <c:pt idx="138">
                  <c:v>17.296051642127875</c:v>
                </c:pt>
                <c:pt idx="139">
                  <c:v>17.296051642127875</c:v>
                </c:pt>
                <c:pt idx="140">
                  <c:v>17.296051642127875</c:v>
                </c:pt>
                <c:pt idx="141">
                  <c:v>17.296051642127875</c:v>
                </c:pt>
                <c:pt idx="142">
                  <c:v>17.296051642127875</c:v>
                </c:pt>
                <c:pt idx="143">
                  <c:v>17.296051642127875</c:v>
                </c:pt>
                <c:pt idx="144">
                  <c:v>17.296051642127875</c:v>
                </c:pt>
                <c:pt idx="145">
                  <c:v>17.296051642127875</c:v>
                </c:pt>
                <c:pt idx="146">
                  <c:v>17.296051642127875</c:v>
                </c:pt>
                <c:pt idx="147">
                  <c:v>17.296051642127875</c:v>
                </c:pt>
                <c:pt idx="148">
                  <c:v>17.296051642127875</c:v>
                </c:pt>
                <c:pt idx="149">
                  <c:v>17.296051642127875</c:v>
                </c:pt>
                <c:pt idx="150">
                  <c:v>17.296051642127875</c:v>
                </c:pt>
                <c:pt idx="151">
                  <c:v>17.296051642127875</c:v>
                </c:pt>
                <c:pt idx="152">
                  <c:v>17.296051642127875</c:v>
                </c:pt>
                <c:pt idx="153">
                  <c:v>17.296051642127875</c:v>
                </c:pt>
                <c:pt idx="154">
                  <c:v>17.296051642127875</c:v>
                </c:pt>
                <c:pt idx="155">
                  <c:v>17.296051642127875</c:v>
                </c:pt>
                <c:pt idx="156">
                  <c:v>17.296051642127875</c:v>
                </c:pt>
                <c:pt idx="157">
                  <c:v>17.296051642127875</c:v>
                </c:pt>
                <c:pt idx="158">
                  <c:v>17.296051642127875</c:v>
                </c:pt>
                <c:pt idx="159">
                  <c:v>17.296051642127875</c:v>
                </c:pt>
                <c:pt idx="160">
                  <c:v>17.296051642127875</c:v>
                </c:pt>
                <c:pt idx="161">
                  <c:v>17.296051642127875</c:v>
                </c:pt>
                <c:pt idx="162">
                  <c:v>17.296051642127875</c:v>
                </c:pt>
                <c:pt idx="163">
                  <c:v>17.296051642127875</c:v>
                </c:pt>
                <c:pt idx="164">
                  <c:v>17.296051642127875</c:v>
                </c:pt>
                <c:pt idx="165">
                  <c:v>17.296051642127875</c:v>
                </c:pt>
                <c:pt idx="166">
                  <c:v>17.296051642127875</c:v>
                </c:pt>
                <c:pt idx="167">
                  <c:v>17.296051642127875</c:v>
                </c:pt>
                <c:pt idx="168">
                  <c:v>17.296051642127875</c:v>
                </c:pt>
                <c:pt idx="169">
                  <c:v>17.296051642127875</c:v>
                </c:pt>
                <c:pt idx="170">
                  <c:v>17.296051642127875</c:v>
                </c:pt>
                <c:pt idx="171">
                  <c:v>17.296051642127875</c:v>
                </c:pt>
                <c:pt idx="172">
                  <c:v>17.296051642127875</c:v>
                </c:pt>
                <c:pt idx="173">
                  <c:v>17.296051642127875</c:v>
                </c:pt>
                <c:pt idx="174">
                  <c:v>17.296051642127875</c:v>
                </c:pt>
                <c:pt idx="175">
                  <c:v>17.296051642127875</c:v>
                </c:pt>
                <c:pt idx="176">
                  <c:v>17.296051642127875</c:v>
                </c:pt>
                <c:pt idx="177">
                  <c:v>17.296051642127875</c:v>
                </c:pt>
                <c:pt idx="178">
                  <c:v>17.296051642127875</c:v>
                </c:pt>
                <c:pt idx="179">
                  <c:v>17.296051642127875</c:v>
                </c:pt>
                <c:pt idx="180">
                  <c:v>17.296051642127875</c:v>
                </c:pt>
                <c:pt idx="181">
                  <c:v>17.296051642127875</c:v>
                </c:pt>
                <c:pt idx="182">
                  <c:v>17.296051642127875</c:v>
                </c:pt>
                <c:pt idx="183">
                  <c:v>17.296051642127875</c:v>
                </c:pt>
                <c:pt idx="184">
                  <c:v>17.296051642127875</c:v>
                </c:pt>
                <c:pt idx="185">
                  <c:v>17.296051642127875</c:v>
                </c:pt>
                <c:pt idx="186">
                  <c:v>17.296051642127875</c:v>
                </c:pt>
                <c:pt idx="187">
                  <c:v>17.296051642127875</c:v>
                </c:pt>
                <c:pt idx="188">
                  <c:v>17.296051642127875</c:v>
                </c:pt>
                <c:pt idx="189">
                  <c:v>17.296051642127875</c:v>
                </c:pt>
                <c:pt idx="190">
                  <c:v>17.296051642127875</c:v>
                </c:pt>
                <c:pt idx="191">
                  <c:v>17.296051642127875</c:v>
                </c:pt>
                <c:pt idx="192">
                  <c:v>17.296051642127875</c:v>
                </c:pt>
                <c:pt idx="193">
                  <c:v>17.296051642127875</c:v>
                </c:pt>
                <c:pt idx="194">
                  <c:v>17.296051642127875</c:v>
                </c:pt>
                <c:pt idx="195">
                  <c:v>17.296051642127875</c:v>
                </c:pt>
                <c:pt idx="196">
                  <c:v>17.296051642127875</c:v>
                </c:pt>
                <c:pt idx="197">
                  <c:v>17.296051642127875</c:v>
                </c:pt>
                <c:pt idx="198">
                  <c:v>17.296051642127875</c:v>
                </c:pt>
                <c:pt idx="199">
                  <c:v>17.296051642127875</c:v>
                </c:pt>
                <c:pt idx="200">
                  <c:v>17.296051642127875</c:v>
                </c:pt>
                <c:pt idx="201">
                  <c:v>17.296051642127875</c:v>
                </c:pt>
                <c:pt idx="202">
                  <c:v>17.296051642127875</c:v>
                </c:pt>
                <c:pt idx="203">
                  <c:v>17.296051642127875</c:v>
                </c:pt>
                <c:pt idx="204">
                  <c:v>17.296051642127875</c:v>
                </c:pt>
                <c:pt idx="205">
                  <c:v>17.296051642127875</c:v>
                </c:pt>
                <c:pt idx="206">
                  <c:v>17.296051642127875</c:v>
                </c:pt>
                <c:pt idx="207">
                  <c:v>17.296051642127875</c:v>
                </c:pt>
                <c:pt idx="208">
                  <c:v>17.296051642127875</c:v>
                </c:pt>
                <c:pt idx="209">
                  <c:v>17.296051642127875</c:v>
                </c:pt>
                <c:pt idx="210">
                  <c:v>17.296051642127875</c:v>
                </c:pt>
                <c:pt idx="211">
                  <c:v>17.296051642127875</c:v>
                </c:pt>
                <c:pt idx="212">
                  <c:v>17.296051642127875</c:v>
                </c:pt>
                <c:pt idx="213">
                  <c:v>17.296051642127875</c:v>
                </c:pt>
                <c:pt idx="214">
                  <c:v>17.296051642127875</c:v>
                </c:pt>
                <c:pt idx="215">
                  <c:v>17.296051642127875</c:v>
                </c:pt>
                <c:pt idx="216">
                  <c:v>17.296051642127875</c:v>
                </c:pt>
                <c:pt idx="217">
                  <c:v>17.296051642127875</c:v>
                </c:pt>
                <c:pt idx="218">
                  <c:v>17.296051642127875</c:v>
                </c:pt>
                <c:pt idx="219">
                  <c:v>17.296051642127875</c:v>
                </c:pt>
                <c:pt idx="220">
                  <c:v>17.296051642127875</c:v>
                </c:pt>
                <c:pt idx="221">
                  <c:v>17.296051642127875</c:v>
                </c:pt>
                <c:pt idx="222">
                  <c:v>17.296051642127875</c:v>
                </c:pt>
                <c:pt idx="223">
                  <c:v>17.296051642127875</c:v>
                </c:pt>
                <c:pt idx="224">
                  <c:v>17.296051642127875</c:v>
                </c:pt>
                <c:pt idx="225">
                  <c:v>17.296051642127875</c:v>
                </c:pt>
                <c:pt idx="226">
                  <c:v>17.296051642127875</c:v>
                </c:pt>
                <c:pt idx="227">
                  <c:v>17.296051642127875</c:v>
                </c:pt>
                <c:pt idx="228">
                  <c:v>17.296051642127875</c:v>
                </c:pt>
                <c:pt idx="229">
                  <c:v>17.296051642127875</c:v>
                </c:pt>
                <c:pt idx="230">
                  <c:v>17.296051642127875</c:v>
                </c:pt>
                <c:pt idx="231">
                  <c:v>17.296051642127875</c:v>
                </c:pt>
                <c:pt idx="232">
                  <c:v>17.296051642127875</c:v>
                </c:pt>
                <c:pt idx="233">
                  <c:v>17.296051642127875</c:v>
                </c:pt>
                <c:pt idx="234">
                  <c:v>17.296051642127875</c:v>
                </c:pt>
                <c:pt idx="235">
                  <c:v>17.296051642127875</c:v>
                </c:pt>
                <c:pt idx="236">
                  <c:v>17.296051642127875</c:v>
                </c:pt>
                <c:pt idx="237">
                  <c:v>17.296051642127875</c:v>
                </c:pt>
                <c:pt idx="238">
                  <c:v>17.296051642127875</c:v>
                </c:pt>
                <c:pt idx="239">
                  <c:v>17.296051642127875</c:v>
                </c:pt>
                <c:pt idx="240">
                  <c:v>17.296051642127875</c:v>
                </c:pt>
                <c:pt idx="241">
                  <c:v>17.296051642127875</c:v>
                </c:pt>
                <c:pt idx="242">
                  <c:v>17.296051642127875</c:v>
                </c:pt>
                <c:pt idx="243">
                  <c:v>17.296051642127875</c:v>
                </c:pt>
                <c:pt idx="244">
                  <c:v>17.296051642127875</c:v>
                </c:pt>
                <c:pt idx="245">
                  <c:v>17.296051642127875</c:v>
                </c:pt>
                <c:pt idx="246">
                  <c:v>17.296051642127875</c:v>
                </c:pt>
                <c:pt idx="247">
                  <c:v>17.296051642127875</c:v>
                </c:pt>
                <c:pt idx="248">
                  <c:v>17.296051642127875</c:v>
                </c:pt>
                <c:pt idx="249">
                  <c:v>17.296051642127875</c:v>
                </c:pt>
                <c:pt idx="250">
                  <c:v>17.296051642127875</c:v>
                </c:pt>
                <c:pt idx="251">
                  <c:v>17.296051642127875</c:v>
                </c:pt>
                <c:pt idx="252">
                  <c:v>17.296051642127875</c:v>
                </c:pt>
                <c:pt idx="253">
                  <c:v>17.296051642127875</c:v>
                </c:pt>
                <c:pt idx="254">
                  <c:v>17.296051642127875</c:v>
                </c:pt>
                <c:pt idx="255">
                  <c:v>17.296051642127875</c:v>
                </c:pt>
                <c:pt idx="256">
                  <c:v>17.296051642127875</c:v>
                </c:pt>
                <c:pt idx="257">
                  <c:v>17.296051642127875</c:v>
                </c:pt>
                <c:pt idx="258">
                  <c:v>17.296051642127875</c:v>
                </c:pt>
                <c:pt idx="259">
                  <c:v>17.296051642127875</c:v>
                </c:pt>
                <c:pt idx="260">
                  <c:v>17.296051642127875</c:v>
                </c:pt>
                <c:pt idx="261">
                  <c:v>17.296051642127875</c:v>
                </c:pt>
                <c:pt idx="262">
                  <c:v>17.296051642127875</c:v>
                </c:pt>
                <c:pt idx="263">
                  <c:v>17.296051642127875</c:v>
                </c:pt>
                <c:pt idx="264">
                  <c:v>17.296051642127875</c:v>
                </c:pt>
                <c:pt idx="265">
                  <c:v>17.296051642127875</c:v>
                </c:pt>
                <c:pt idx="266">
                  <c:v>17.296051642127875</c:v>
                </c:pt>
                <c:pt idx="267">
                  <c:v>17.296051642127875</c:v>
                </c:pt>
                <c:pt idx="268">
                  <c:v>17.296051642127875</c:v>
                </c:pt>
                <c:pt idx="269">
                  <c:v>17.296051642127875</c:v>
                </c:pt>
                <c:pt idx="270">
                  <c:v>17.296051642127875</c:v>
                </c:pt>
                <c:pt idx="271">
                  <c:v>17.296051642127875</c:v>
                </c:pt>
                <c:pt idx="272">
                  <c:v>17.296051642127875</c:v>
                </c:pt>
                <c:pt idx="273">
                  <c:v>17.296051642127875</c:v>
                </c:pt>
                <c:pt idx="274">
                  <c:v>17.296051642127875</c:v>
                </c:pt>
                <c:pt idx="275">
                  <c:v>17.296051642127875</c:v>
                </c:pt>
                <c:pt idx="276">
                  <c:v>17.296051642127875</c:v>
                </c:pt>
                <c:pt idx="277">
                  <c:v>17.296051642127875</c:v>
                </c:pt>
                <c:pt idx="278">
                  <c:v>17.296051642127875</c:v>
                </c:pt>
                <c:pt idx="279">
                  <c:v>17.296051642127875</c:v>
                </c:pt>
                <c:pt idx="280">
                  <c:v>17.296051642127875</c:v>
                </c:pt>
                <c:pt idx="281">
                  <c:v>17.296051642127875</c:v>
                </c:pt>
                <c:pt idx="282">
                  <c:v>17.296051642127875</c:v>
                </c:pt>
                <c:pt idx="283">
                  <c:v>17.296051642127875</c:v>
                </c:pt>
                <c:pt idx="284">
                  <c:v>17.296051642127875</c:v>
                </c:pt>
                <c:pt idx="285">
                  <c:v>17.296051642127875</c:v>
                </c:pt>
                <c:pt idx="286">
                  <c:v>17.296051642127875</c:v>
                </c:pt>
                <c:pt idx="287">
                  <c:v>17.296051642127875</c:v>
                </c:pt>
                <c:pt idx="288">
                  <c:v>17.296051642127875</c:v>
                </c:pt>
                <c:pt idx="289">
                  <c:v>17.296051642127875</c:v>
                </c:pt>
                <c:pt idx="290">
                  <c:v>17.296051642127875</c:v>
                </c:pt>
                <c:pt idx="291">
                  <c:v>17.296051642127875</c:v>
                </c:pt>
                <c:pt idx="292">
                  <c:v>17.296051642127875</c:v>
                </c:pt>
                <c:pt idx="293">
                  <c:v>17.296051642127875</c:v>
                </c:pt>
                <c:pt idx="294">
                  <c:v>17.296051642127875</c:v>
                </c:pt>
                <c:pt idx="295">
                  <c:v>17.296051642127875</c:v>
                </c:pt>
                <c:pt idx="296">
                  <c:v>17.296051642127875</c:v>
                </c:pt>
                <c:pt idx="297">
                  <c:v>17.296051642127875</c:v>
                </c:pt>
                <c:pt idx="298">
                  <c:v>17.296051642127875</c:v>
                </c:pt>
                <c:pt idx="299">
                  <c:v>17.296051642127875</c:v>
                </c:pt>
                <c:pt idx="300">
                  <c:v>17.296051642127875</c:v>
                </c:pt>
                <c:pt idx="301">
                  <c:v>17.296051642127875</c:v>
                </c:pt>
                <c:pt idx="302">
                  <c:v>17.296051642127875</c:v>
                </c:pt>
                <c:pt idx="303">
                  <c:v>17.296051642127875</c:v>
                </c:pt>
                <c:pt idx="304">
                  <c:v>17.296051642127875</c:v>
                </c:pt>
                <c:pt idx="305">
                  <c:v>17.296051642127875</c:v>
                </c:pt>
                <c:pt idx="306">
                  <c:v>17.296051642127875</c:v>
                </c:pt>
                <c:pt idx="307">
                  <c:v>17.296051642127875</c:v>
                </c:pt>
                <c:pt idx="308">
                  <c:v>17.296051642127875</c:v>
                </c:pt>
                <c:pt idx="309">
                  <c:v>17.296051642127875</c:v>
                </c:pt>
                <c:pt idx="310">
                  <c:v>17.296051642127875</c:v>
                </c:pt>
                <c:pt idx="311">
                  <c:v>17.296051642127875</c:v>
                </c:pt>
                <c:pt idx="312">
                  <c:v>17.296051642127875</c:v>
                </c:pt>
                <c:pt idx="313">
                  <c:v>17.296051642127875</c:v>
                </c:pt>
                <c:pt idx="314">
                  <c:v>17.296051642127875</c:v>
                </c:pt>
                <c:pt idx="315">
                  <c:v>17.296051642127875</c:v>
                </c:pt>
                <c:pt idx="316">
                  <c:v>17.296051642127875</c:v>
                </c:pt>
                <c:pt idx="317">
                  <c:v>17.296051642127875</c:v>
                </c:pt>
                <c:pt idx="318">
                  <c:v>17.296051642127875</c:v>
                </c:pt>
                <c:pt idx="319">
                  <c:v>17.296051642127875</c:v>
                </c:pt>
                <c:pt idx="320">
                  <c:v>17.296051642127875</c:v>
                </c:pt>
                <c:pt idx="321">
                  <c:v>17.296051642127875</c:v>
                </c:pt>
                <c:pt idx="322">
                  <c:v>17.296051642127875</c:v>
                </c:pt>
                <c:pt idx="323">
                  <c:v>17.296051642127875</c:v>
                </c:pt>
                <c:pt idx="324">
                  <c:v>17.296051642127875</c:v>
                </c:pt>
                <c:pt idx="325">
                  <c:v>17.296051642127875</c:v>
                </c:pt>
                <c:pt idx="326">
                  <c:v>17.296051642127875</c:v>
                </c:pt>
                <c:pt idx="327">
                  <c:v>17.296051642127875</c:v>
                </c:pt>
                <c:pt idx="328">
                  <c:v>17.296051642127875</c:v>
                </c:pt>
                <c:pt idx="329">
                  <c:v>17.296051642127875</c:v>
                </c:pt>
                <c:pt idx="330">
                  <c:v>17.296051642127875</c:v>
                </c:pt>
                <c:pt idx="331">
                  <c:v>17.296051642127875</c:v>
                </c:pt>
                <c:pt idx="332">
                  <c:v>17.296051642127875</c:v>
                </c:pt>
                <c:pt idx="333">
                  <c:v>17.296051642127875</c:v>
                </c:pt>
                <c:pt idx="334">
                  <c:v>17.296051642127875</c:v>
                </c:pt>
                <c:pt idx="335">
                  <c:v>17.296051642127875</c:v>
                </c:pt>
                <c:pt idx="336">
                  <c:v>17.296051642127875</c:v>
                </c:pt>
                <c:pt idx="337">
                  <c:v>17.296051642127875</c:v>
                </c:pt>
                <c:pt idx="338">
                  <c:v>17.296051642127875</c:v>
                </c:pt>
                <c:pt idx="339">
                  <c:v>17.296051642127875</c:v>
                </c:pt>
                <c:pt idx="340">
                  <c:v>17.296051642127875</c:v>
                </c:pt>
                <c:pt idx="341">
                  <c:v>17.296051642127875</c:v>
                </c:pt>
                <c:pt idx="342">
                  <c:v>17.296051642127875</c:v>
                </c:pt>
                <c:pt idx="343">
                  <c:v>17.296051642127875</c:v>
                </c:pt>
                <c:pt idx="344">
                  <c:v>17.296051642127875</c:v>
                </c:pt>
                <c:pt idx="345">
                  <c:v>17.296051642127875</c:v>
                </c:pt>
                <c:pt idx="346">
                  <c:v>17.296051642127875</c:v>
                </c:pt>
                <c:pt idx="347">
                  <c:v>17.296051642127875</c:v>
                </c:pt>
                <c:pt idx="348">
                  <c:v>17.296051642127875</c:v>
                </c:pt>
                <c:pt idx="349">
                  <c:v>17.296051642127875</c:v>
                </c:pt>
                <c:pt idx="350">
                  <c:v>17.296051642127875</c:v>
                </c:pt>
                <c:pt idx="351">
                  <c:v>17.296051642127875</c:v>
                </c:pt>
                <c:pt idx="352">
                  <c:v>17.296051642127875</c:v>
                </c:pt>
                <c:pt idx="353">
                  <c:v>17.296051642127875</c:v>
                </c:pt>
                <c:pt idx="354">
                  <c:v>17.296051642127875</c:v>
                </c:pt>
                <c:pt idx="355">
                  <c:v>17.296051642127875</c:v>
                </c:pt>
                <c:pt idx="356">
                  <c:v>17.296051642127875</c:v>
                </c:pt>
                <c:pt idx="357">
                  <c:v>17.296051642127875</c:v>
                </c:pt>
                <c:pt idx="358">
                  <c:v>17.296051642127875</c:v>
                </c:pt>
                <c:pt idx="359">
                  <c:v>17.296051642127875</c:v>
                </c:pt>
                <c:pt idx="360">
                  <c:v>17.296051642127875</c:v>
                </c:pt>
                <c:pt idx="361">
                  <c:v>17.296051642127875</c:v>
                </c:pt>
                <c:pt idx="362">
                  <c:v>17.296051642127875</c:v>
                </c:pt>
                <c:pt idx="363">
                  <c:v>17.296051642127875</c:v>
                </c:pt>
                <c:pt idx="364">
                  <c:v>17.296051642127875</c:v>
                </c:pt>
                <c:pt idx="365">
                  <c:v>17.296051642127875</c:v>
                </c:pt>
                <c:pt idx="366">
                  <c:v>17.296051642127875</c:v>
                </c:pt>
                <c:pt idx="367">
                  <c:v>17.296051642127875</c:v>
                </c:pt>
                <c:pt idx="368">
                  <c:v>17.296051642127875</c:v>
                </c:pt>
                <c:pt idx="369">
                  <c:v>17.296051642127875</c:v>
                </c:pt>
                <c:pt idx="370">
                  <c:v>17.296051642127875</c:v>
                </c:pt>
                <c:pt idx="371">
                  <c:v>17.296051642127875</c:v>
                </c:pt>
                <c:pt idx="372">
                  <c:v>17.296051642127875</c:v>
                </c:pt>
                <c:pt idx="373">
                  <c:v>17.296051642127875</c:v>
                </c:pt>
                <c:pt idx="374">
                  <c:v>17.296051642127875</c:v>
                </c:pt>
                <c:pt idx="375">
                  <c:v>17.296051642127875</c:v>
                </c:pt>
                <c:pt idx="376">
                  <c:v>17.296051642127875</c:v>
                </c:pt>
                <c:pt idx="377">
                  <c:v>17.296051642127875</c:v>
                </c:pt>
                <c:pt idx="378">
                  <c:v>17.296051642127875</c:v>
                </c:pt>
                <c:pt idx="379">
                  <c:v>17.296051642127875</c:v>
                </c:pt>
                <c:pt idx="380">
                  <c:v>17.296051642127875</c:v>
                </c:pt>
                <c:pt idx="381">
                  <c:v>17.296051642127875</c:v>
                </c:pt>
                <c:pt idx="382">
                  <c:v>17.296051642127875</c:v>
                </c:pt>
                <c:pt idx="383">
                  <c:v>17.296051642127875</c:v>
                </c:pt>
                <c:pt idx="384">
                  <c:v>17.296051642127875</c:v>
                </c:pt>
                <c:pt idx="385">
                  <c:v>17.296051642127875</c:v>
                </c:pt>
                <c:pt idx="386">
                  <c:v>17.296051642127875</c:v>
                </c:pt>
                <c:pt idx="387">
                  <c:v>17.296051642127875</c:v>
                </c:pt>
                <c:pt idx="388">
                  <c:v>17.296051642127875</c:v>
                </c:pt>
                <c:pt idx="389">
                  <c:v>17.296051642127875</c:v>
                </c:pt>
                <c:pt idx="390">
                  <c:v>17.296051642127875</c:v>
                </c:pt>
                <c:pt idx="391">
                  <c:v>17.296051642127875</c:v>
                </c:pt>
                <c:pt idx="392">
                  <c:v>17.296051642127875</c:v>
                </c:pt>
                <c:pt idx="393">
                  <c:v>17.296051642127875</c:v>
                </c:pt>
                <c:pt idx="394">
                  <c:v>17.296051642127875</c:v>
                </c:pt>
                <c:pt idx="395">
                  <c:v>17.296051642127875</c:v>
                </c:pt>
                <c:pt idx="396">
                  <c:v>17.296051642127875</c:v>
                </c:pt>
                <c:pt idx="397">
                  <c:v>17.296051642127875</c:v>
                </c:pt>
                <c:pt idx="398">
                  <c:v>17.296051642127875</c:v>
                </c:pt>
                <c:pt idx="399">
                  <c:v>17.296051642127875</c:v>
                </c:pt>
                <c:pt idx="400">
                  <c:v>17.296051642127875</c:v>
                </c:pt>
                <c:pt idx="401">
                  <c:v>17.296051642127875</c:v>
                </c:pt>
                <c:pt idx="402">
                  <c:v>17.296051642127875</c:v>
                </c:pt>
                <c:pt idx="403">
                  <c:v>17.296051642127875</c:v>
                </c:pt>
                <c:pt idx="404">
                  <c:v>17.296051642127875</c:v>
                </c:pt>
                <c:pt idx="405">
                  <c:v>17.296051642127875</c:v>
                </c:pt>
                <c:pt idx="406">
                  <c:v>17.296051642127875</c:v>
                </c:pt>
                <c:pt idx="407">
                  <c:v>17.296051642127875</c:v>
                </c:pt>
                <c:pt idx="408">
                  <c:v>17.296051642127875</c:v>
                </c:pt>
                <c:pt idx="409">
                  <c:v>17.296051642127875</c:v>
                </c:pt>
                <c:pt idx="410">
                  <c:v>17.296051642127875</c:v>
                </c:pt>
                <c:pt idx="411">
                  <c:v>17.296051642127875</c:v>
                </c:pt>
                <c:pt idx="412">
                  <c:v>17.296051642127875</c:v>
                </c:pt>
                <c:pt idx="413">
                  <c:v>17.296051642127875</c:v>
                </c:pt>
                <c:pt idx="414">
                  <c:v>17.296051642127875</c:v>
                </c:pt>
                <c:pt idx="415">
                  <c:v>17.296051642127875</c:v>
                </c:pt>
                <c:pt idx="416">
                  <c:v>17.296051642127875</c:v>
                </c:pt>
                <c:pt idx="417">
                  <c:v>17.296051642127875</c:v>
                </c:pt>
                <c:pt idx="418">
                  <c:v>17.296051642127875</c:v>
                </c:pt>
                <c:pt idx="419">
                  <c:v>17.296051642127875</c:v>
                </c:pt>
                <c:pt idx="420">
                  <c:v>17.296051642127875</c:v>
                </c:pt>
                <c:pt idx="421">
                  <c:v>17.296051642127875</c:v>
                </c:pt>
                <c:pt idx="422">
                  <c:v>17.296051642127875</c:v>
                </c:pt>
                <c:pt idx="423">
                  <c:v>17.296051642127875</c:v>
                </c:pt>
                <c:pt idx="424">
                  <c:v>17.296051642127875</c:v>
                </c:pt>
                <c:pt idx="425">
                  <c:v>17.296051642127875</c:v>
                </c:pt>
                <c:pt idx="426">
                  <c:v>17.296051642127875</c:v>
                </c:pt>
                <c:pt idx="427">
                  <c:v>17.296051642127875</c:v>
                </c:pt>
                <c:pt idx="428">
                  <c:v>17.296051642127875</c:v>
                </c:pt>
                <c:pt idx="429">
                  <c:v>17.296051642127875</c:v>
                </c:pt>
                <c:pt idx="430">
                  <c:v>17.296051642127875</c:v>
                </c:pt>
                <c:pt idx="431">
                  <c:v>17.296051642127875</c:v>
                </c:pt>
                <c:pt idx="432">
                  <c:v>17.296051642127875</c:v>
                </c:pt>
                <c:pt idx="433">
                  <c:v>17.296051642127875</c:v>
                </c:pt>
                <c:pt idx="434">
                  <c:v>17.296051642127875</c:v>
                </c:pt>
                <c:pt idx="435">
                  <c:v>17.296051642127875</c:v>
                </c:pt>
                <c:pt idx="436">
                  <c:v>17.296051642127875</c:v>
                </c:pt>
                <c:pt idx="437">
                  <c:v>17.296051642127875</c:v>
                </c:pt>
                <c:pt idx="438">
                  <c:v>17.296051642127875</c:v>
                </c:pt>
                <c:pt idx="439">
                  <c:v>17.296051642127875</c:v>
                </c:pt>
                <c:pt idx="440">
                  <c:v>17.296051642127875</c:v>
                </c:pt>
                <c:pt idx="441">
                  <c:v>17.296051642127875</c:v>
                </c:pt>
                <c:pt idx="442">
                  <c:v>17.296051642127875</c:v>
                </c:pt>
                <c:pt idx="443">
                  <c:v>17.296051642127875</c:v>
                </c:pt>
                <c:pt idx="444">
                  <c:v>17.296051642127875</c:v>
                </c:pt>
                <c:pt idx="445">
                  <c:v>17.296051642127875</c:v>
                </c:pt>
                <c:pt idx="446">
                  <c:v>17.296051642127875</c:v>
                </c:pt>
                <c:pt idx="447">
                  <c:v>17.296051642127875</c:v>
                </c:pt>
                <c:pt idx="448">
                  <c:v>17.296051642127875</c:v>
                </c:pt>
                <c:pt idx="449">
                  <c:v>17.296051642127875</c:v>
                </c:pt>
                <c:pt idx="450">
                  <c:v>17.296051642127875</c:v>
                </c:pt>
                <c:pt idx="451">
                  <c:v>17.296051642127875</c:v>
                </c:pt>
                <c:pt idx="452">
                  <c:v>17.296051642127875</c:v>
                </c:pt>
                <c:pt idx="453">
                  <c:v>17.296051642127875</c:v>
                </c:pt>
                <c:pt idx="454">
                  <c:v>17.296051642127875</c:v>
                </c:pt>
                <c:pt idx="455">
                  <c:v>17.296051642127875</c:v>
                </c:pt>
                <c:pt idx="456">
                  <c:v>17.296051642127875</c:v>
                </c:pt>
                <c:pt idx="457">
                  <c:v>17.296051642127875</c:v>
                </c:pt>
                <c:pt idx="458">
                  <c:v>17.296051642127875</c:v>
                </c:pt>
                <c:pt idx="459">
                  <c:v>17.296051642127875</c:v>
                </c:pt>
                <c:pt idx="460">
                  <c:v>17.296051642127875</c:v>
                </c:pt>
                <c:pt idx="461">
                  <c:v>17.296051642127875</c:v>
                </c:pt>
                <c:pt idx="462">
                  <c:v>17.296051642127875</c:v>
                </c:pt>
                <c:pt idx="463">
                  <c:v>17.296051642127875</c:v>
                </c:pt>
                <c:pt idx="464">
                  <c:v>17.296051642127875</c:v>
                </c:pt>
                <c:pt idx="465">
                  <c:v>17.296051642127875</c:v>
                </c:pt>
                <c:pt idx="466">
                  <c:v>17.296051642127875</c:v>
                </c:pt>
                <c:pt idx="467">
                  <c:v>17.296051642127875</c:v>
                </c:pt>
                <c:pt idx="468">
                  <c:v>17.296051642127875</c:v>
                </c:pt>
                <c:pt idx="469">
                  <c:v>17.296051642127875</c:v>
                </c:pt>
                <c:pt idx="470">
                  <c:v>17.296051642127875</c:v>
                </c:pt>
                <c:pt idx="471">
                  <c:v>17.296051642127875</c:v>
                </c:pt>
                <c:pt idx="472">
                  <c:v>17.296051642127875</c:v>
                </c:pt>
                <c:pt idx="473">
                  <c:v>17.296051642127875</c:v>
                </c:pt>
                <c:pt idx="474">
                  <c:v>17.296051642127875</c:v>
                </c:pt>
                <c:pt idx="475">
                  <c:v>17.296051642127875</c:v>
                </c:pt>
                <c:pt idx="476">
                  <c:v>17.296051642127875</c:v>
                </c:pt>
                <c:pt idx="477">
                  <c:v>17.296051642127875</c:v>
                </c:pt>
                <c:pt idx="478">
                  <c:v>17.296051642127875</c:v>
                </c:pt>
                <c:pt idx="479">
                  <c:v>17.296051642127875</c:v>
                </c:pt>
                <c:pt idx="480">
                  <c:v>17.296051642127875</c:v>
                </c:pt>
                <c:pt idx="481">
                  <c:v>17.296051642127875</c:v>
                </c:pt>
                <c:pt idx="482">
                  <c:v>17.296051642127875</c:v>
                </c:pt>
                <c:pt idx="483">
                  <c:v>17.296051642127875</c:v>
                </c:pt>
                <c:pt idx="484">
                  <c:v>17.296051642127875</c:v>
                </c:pt>
                <c:pt idx="485">
                  <c:v>17.296051642127875</c:v>
                </c:pt>
                <c:pt idx="486">
                  <c:v>17.296051642127875</c:v>
                </c:pt>
                <c:pt idx="487">
                  <c:v>17.296051642127875</c:v>
                </c:pt>
                <c:pt idx="488">
                  <c:v>17.296051642127875</c:v>
                </c:pt>
                <c:pt idx="489">
                  <c:v>17.296051642127875</c:v>
                </c:pt>
                <c:pt idx="490">
                  <c:v>17.296051642127875</c:v>
                </c:pt>
                <c:pt idx="491">
                  <c:v>17.296051642127875</c:v>
                </c:pt>
                <c:pt idx="492">
                  <c:v>17.296051642127875</c:v>
                </c:pt>
                <c:pt idx="493">
                  <c:v>17.296051642127875</c:v>
                </c:pt>
                <c:pt idx="494">
                  <c:v>17.296051642127875</c:v>
                </c:pt>
                <c:pt idx="495">
                  <c:v>17.296051642127875</c:v>
                </c:pt>
                <c:pt idx="496">
                  <c:v>17.296051642127875</c:v>
                </c:pt>
                <c:pt idx="497">
                  <c:v>17.296051642127875</c:v>
                </c:pt>
                <c:pt idx="498">
                  <c:v>17.296051642127875</c:v>
                </c:pt>
                <c:pt idx="499">
                  <c:v>17.296051642127875</c:v>
                </c:pt>
                <c:pt idx="500">
                  <c:v>17.296051642127875</c:v>
                </c:pt>
                <c:pt idx="501">
                  <c:v>17.296051642127875</c:v>
                </c:pt>
                <c:pt idx="502">
                  <c:v>17.296051642127875</c:v>
                </c:pt>
                <c:pt idx="503">
                  <c:v>17.296051642127875</c:v>
                </c:pt>
                <c:pt idx="504">
                  <c:v>17.296051642127875</c:v>
                </c:pt>
                <c:pt idx="505">
                  <c:v>17.296051642127875</c:v>
                </c:pt>
                <c:pt idx="506">
                  <c:v>17.296051642127875</c:v>
                </c:pt>
                <c:pt idx="507">
                  <c:v>17.296051642127875</c:v>
                </c:pt>
                <c:pt idx="508">
                  <c:v>17.296051642127875</c:v>
                </c:pt>
                <c:pt idx="509">
                  <c:v>17.296051642127875</c:v>
                </c:pt>
                <c:pt idx="510">
                  <c:v>17.296051642127875</c:v>
                </c:pt>
                <c:pt idx="511">
                  <c:v>17.296051642127875</c:v>
                </c:pt>
                <c:pt idx="512">
                  <c:v>17.296051642127875</c:v>
                </c:pt>
                <c:pt idx="513">
                  <c:v>17.296051642127875</c:v>
                </c:pt>
                <c:pt idx="514">
                  <c:v>17.296051642127875</c:v>
                </c:pt>
                <c:pt idx="515">
                  <c:v>17.296051642127875</c:v>
                </c:pt>
                <c:pt idx="516">
                  <c:v>17.296051642127875</c:v>
                </c:pt>
                <c:pt idx="517">
                  <c:v>17.296051642127875</c:v>
                </c:pt>
                <c:pt idx="518">
                  <c:v>17.296051642127875</c:v>
                </c:pt>
                <c:pt idx="519">
                  <c:v>17.296051642127875</c:v>
                </c:pt>
                <c:pt idx="520">
                  <c:v>17.296051642127875</c:v>
                </c:pt>
                <c:pt idx="521">
                  <c:v>17.296051642127875</c:v>
                </c:pt>
                <c:pt idx="522">
                  <c:v>17.296051642127875</c:v>
                </c:pt>
                <c:pt idx="523">
                  <c:v>17.296051642127875</c:v>
                </c:pt>
                <c:pt idx="524">
                  <c:v>17.296051642127875</c:v>
                </c:pt>
                <c:pt idx="525">
                  <c:v>17.296051642127875</c:v>
                </c:pt>
                <c:pt idx="526">
                  <c:v>17.296051642127875</c:v>
                </c:pt>
                <c:pt idx="527">
                  <c:v>17.296051642127875</c:v>
                </c:pt>
                <c:pt idx="528">
                  <c:v>17.296051642127875</c:v>
                </c:pt>
                <c:pt idx="529">
                  <c:v>17.296051642127875</c:v>
                </c:pt>
                <c:pt idx="530">
                  <c:v>17.296051642127875</c:v>
                </c:pt>
                <c:pt idx="531">
                  <c:v>17.296051642127875</c:v>
                </c:pt>
                <c:pt idx="532">
                  <c:v>17.296051642127875</c:v>
                </c:pt>
                <c:pt idx="533">
                  <c:v>17.296051642127875</c:v>
                </c:pt>
                <c:pt idx="534">
                  <c:v>17.296051642127875</c:v>
                </c:pt>
                <c:pt idx="535">
                  <c:v>17.296051642127875</c:v>
                </c:pt>
                <c:pt idx="536">
                  <c:v>17.296051642127875</c:v>
                </c:pt>
                <c:pt idx="537">
                  <c:v>17.296051642127875</c:v>
                </c:pt>
                <c:pt idx="538">
                  <c:v>17.296051642127875</c:v>
                </c:pt>
                <c:pt idx="539">
                  <c:v>17.296051642127875</c:v>
                </c:pt>
                <c:pt idx="540">
                  <c:v>17.296051642127875</c:v>
                </c:pt>
                <c:pt idx="541">
                  <c:v>17.296051642127875</c:v>
                </c:pt>
                <c:pt idx="542">
                  <c:v>17.296051642127875</c:v>
                </c:pt>
                <c:pt idx="543">
                  <c:v>17.296051642127875</c:v>
                </c:pt>
                <c:pt idx="544">
                  <c:v>17.296051642127875</c:v>
                </c:pt>
                <c:pt idx="545">
                  <c:v>17.296051642127875</c:v>
                </c:pt>
                <c:pt idx="546">
                  <c:v>17.296051642127875</c:v>
                </c:pt>
                <c:pt idx="547">
                  <c:v>17.296051642127875</c:v>
                </c:pt>
                <c:pt idx="548">
                  <c:v>17.296051642127875</c:v>
                </c:pt>
                <c:pt idx="549">
                  <c:v>17.296051642127875</c:v>
                </c:pt>
                <c:pt idx="550">
                  <c:v>17.296051642127875</c:v>
                </c:pt>
                <c:pt idx="551">
                  <c:v>17.296051642127875</c:v>
                </c:pt>
                <c:pt idx="552">
                  <c:v>17.296051642127875</c:v>
                </c:pt>
                <c:pt idx="553">
                  <c:v>17.296051642127875</c:v>
                </c:pt>
                <c:pt idx="554">
                  <c:v>17.296051642127875</c:v>
                </c:pt>
                <c:pt idx="555">
                  <c:v>17.296051642127875</c:v>
                </c:pt>
                <c:pt idx="556">
                  <c:v>17.296051642127875</c:v>
                </c:pt>
                <c:pt idx="557">
                  <c:v>17.296051642127875</c:v>
                </c:pt>
                <c:pt idx="558">
                  <c:v>17.296051642127875</c:v>
                </c:pt>
                <c:pt idx="559">
                  <c:v>17.296051642127875</c:v>
                </c:pt>
                <c:pt idx="560">
                  <c:v>17.296051642127875</c:v>
                </c:pt>
                <c:pt idx="561">
                  <c:v>17.296051642127875</c:v>
                </c:pt>
                <c:pt idx="562">
                  <c:v>17.296051642127875</c:v>
                </c:pt>
                <c:pt idx="563">
                  <c:v>17.296051642127875</c:v>
                </c:pt>
                <c:pt idx="564">
                  <c:v>17.296051642127875</c:v>
                </c:pt>
                <c:pt idx="565">
                  <c:v>17.296051642127875</c:v>
                </c:pt>
                <c:pt idx="566">
                  <c:v>17.296051642127875</c:v>
                </c:pt>
                <c:pt idx="567">
                  <c:v>17.296051642127875</c:v>
                </c:pt>
                <c:pt idx="568">
                  <c:v>17.296051642127875</c:v>
                </c:pt>
                <c:pt idx="569">
                  <c:v>17.296051642127875</c:v>
                </c:pt>
                <c:pt idx="570">
                  <c:v>17.296051642127875</c:v>
                </c:pt>
                <c:pt idx="571">
                  <c:v>17.296051642127875</c:v>
                </c:pt>
                <c:pt idx="572">
                  <c:v>17.296051642127875</c:v>
                </c:pt>
                <c:pt idx="573">
                  <c:v>17.296051642127875</c:v>
                </c:pt>
                <c:pt idx="574">
                  <c:v>17.296051642127875</c:v>
                </c:pt>
                <c:pt idx="575">
                  <c:v>17.296051642127875</c:v>
                </c:pt>
                <c:pt idx="576">
                  <c:v>17.296051642127875</c:v>
                </c:pt>
                <c:pt idx="577">
                  <c:v>17.296051642127875</c:v>
                </c:pt>
                <c:pt idx="578">
                  <c:v>17.296051642127875</c:v>
                </c:pt>
                <c:pt idx="579">
                  <c:v>17.296051642127875</c:v>
                </c:pt>
                <c:pt idx="580">
                  <c:v>17.296051642127875</c:v>
                </c:pt>
                <c:pt idx="581">
                  <c:v>17.296051642127875</c:v>
                </c:pt>
                <c:pt idx="582">
                  <c:v>17.296051642127875</c:v>
                </c:pt>
                <c:pt idx="583">
                  <c:v>17.296051642127875</c:v>
                </c:pt>
                <c:pt idx="584">
                  <c:v>17.296051642127875</c:v>
                </c:pt>
                <c:pt idx="585">
                  <c:v>17.296051642127875</c:v>
                </c:pt>
                <c:pt idx="586">
                  <c:v>17.296051642127875</c:v>
                </c:pt>
                <c:pt idx="587">
                  <c:v>17.296051642127875</c:v>
                </c:pt>
                <c:pt idx="588">
                  <c:v>17.296051642127875</c:v>
                </c:pt>
                <c:pt idx="589">
                  <c:v>17.296051642127875</c:v>
                </c:pt>
                <c:pt idx="590">
                  <c:v>17.296051642127875</c:v>
                </c:pt>
                <c:pt idx="591">
                  <c:v>17.296051642127875</c:v>
                </c:pt>
                <c:pt idx="592">
                  <c:v>17.296051642127875</c:v>
                </c:pt>
                <c:pt idx="593">
                  <c:v>17.296051642127875</c:v>
                </c:pt>
                <c:pt idx="594">
                  <c:v>17.296051642127875</c:v>
                </c:pt>
                <c:pt idx="595">
                  <c:v>17.296051642127875</c:v>
                </c:pt>
                <c:pt idx="596">
                  <c:v>17.296051642127875</c:v>
                </c:pt>
                <c:pt idx="597">
                  <c:v>17.296051642127875</c:v>
                </c:pt>
                <c:pt idx="598">
                  <c:v>17.296051642127875</c:v>
                </c:pt>
                <c:pt idx="599">
                  <c:v>17.296051642127875</c:v>
                </c:pt>
                <c:pt idx="600">
                  <c:v>17.296051642127875</c:v>
                </c:pt>
                <c:pt idx="601">
                  <c:v>17.296051642127875</c:v>
                </c:pt>
                <c:pt idx="602">
                  <c:v>17.296051642127875</c:v>
                </c:pt>
                <c:pt idx="603">
                  <c:v>17.296051642127875</c:v>
                </c:pt>
                <c:pt idx="604">
                  <c:v>17.296051642127875</c:v>
                </c:pt>
                <c:pt idx="605">
                  <c:v>17.296051642127875</c:v>
                </c:pt>
                <c:pt idx="606">
                  <c:v>17.296051642127875</c:v>
                </c:pt>
                <c:pt idx="607">
                  <c:v>17.296051642127875</c:v>
                </c:pt>
                <c:pt idx="608">
                  <c:v>17.296051642127875</c:v>
                </c:pt>
                <c:pt idx="609">
                  <c:v>17.296051642127875</c:v>
                </c:pt>
                <c:pt idx="610">
                  <c:v>17.296051642127875</c:v>
                </c:pt>
                <c:pt idx="611">
                  <c:v>17.296051642127875</c:v>
                </c:pt>
                <c:pt idx="612">
                  <c:v>17.296051642127875</c:v>
                </c:pt>
                <c:pt idx="613">
                  <c:v>17.296051642127875</c:v>
                </c:pt>
                <c:pt idx="614">
                  <c:v>17.296051642127875</c:v>
                </c:pt>
                <c:pt idx="615">
                  <c:v>17.296051642127875</c:v>
                </c:pt>
                <c:pt idx="616">
                  <c:v>17.296051642127875</c:v>
                </c:pt>
                <c:pt idx="617">
                  <c:v>17.296051642127875</c:v>
                </c:pt>
                <c:pt idx="618">
                  <c:v>17.296051642127875</c:v>
                </c:pt>
                <c:pt idx="619">
                  <c:v>17.296051642127875</c:v>
                </c:pt>
                <c:pt idx="620">
                  <c:v>17.296051642127875</c:v>
                </c:pt>
                <c:pt idx="621">
                  <c:v>17.296051642127875</c:v>
                </c:pt>
                <c:pt idx="622">
                  <c:v>17.296051642127875</c:v>
                </c:pt>
                <c:pt idx="623">
                  <c:v>17.296051642127875</c:v>
                </c:pt>
                <c:pt idx="624">
                  <c:v>17.296051642127875</c:v>
                </c:pt>
                <c:pt idx="625">
                  <c:v>17.296051642127875</c:v>
                </c:pt>
                <c:pt idx="626">
                  <c:v>17.296051642127875</c:v>
                </c:pt>
                <c:pt idx="627">
                  <c:v>17.296051642127875</c:v>
                </c:pt>
                <c:pt idx="628">
                  <c:v>17.296051642127875</c:v>
                </c:pt>
                <c:pt idx="629">
                  <c:v>17.296051642127875</c:v>
                </c:pt>
                <c:pt idx="630">
                  <c:v>17.296051642127875</c:v>
                </c:pt>
                <c:pt idx="631">
                  <c:v>17.296051642127875</c:v>
                </c:pt>
                <c:pt idx="632">
                  <c:v>17.296051642127875</c:v>
                </c:pt>
                <c:pt idx="633">
                  <c:v>17.296051642127875</c:v>
                </c:pt>
                <c:pt idx="634">
                  <c:v>17.296051642127875</c:v>
                </c:pt>
                <c:pt idx="635">
                  <c:v>17.296051642127875</c:v>
                </c:pt>
                <c:pt idx="636">
                  <c:v>17.296051642127875</c:v>
                </c:pt>
                <c:pt idx="637">
                  <c:v>17.296051642127875</c:v>
                </c:pt>
                <c:pt idx="638">
                  <c:v>17.296051642127875</c:v>
                </c:pt>
                <c:pt idx="639">
                  <c:v>17.296051642127875</c:v>
                </c:pt>
                <c:pt idx="640">
                  <c:v>17.296051642127875</c:v>
                </c:pt>
                <c:pt idx="641">
                  <c:v>17.296051642127875</c:v>
                </c:pt>
                <c:pt idx="642">
                  <c:v>17.296051642127875</c:v>
                </c:pt>
                <c:pt idx="643">
                  <c:v>17.296051642127875</c:v>
                </c:pt>
                <c:pt idx="644">
                  <c:v>17.296051642127875</c:v>
                </c:pt>
                <c:pt idx="645">
                  <c:v>17.296051642127875</c:v>
                </c:pt>
                <c:pt idx="646">
                  <c:v>17.296051642127875</c:v>
                </c:pt>
                <c:pt idx="647">
                  <c:v>17.296051642127875</c:v>
                </c:pt>
                <c:pt idx="648">
                  <c:v>17.296051642127875</c:v>
                </c:pt>
                <c:pt idx="649">
                  <c:v>17.296051642127875</c:v>
                </c:pt>
                <c:pt idx="650">
                  <c:v>17.296051642127875</c:v>
                </c:pt>
                <c:pt idx="651">
                  <c:v>17.296051642127875</c:v>
                </c:pt>
                <c:pt idx="652">
                  <c:v>17.296051642127875</c:v>
                </c:pt>
                <c:pt idx="653">
                  <c:v>17.296051642127875</c:v>
                </c:pt>
                <c:pt idx="654">
                  <c:v>17.296051642127875</c:v>
                </c:pt>
                <c:pt idx="655">
                  <c:v>17.296051642127875</c:v>
                </c:pt>
                <c:pt idx="656">
                  <c:v>17.296051642127875</c:v>
                </c:pt>
                <c:pt idx="657">
                  <c:v>17.296051642127875</c:v>
                </c:pt>
                <c:pt idx="658">
                  <c:v>17.296051642127875</c:v>
                </c:pt>
                <c:pt idx="659">
                  <c:v>17.296051642127875</c:v>
                </c:pt>
                <c:pt idx="660">
                  <c:v>17.296051642127875</c:v>
                </c:pt>
                <c:pt idx="661">
                  <c:v>17.296051642127875</c:v>
                </c:pt>
                <c:pt idx="662">
                  <c:v>17.296051642127875</c:v>
                </c:pt>
                <c:pt idx="663">
                  <c:v>17.296051642127875</c:v>
                </c:pt>
                <c:pt idx="664">
                  <c:v>17.296051642127875</c:v>
                </c:pt>
                <c:pt idx="665">
                  <c:v>17.296051642127875</c:v>
                </c:pt>
                <c:pt idx="666">
                  <c:v>17.296051642127875</c:v>
                </c:pt>
                <c:pt idx="667">
                  <c:v>17.296051642127875</c:v>
                </c:pt>
                <c:pt idx="668">
                  <c:v>17.296051642127875</c:v>
                </c:pt>
                <c:pt idx="669">
                  <c:v>17.296051642127875</c:v>
                </c:pt>
                <c:pt idx="670">
                  <c:v>17.296051642127875</c:v>
                </c:pt>
                <c:pt idx="671">
                  <c:v>17.296051642127875</c:v>
                </c:pt>
                <c:pt idx="672">
                  <c:v>17.296051642127875</c:v>
                </c:pt>
                <c:pt idx="673">
                  <c:v>17.296051642127875</c:v>
                </c:pt>
                <c:pt idx="674">
                  <c:v>17.296051642127875</c:v>
                </c:pt>
                <c:pt idx="675">
                  <c:v>17.296051642127875</c:v>
                </c:pt>
                <c:pt idx="676">
                  <c:v>17.296051642127875</c:v>
                </c:pt>
                <c:pt idx="677">
                  <c:v>17.296051642127875</c:v>
                </c:pt>
                <c:pt idx="678">
                  <c:v>17.296051642127875</c:v>
                </c:pt>
                <c:pt idx="679">
                  <c:v>17.296051642127875</c:v>
                </c:pt>
                <c:pt idx="680">
                  <c:v>17.296051642127875</c:v>
                </c:pt>
                <c:pt idx="681">
                  <c:v>17.296051642127875</c:v>
                </c:pt>
                <c:pt idx="682">
                  <c:v>17.296051642127875</c:v>
                </c:pt>
                <c:pt idx="683">
                  <c:v>17.296051642127875</c:v>
                </c:pt>
                <c:pt idx="684">
                  <c:v>17.296051642127875</c:v>
                </c:pt>
                <c:pt idx="685">
                  <c:v>17.296051642127875</c:v>
                </c:pt>
                <c:pt idx="686">
                  <c:v>17.296051642127875</c:v>
                </c:pt>
                <c:pt idx="687">
                  <c:v>17.296051642127875</c:v>
                </c:pt>
                <c:pt idx="688">
                  <c:v>17.296051642127875</c:v>
                </c:pt>
                <c:pt idx="689">
                  <c:v>17.296051642127875</c:v>
                </c:pt>
                <c:pt idx="690">
                  <c:v>17.296051642127875</c:v>
                </c:pt>
                <c:pt idx="691">
                  <c:v>17.296051642127875</c:v>
                </c:pt>
                <c:pt idx="692">
                  <c:v>17.296051642127875</c:v>
                </c:pt>
                <c:pt idx="693">
                  <c:v>17.296051642127875</c:v>
                </c:pt>
                <c:pt idx="694">
                  <c:v>17.296051642127875</c:v>
                </c:pt>
                <c:pt idx="695">
                  <c:v>17.296051642127875</c:v>
                </c:pt>
                <c:pt idx="696">
                  <c:v>17.296051642127875</c:v>
                </c:pt>
                <c:pt idx="697">
                  <c:v>17.296051642127875</c:v>
                </c:pt>
                <c:pt idx="698">
                  <c:v>17.296051642127875</c:v>
                </c:pt>
                <c:pt idx="699">
                  <c:v>17.296051642127875</c:v>
                </c:pt>
                <c:pt idx="700">
                  <c:v>17.296051642127875</c:v>
                </c:pt>
                <c:pt idx="701">
                  <c:v>17.296051642127875</c:v>
                </c:pt>
                <c:pt idx="702">
                  <c:v>17.296051642127875</c:v>
                </c:pt>
                <c:pt idx="703">
                  <c:v>17.296051642127875</c:v>
                </c:pt>
                <c:pt idx="704">
                  <c:v>17.296051642127875</c:v>
                </c:pt>
                <c:pt idx="705">
                  <c:v>17.296051642127875</c:v>
                </c:pt>
                <c:pt idx="706">
                  <c:v>17.296051642127875</c:v>
                </c:pt>
                <c:pt idx="707">
                  <c:v>17.296051642127875</c:v>
                </c:pt>
                <c:pt idx="708">
                  <c:v>17.296051642127875</c:v>
                </c:pt>
                <c:pt idx="709">
                  <c:v>17.296051642127875</c:v>
                </c:pt>
                <c:pt idx="710">
                  <c:v>17.296051642127875</c:v>
                </c:pt>
                <c:pt idx="711">
                  <c:v>17.296051642127875</c:v>
                </c:pt>
                <c:pt idx="712">
                  <c:v>17.296051642127875</c:v>
                </c:pt>
                <c:pt idx="713">
                  <c:v>17.296051642127875</c:v>
                </c:pt>
                <c:pt idx="714">
                  <c:v>17.296051642127875</c:v>
                </c:pt>
                <c:pt idx="715">
                  <c:v>17.296051642127875</c:v>
                </c:pt>
                <c:pt idx="716">
                  <c:v>17.296051642127875</c:v>
                </c:pt>
                <c:pt idx="717">
                  <c:v>17.296051642127875</c:v>
                </c:pt>
                <c:pt idx="718">
                  <c:v>17.296051642127875</c:v>
                </c:pt>
                <c:pt idx="719">
                  <c:v>17.296051642127875</c:v>
                </c:pt>
                <c:pt idx="720">
                  <c:v>17.296051642127875</c:v>
                </c:pt>
                <c:pt idx="721">
                  <c:v>17.296051642127875</c:v>
                </c:pt>
                <c:pt idx="722">
                  <c:v>17.296051642127875</c:v>
                </c:pt>
                <c:pt idx="723">
                  <c:v>17.296051642127875</c:v>
                </c:pt>
                <c:pt idx="724">
                  <c:v>17.296051642127875</c:v>
                </c:pt>
                <c:pt idx="725">
                  <c:v>17.296051642127875</c:v>
                </c:pt>
                <c:pt idx="726">
                  <c:v>17.296051642127875</c:v>
                </c:pt>
                <c:pt idx="727">
                  <c:v>17.296051642127875</c:v>
                </c:pt>
                <c:pt idx="728">
                  <c:v>17.296051642127875</c:v>
                </c:pt>
                <c:pt idx="729">
                  <c:v>17.296051642127875</c:v>
                </c:pt>
                <c:pt idx="730">
                  <c:v>17.296051642127875</c:v>
                </c:pt>
                <c:pt idx="731">
                  <c:v>17.296051642127875</c:v>
                </c:pt>
                <c:pt idx="732">
                  <c:v>17.296051642127875</c:v>
                </c:pt>
                <c:pt idx="733">
                  <c:v>17.296051642127875</c:v>
                </c:pt>
                <c:pt idx="734">
                  <c:v>17.296051642127875</c:v>
                </c:pt>
                <c:pt idx="735">
                  <c:v>17.296051642127875</c:v>
                </c:pt>
                <c:pt idx="736">
                  <c:v>17.296051642127875</c:v>
                </c:pt>
                <c:pt idx="737">
                  <c:v>17.296051642127875</c:v>
                </c:pt>
                <c:pt idx="738">
                  <c:v>17.296051642127875</c:v>
                </c:pt>
                <c:pt idx="739">
                  <c:v>17.296051642127875</c:v>
                </c:pt>
                <c:pt idx="740">
                  <c:v>17.296051642127875</c:v>
                </c:pt>
                <c:pt idx="741">
                  <c:v>17.296051642127875</c:v>
                </c:pt>
                <c:pt idx="742">
                  <c:v>17.296051642127875</c:v>
                </c:pt>
                <c:pt idx="743">
                  <c:v>17.296051642127875</c:v>
                </c:pt>
                <c:pt idx="744">
                  <c:v>17.296051642127875</c:v>
                </c:pt>
                <c:pt idx="745">
                  <c:v>17.296051642127875</c:v>
                </c:pt>
                <c:pt idx="746">
                  <c:v>17.296051642127875</c:v>
                </c:pt>
                <c:pt idx="747">
                  <c:v>17.296051642127875</c:v>
                </c:pt>
                <c:pt idx="748">
                  <c:v>17.296051642127875</c:v>
                </c:pt>
                <c:pt idx="749">
                  <c:v>17.296051642127875</c:v>
                </c:pt>
                <c:pt idx="750">
                  <c:v>17.296051642127875</c:v>
                </c:pt>
                <c:pt idx="751">
                  <c:v>17.296051642127875</c:v>
                </c:pt>
                <c:pt idx="752">
                  <c:v>17.296051642127875</c:v>
                </c:pt>
                <c:pt idx="753">
                  <c:v>17.296051642127875</c:v>
                </c:pt>
                <c:pt idx="754">
                  <c:v>17.296051642127875</c:v>
                </c:pt>
                <c:pt idx="755">
                  <c:v>17.296051642127875</c:v>
                </c:pt>
                <c:pt idx="756">
                  <c:v>17.296051642127875</c:v>
                </c:pt>
                <c:pt idx="757">
                  <c:v>17.296051642127875</c:v>
                </c:pt>
                <c:pt idx="758">
                  <c:v>17.296051642127875</c:v>
                </c:pt>
                <c:pt idx="759">
                  <c:v>17.296051642127875</c:v>
                </c:pt>
                <c:pt idx="760">
                  <c:v>17.296051642127875</c:v>
                </c:pt>
                <c:pt idx="761">
                  <c:v>17.296051642127875</c:v>
                </c:pt>
                <c:pt idx="762">
                  <c:v>17.296051642127875</c:v>
                </c:pt>
                <c:pt idx="763">
                  <c:v>17.296051642127875</c:v>
                </c:pt>
                <c:pt idx="764">
                  <c:v>17.296051642127875</c:v>
                </c:pt>
                <c:pt idx="765">
                  <c:v>17.296051642127875</c:v>
                </c:pt>
                <c:pt idx="766">
                  <c:v>17.296051642127875</c:v>
                </c:pt>
                <c:pt idx="767">
                  <c:v>17.296051642127875</c:v>
                </c:pt>
                <c:pt idx="768">
                  <c:v>17.296051642127875</c:v>
                </c:pt>
                <c:pt idx="769">
                  <c:v>17.296051642127875</c:v>
                </c:pt>
                <c:pt idx="770">
                  <c:v>17.296051642127875</c:v>
                </c:pt>
                <c:pt idx="771">
                  <c:v>17.296051642127875</c:v>
                </c:pt>
                <c:pt idx="772">
                  <c:v>17.296051642127875</c:v>
                </c:pt>
                <c:pt idx="773">
                  <c:v>17.296051642127875</c:v>
                </c:pt>
                <c:pt idx="774">
                  <c:v>17.296051642127875</c:v>
                </c:pt>
                <c:pt idx="775">
                  <c:v>17.296051642127875</c:v>
                </c:pt>
                <c:pt idx="776">
                  <c:v>17.296051642127875</c:v>
                </c:pt>
                <c:pt idx="777">
                  <c:v>17.296051642127875</c:v>
                </c:pt>
                <c:pt idx="778">
                  <c:v>17.296051642127875</c:v>
                </c:pt>
                <c:pt idx="779">
                  <c:v>17.296051642127875</c:v>
                </c:pt>
                <c:pt idx="780">
                  <c:v>17.296051642127875</c:v>
                </c:pt>
                <c:pt idx="781">
                  <c:v>17.296051642127875</c:v>
                </c:pt>
                <c:pt idx="782">
                  <c:v>17.296051642127875</c:v>
                </c:pt>
                <c:pt idx="783">
                  <c:v>17.296051642127875</c:v>
                </c:pt>
                <c:pt idx="784">
                  <c:v>17.296051642127875</c:v>
                </c:pt>
                <c:pt idx="785">
                  <c:v>17.296051642127875</c:v>
                </c:pt>
                <c:pt idx="786">
                  <c:v>17.296051642127875</c:v>
                </c:pt>
                <c:pt idx="787">
                  <c:v>17.296051642127875</c:v>
                </c:pt>
                <c:pt idx="788">
                  <c:v>17.296051642127875</c:v>
                </c:pt>
                <c:pt idx="789">
                  <c:v>17.296051642127875</c:v>
                </c:pt>
                <c:pt idx="790">
                  <c:v>17.296051642127875</c:v>
                </c:pt>
                <c:pt idx="791">
                  <c:v>17.296051642127875</c:v>
                </c:pt>
                <c:pt idx="792">
                  <c:v>17.296051642127875</c:v>
                </c:pt>
                <c:pt idx="793">
                  <c:v>17.296051642127875</c:v>
                </c:pt>
                <c:pt idx="794">
                  <c:v>17.296051642127875</c:v>
                </c:pt>
                <c:pt idx="795">
                  <c:v>17.296051642127875</c:v>
                </c:pt>
                <c:pt idx="796">
                  <c:v>17.296051642127875</c:v>
                </c:pt>
                <c:pt idx="797">
                  <c:v>17.296051642127875</c:v>
                </c:pt>
                <c:pt idx="798">
                  <c:v>17.296051642127875</c:v>
                </c:pt>
                <c:pt idx="799">
                  <c:v>17.296051642127875</c:v>
                </c:pt>
                <c:pt idx="800">
                  <c:v>17.296051642127875</c:v>
                </c:pt>
                <c:pt idx="801">
                  <c:v>17.296051642127875</c:v>
                </c:pt>
                <c:pt idx="802">
                  <c:v>17.296051642127875</c:v>
                </c:pt>
                <c:pt idx="803">
                  <c:v>17.296051642127875</c:v>
                </c:pt>
                <c:pt idx="804">
                  <c:v>17.296051642127875</c:v>
                </c:pt>
                <c:pt idx="805">
                  <c:v>17.296051642127875</c:v>
                </c:pt>
                <c:pt idx="806">
                  <c:v>17.296051642127875</c:v>
                </c:pt>
                <c:pt idx="807">
                  <c:v>17.296051642127875</c:v>
                </c:pt>
                <c:pt idx="808">
                  <c:v>17.296051642127875</c:v>
                </c:pt>
                <c:pt idx="809">
                  <c:v>17.296051642127875</c:v>
                </c:pt>
                <c:pt idx="810">
                  <c:v>17.296051642127875</c:v>
                </c:pt>
                <c:pt idx="811">
                  <c:v>17.296051642127875</c:v>
                </c:pt>
                <c:pt idx="812">
                  <c:v>17.296051642127875</c:v>
                </c:pt>
                <c:pt idx="813">
                  <c:v>17.296051642127875</c:v>
                </c:pt>
                <c:pt idx="814">
                  <c:v>17.296051642127875</c:v>
                </c:pt>
                <c:pt idx="815">
                  <c:v>17.296051642127875</c:v>
                </c:pt>
                <c:pt idx="816">
                  <c:v>17.296051642127875</c:v>
                </c:pt>
                <c:pt idx="817">
                  <c:v>17.296051642127875</c:v>
                </c:pt>
                <c:pt idx="818">
                  <c:v>17.296051642127875</c:v>
                </c:pt>
                <c:pt idx="819">
                  <c:v>17.296051642127875</c:v>
                </c:pt>
                <c:pt idx="820">
                  <c:v>17.296051642127875</c:v>
                </c:pt>
                <c:pt idx="821">
                  <c:v>17.296051642127875</c:v>
                </c:pt>
                <c:pt idx="822">
                  <c:v>17.296051642127875</c:v>
                </c:pt>
                <c:pt idx="823">
                  <c:v>17.296051642127875</c:v>
                </c:pt>
                <c:pt idx="824">
                  <c:v>17.296051642127875</c:v>
                </c:pt>
                <c:pt idx="825">
                  <c:v>17.296051642127875</c:v>
                </c:pt>
                <c:pt idx="826">
                  <c:v>17.296051642127875</c:v>
                </c:pt>
                <c:pt idx="827">
                  <c:v>17.296051642127875</c:v>
                </c:pt>
                <c:pt idx="828">
                  <c:v>17.296051642127875</c:v>
                </c:pt>
                <c:pt idx="829">
                  <c:v>17.296051642127875</c:v>
                </c:pt>
                <c:pt idx="830">
                  <c:v>17.296051642127875</c:v>
                </c:pt>
                <c:pt idx="831">
                  <c:v>17.296051642127875</c:v>
                </c:pt>
                <c:pt idx="832">
                  <c:v>17.296051642127875</c:v>
                </c:pt>
                <c:pt idx="833">
                  <c:v>17.296051642127875</c:v>
                </c:pt>
                <c:pt idx="834">
                  <c:v>17.296051642127875</c:v>
                </c:pt>
                <c:pt idx="835">
                  <c:v>17.296051642127875</c:v>
                </c:pt>
                <c:pt idx="836">
                  <c:v>17.296051642127875</c:v>
                </c:pt>
                <c:pt idx="837">
                  <c:v>17.296051642127875</c:v>
                </c:pt>
                <c:pt idx="838">
                  <c:v>17.296051642127875</c:v>
                </c:pt>
                <c:pt idx="839">
                  <c:v>17.296051642127875</c:v>
                </c:pt>
                <c:pt idx="840">
                  <c:v>17.296051642127875</c:v>
                </c:pt>
                <c:pt idx="841">
                  <c:v>17.296051642127875</c:v>
                </c:pt>
                <c:pt idx="842">
                  <c:v>17.296051642127875</c:v>
                </c:pt>
                <c:pt idx="843">
                  <c:v>17.296051642127875</c:v>
                </c:pt>
                <c:pt idx="844">
                  <c:v>17.296051642127875</c:v>
                </c:pt>
                <c:pt idx="845">
                  <c:v>17.296051642127875</c:v>
                </c:pt>
                <c:pt idx="846">
                  <c:v>17.296051642127875</c:v>
                </c:pt>
                <c:pt idx="847">
                  <c:v>17.296051642127875</c:v>
                </c:pt>
                <c:pt idx="848">
                  <c:v>17.296051642127875</c:v>
                </c:pt>
                <c:pt idx="849">
                  <c:v>17.296051642127875</c:v>
                </c:pt>
                <c:pt idx="850">
                  <c:v>17.296051642127875</c:v>
                </c:pt>
                <c:pt idx="851">
                  <c:v>17.296051642127875</c:v>
                </c:pt>
                <c:pt idx="852">
                  <c:v>17.296051642127875</c:v>
                </c:pt>
                <c:pt idx="853">
                  <c:v>17.296051642127875</c:v>
                </c:pt>
                <c:pt idx="854">
                  <c:v>17.296051642127875</c:v>
                </c:pt>
                <c:pt idx="855">
                  <c:v>17.296051642127875</c:v>
                </c:pt>
                <c:pt idx="856">
                  <c:v>17.296051642127875</c:v>
                </c:pt>
                <c:pt idx="857">
                  <c:v>17.296051642127875</c:v>
                </c:pt>
                <c:pt idx="858">
                  <c:v>17.296051642127875</c:v>
                </c:pt>
                <c:pt idx="859">
                  <c:v>17.296051642127875</c:v>
                </c:pt>
                <c:pt idx="860">
                  <c:v>17.296051642127875</c:v>
                </c:pt>
                <c:pt idx="861">
                  <c:v>17.296051642127875</c:v>
                </c:pt>
                <c:pt idx="862">
                  <c:v>17.296051642127875</c:v>
                </c:pt>
                <c:pt idx="863">
                  <c:v>17.296051642127875</c:v>
                </c:pt>
                <c:pt idx="864">
                  <c:v>17.296051642127875</c:v>
                </c:pt>
                <c:pt idx="865">
                  <c:v>17.296051642127875</c:v>
                </c:pt>
                <c:pt idx="866">
                  <c:v>17.296051642127875</c:v>
                </c:pt>
                <c:pt idx="867">
                  <c:v>17.296051642127875</c:v>
                </c:pt>
                <c:pt idx="868">
                  <c:v>17.296051642127875</c:v>
                </c:pt>
                <c:pt idx="869">
                  <c:v>17.296051642127875</c:v>
                </c:pt>
                <c:pt idx="870">
                  <c:v>17.296051642127875</c:v>
                </c:pt>
                <c:pt idx="871">
                  <c:v>17.296051642127875</c:v>
                </c:pt>
                <c:pt idx="872">
                  <c:v>17.296051642127875</c:v>
                </c:pt>
                <c:pt idx="873">
                  <c:v>17.296051642127875</c:v>
                </c:pt>
                <c:pt idx="874">
                  <c:v>17.296051642127875</c:v>
                </c:pt>
                <c:pt idx="875">
                  <c:v>17.296051642127875</c:v>
                </c:pt>
                <c:pt idx="876">
                  <c:v>17.296051642127875</c:v>
                </c:pt>
                <c:pt idx="877">
                  <c:v>17.296051642127875</c:v>
                </c:pt>
                <c:pt idx="878">
                  <c:v>17.296051642127875</c:v>
                </c:pt>
                <c:pt idx="879">
                  <c:v>17.296051642127875</c:v>
                </c:pt>
                <c:pt idx="880">
                  <c:v>17.296051642127875</c:v>
                </c:pt>
                <c:pt idx="881">
                  <c:v>17.296051642127875</c:v>
                </c:pt>
                <c:pt idx="882">
                  <c:v>17.296051642127875</c:v>
                </c:pt>
                <c:pt idx="883">
                  <c:v>17.296051642127875</c:v>
                </c:pt>
                <c:pt idx="884">
                  <c:v>17.296051642127875</c:v>
                </c:pt>
                <c:pt idx="885">
                  <c:v>17.296051642127875</c:v>
                </c:pt>
                <c:pt idx="886">
                  <c:v>17.296051642127875</c:v>
                </c:pt>
                <c:pt idx="887">
                  <c:v>17.296051642127875</c:v>
                </c:pt>
                <c:pt idx="888">
                  <c:v>17.296051642127875</c:v>
                </c:pt>
                <c:pt idx="889">
                  <c:v>17.296051642127875</c:v>
                </c:pt>
                <c:pt idx="890">
                  <c:v>17.296051642127875</c:v>
                </c:pt>
                <c:pt idx="891">
                  <c:v>17.296051642127875</c:v>
                </c:pt>
              </c:numCache>
            </c:numRef>
          </c:val>
          <c:smooth val="0"/>
          <c:extLst>
            <c:ext xmlns:c16="http://schemas.microsoft.com/office/drawing/2014/chart" uri="{C3380CC4-5D6E-409C-BE32-E72D297353CC}">
              <c16:uniqueId val="{00000004-484C-4F9E-91BA-8A726FFABB09}"/>
            </c:ext>
          </c:extLst>
        </c:ser>
        <c:ser>
          <c:idx val="4"/>
          <c:order val="5"/>
          <c:tx>
            <c:strRef>
              <c:f>EMU!$EC$8</c:f>
              <c:strCache>
                <c:ptCount val="1"/>
              </c:strCache>
            </c:strRef>
          </c:tx>
          <c:spPr>
            <a:ln w="19050" cap="rnd" cmpd="sng" algn="ctr">
              <a:solidFill>
                <a:sysClr val="window" lastClr="FFFFFF">
                  <a:lumMod val="85000"/>
                </a:sysClr>
              </a:solidFill>
              <a:prstDash val="solid"/>
              <a:round/>
              <a:headEnd type="none" w="med" len="med"/>
              <a:tailEnd type="none" w="med" len="med"/>
            </a:ln>
            <a:effectLst/>
          </c:spPr>
          <c:marker>
            <c:symbol val="none"/>
          </c:marker>
          <c:dPt>
            <c:idx val="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3-82FC-421B-A80E-67ACC5454550}"/>
              </c:ext>
            </c:extLst>
          </c:dPt>
          <c:dPt>
            <c:idx val="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4-82FC-421B-A80E-67ACC5454550}"/>
              </c:ext>
            </c:extLst>
          </c:dPt>
          <c:dPt>
            <c:idx val="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5-82FC-421B-A80E-67ACC5454550}"/>
              </c:ext>
            </c:extLst>
          </c:dPt>
          <c:dPt>
            <c:idx val="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6-82FC-421B-A80E-67ACC5454550}"/>
              </c:ext>
            </c:extLst>
          </c:dPt>
          <c:dPt>
            <c:idx val="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7-82FC-421B-A80E-67ACC5454550}"/>
              </c:ext>
            </c:extLst>
          </c:dPt>
          <c:dPt>
            <c:idx val="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8-82FC-421B-A80E-67ACC5454550}"/>
              </c:ext>
            </c:extLst>
          </c:dPt>
          <c:dPt>
            <c:idx val="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9-82FC-421B-A80E-67ACC5454550}"/>
              </c:ext>
            </c:extLst>
          </c:dPt>
          <c:dPt>
            <c:idx val="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A-82FC-421B-A80E-67ACC5454550}"/>
              </c:ext>
            </c:extLst>
          </c:dPt>
          <c:dPt>
            <c:idx val="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B-82FC-421B-A80E-67ACC5454550}"/>
              </c:ext>
            </c:extLst>
          </c:dPt>
          <c:dPt>
            <c:idx val="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C-82FC-421B-A80E-67ACC5454550}"/>
              </c:ext>
            </c:extLst>
          </c:dPt>
          <c:dPt>
            <c:idx val="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D-82FC-421B-A80E-67ACC5454550}"/>
              </c:ext>
            </c:extLst>
          </c:dPt>
          <c:dPt>
            <c:idx val="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E-82FC-421B-A80E-67ACC5454550}"/>
              </c:ext>
            </c:extLst>
          </c:dPt>
          <c:dPt>
            <c:idx val="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DFF-82FC-421B-A80E-67ACC5454550}"/>
              </c:ext>
            </c:extLst>
          </c:dPt>
          <c:dPt>
            <c:idx val="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0-82FC-421B-A80E-67ACC5454550}"/>
              </c:ext>
            </c:extLst>
          </c:dPt>
          <c:dPt>
            <c:idx val="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1-82FC-421B-A80E-67ACC5454550}"/>
              </c:ext>
            </c:extLst>
          </c:dPt>
          <c:dPt>
            <c:idx val="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2-82FC-421B-A80E-67ACC5454550}"/>
              </c:ext>
            </c:extLst>
          </c:dPt>
          <c:dPt>
            <c:idx val="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3-82FC-421B-A80E-67ACC5454550}"/>
              </c:ext>
            </c:extLst>
          </c:dPt>
          <c:dPt>
            <c:idx val="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4-82FC-421B-A80E-67ACC5454550}"/>
              </c:ext>
            </c:extLst>
          </c:dPt>
          <c:dPt>
            <c:idx val="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5-82FC-421B-A80E-67ACC5454550}"/>
              </c:ext>
            </c:extLst>
          </c:dPt>
          <c:dPt>
            <c:idx val="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6-82FC-421B-A80E-67ACC5454550}"/>
              </c:ext>
            </c:extLst>
          </c:dPt>
          <c:dPt>
            <c:idx val="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7-82FC-421B-A80E-67ACC5454550}"/>
              </c:ext>
            </c:extLst>
          </c:dPt>
          <c:dPt>
            <c:idx val="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8-82FC-421B-A80E-67ACC5454550}"/>
              </c:ext>
            </c:extLst>
          </c:dPt>
          <c:dPt>
            <c:idx val="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9-82FC-421B-A80E-67ACC5454550}"/>
              </c:ext>
            </c:extLst>
          </c:dPt>
          <c:dPt>
            <c:idx val="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A-82FC-421B-A80E-67ACC5454550}"/>
              </c:ext>
            </c:extLst>
          </c:dPt>
          <c:dPt>
            <c:idx val="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B-82FC-421B-A80E-67ACC5454550}"/>
              </c:ext>
            </c:extLst>
          </c:dPt>
          <c:dPt>
            <c:idx val="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C-82FC-421B-A80E-67ACC5454550}"/>
              </c:ext>
            </c:extLst>
          </c:dPt>
          <c:dPt>
            <c:idx val="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D-82FC-421B-A80E-67ACC5454550}"/>
              </c:ext>
            </c:extLst>
          </c:dPt>
          <c:dPt>
            <c:idx val="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E-82FC-421B-A80E-67ACC5454550}"/>
              </c:ext>
            </c:extLst>
          </c:dPt>
          <c:dPt>
            <c:idx val="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0F-82FC-421B-A80E-67ACC5454550}"/>
              </c:ext>
            </c:extLst>
          </c:dPt>
          <c:dPt>
            <c:idx val="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0-82FC-421B-A80E-67ACC5454550}"/>
              </c:ext>
            </c:extLst>
          </c:dPt>
          <c:dPt>
            <c:idx val="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1-82FC-421B-A80E-67ACC5454550}"/>
              </c:ext>
            </c:extLst>
          </c:dPt>
          <c:dPt>
            <c:idx val="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2-82FC-421B-A80E-67ACC5454550}"/>
              </c:ext>
            </c:extLst>
          </c:dPt>
          <c:dPt>
            <c:idx val="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3-82FC-421B-A80E-67ACC5454550}"/>
              </c:ext>
            </c:extLst>
          </c:dPt>
          <c:dPt>
            <c:idx val="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4-82FC-421B-A80E-67ACC5454550}"/>
              </c:ext>
            </c:extLst>
          </c:dPt>
          <c:dPt>
            <c:idx val="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5-82FC-421B-A80E-67ACC5454550}"/>
              </c:ext>
            </c:extLst>
          </c:dPt>
          <c:dPt>
            <c:idx val="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6-82FC-421B-A80E-67ACC5454550}"/>
              </c:ext>
            </c:extLst>
          </c:dPt>
          <c:dPt>
            <c:idx val="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7-82FC-421B-A80E-67ACC5454550}"/>
              </c:ext>
            </c:extLst>
          </c:dPt>
          <c:dPt>
            <c:idx val="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8-82FC-421B-A80E-67ACC5454550}"/>
              </c:ext>
            </c:extLst>
          </c:dPt>
          <c:dPt>
            <c:idx val="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9-82FC-421B-A80E-67ACC5454550}"/>
              </c:ext>
            </c:extLst>
          </c:dPt>
          <c:dPt>
            <c:idx val="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A-82FC-421B-A80E-67ACC5454550}"/>
              </c:ext>
            </c:extLst>
          </c:dPt>
          <c:dPt>
            <c:idx val="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B-82FC-421B-A80E-67ACC5454550}"/>
              </c:ext>
            </c:extLst>
          </c:dPt>
          <c:dPt>
            <c:idx val="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C-82FC-421B-A80E-67ACC5454550}"/>
              </c:ext>
            </c:extLst>
          </c:dPt>
          <c:dPt>
            <c:idx val="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D-82FC-421B-A80E-67ACC5454550}"/>
              </c:ext>
            </c:extLst>
          </c:dPt>
          <c:dPt>
            <c:idx val="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E-82FC-421B-A80E-67ACC5454550}"/>
              </c:ext>
            </c:extLst>
          </c:dPt>
          <c:dPt>
            <c:idx val="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1F-82FC-421B-A80E-67ACC5454550}"/>
              </c:ext>
            </c:extLst>
          </c:dPt>
          <c:dPt>
            <c:idx val="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0-82FC-421B-A80E-67ACC5454550}"/>
              </c:ext>
            </c:extLst>
          </c:dPt>
          <c:dPt>
            <c:idx val="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1-82FC-421B-A80E-67ACC5454550}"/>
              </c:ext>
            </c:extLst>
          </c:dPt>
          <c:dPt>
            <c:idx val="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2-82FC-421B-A80E-67ACC5454550}"/>
              </c:ext>
            </c:extLst>
          </c:dPt>
          <c:dPt>
            <c:idx val="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3-82FC-421B-A80E-67ACC5454550}"/>
              </c:ext>
            </c:extLst>
          </c:dPt>
          <c:dPt>
            <c:idx val="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4-82FC-421B-A80E-67ACC5454550}"/>
              </c:ext>
            </c:extLst>
          </c:dPt>
          <c:dPt>
            <c:idx val="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5-82FC-421B-A80E-67ACC5454550}"/>
              </c:ext>
            </c:extLst>
          </c:dPt>
          <c:dPt>
            <c:idx val="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6-82FC-421B-A80E-67ACC5454550}"/>
              </c:ext>
            </c:extLst>
          </c:dPt>
          <c:dPt>
            <c:idx val="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7-82FC-421B-A80E-67ACC5454550}"/>
              </c:ext>
            </c:extLst>
          </c:dPt>
          <c:dPt>
            <c:idx val="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8-82FC-421B-A80E-67ACC5454550}"/>
              </c:ext>
            </c:extLst>
          </c:dPt>
          <c:dPt>
            <c:idx val="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9-82FC-421B-A80E-67ACC5454550}"/>
              </c:ext>
            </c:extLst>
          </c:dPt>
          <c:dPt>
            <c:idx val="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A-82FC-421B-A80E-67ACC5454550}"/>
              </c:ext>
            </c:extLst>
          </c:dPt>
          <c:dPt>
            <c:idx val="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B-82FC-421B-A80E-67ACC5454550}"/>
              </c:ext>
            </c:extLst>
          </c:dPt>
          <c:dPt>
            <c:idx val="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C-82FC-421B-A80E-67ACC5454550}"/>
              </c:ext>
            </c:extLst>
          </c:dPt>
          <c:dPt>
            <c:idx val="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D-82FC-421B-A80E-67ACC5454550}"/>
              </c:ext>
            </c:extLst>
          </c:dPt>
          <c:dPt>
            <c:idx val="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E-82FC-421B-A80E-67ACC5454550}"/>
              </c:ext>
            </c:extLst>
          </c:dPt>
          <c:dPt>
            <c:idx val="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2F-82FC-421B-A80E-67ACC5454550}"/>
              </c:ext>
            </c:extLst>
          </c:dPt>
          <c:dPt>
            <c:idx val="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0-82FC-421B-A80E-67ACC5454550}"/>
              </c:ext>
            </c:extLst>
          </c:dPt>
          <c:dPt>
            <c:idx val="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1-82FC-421B-A80E-67ACC5454550}"/>
              </c:ext>
            </c:extLst>
          </c:dPt>
          <c:dPt>
            <c:idx val="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2-82FC-421B-A80E-67ACC5454550}"/>
              </c:ext>
            </c:extLst>
          </c:dPt>
          <c:dPt>
            <c:idx val="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3-82FC-421B-A80E-67ACC5454550}"/>
              </c:ext>
            </c:extLst>
          </c:dPt>
          <c:dPt>
            <c:idx val="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4-82FC-421B-A80E-67ACC5454550}"/>
              </c:ext>
            </c:extLst>
          </c:dPt>
          <c:dPt>
            <c:idx val="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5-82FC-421B-A80E-67ACC5454550}"/>
              </c:ext>
            </c:extLst>
          </c:dPt>
          <c:dPt>
            <c:idx val="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6-82FC-421B-A80E-67ACC5454550}"/>
              </c:ext>
            </c:extLst>
          </c:dPt>
          <c:dPt>
            <c:idx val="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7-82FC-421B-A80E-67ACC5454550}"/>
              </c:ext>
            </c:extLst>
          </c:dPt>
          <c:dPt>
            <c:idx val="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8-82FC-421B-A80E-67ACC5454550}"/>
              </c:ext>
            </c:extLst>
          </c:dPt>
          <c:dPt>
            <c:idx val="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9-82FC-421B-A80E-67ACC5454550}"/>
              </c:ext>
            </c:extLst>
          </c:dPt>
          <c:dPt>
            <c:idx val="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A-82FC-421B-A80E-67ACC5454550}"/>
              </c:ext>
            </c:extLst>
          </c:dPt>
          <c:dPt>
            <c:idx val="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B-82FC-421B-A80E-67ACC5454550}"/>
              </c:ext>
            </c:extLst>
          </c:dPt>
          <c:dPt>
            <c:idx val="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C-82FC-421B-A80E-67ACC5454550}"/>
              </c:ext>
            </c:extLst>
          </c:dPt>
          <c:dPt>
            <c:idx val="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D-82FC-421B-A80E-67ACC5454550}"/>
              </c:ext>
            </c:extLst>
          </c:dPt>
          <c:dPt>
            <c:idx val="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E-82FC-421B-A80E-67ACC5454550}"/>
              </c:ext>
            </c:extLst>
          </c:dPt>
          <c:dPt>
            <c:idx val="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3F-82FC-421B-A80E-67ACC5454550}"/>
              </c:ext>
            </c:extLst>
          </c:dPt>
          <c:dPt>
            <c:idx val="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0-82FC-421B-A80E-67ACC5454550}"/>
              </c:ext>
            </c:extLst>
          </c:dPt>
          <c:dPt>
            <c:idx val="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1-82FC-421B-A80E-67ACC5454550}"/>
              </c:ext>
            </c:extLst>
          </c:dPt>
          <c:dPt>
            <c:idx val="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2-82FC-421B-A80E-67ACC5454550}"/>
              </c:ext>
            </c:extLst>
          </c:dPt>
          <c:dPt>
            <c:idx val="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3-82FC-421B-A80E-67ACC5454550}"/>
              </c:ext>
            </c:extLst>
          </c:dPt>
          <c:dPt>
            <c:idx val="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4-82FC-421B-A80E-67ACC5454550}"/>
              </c:ext>
            </c:extLst>
          </c:dPt>
          <c:dPt>
            <c:idx val="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5-82FC-421B-A80E-67ACC5454550}"/>
              </c:ext>
            </c:extLst>
          </c:dPt>
          <c:dPt>
            <c:idx val="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6-82FC-421B-A80E-67ACC5454550}"/>
              </c:ext>
            </c:extLst>
          </c:dPt>
          <c:dPt>
            <c:idx val="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7-82FC-421B-A80E-67ACC5454550}"/>
              </c:ext>
            </c:extLst>
          </c:dPt>
          <c:dPt>
            <c:idx val="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8-82FC-421B-A80E-67ACC5454550}"/>
              </c:ext>
            </c:extLst>
          </c:dPt>
          <c:dPt>
            <c:idx val="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9-82FC-421B-A80E-67ACC5454550}"/>
              </c:ext>
            </c:extLst>
          </c:dPt>
          <c:dPt>
            <c:idx val="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A-82FC-421B-A80E-67ACC5454550}"/>
              </c:ext>
            </c:extLst>
          </c:dPt>
          <c:dPt>
            <c:idx val="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B-82FC-421B-A80E-67ACC5454550}"/>
              </c:ext>
            </c:extLst>
          </c:dPt>
          <c:dPt>
            <c:idx val="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C-82FC-421B-A80E-67ACC5454550}"/>
              </c:ext>
            </c:extLst>
          </c:dPt>
          <c:dPt>
            <c:idx val="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D-82FC-421B-A80E-67ACC5454550}"/>
              </c:ext>
            </c:extLst>
          </c:dPt>
          <c:dPt>
            <c:idx val="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E-82FC-421B-A80E-67ACC5454550}"/>
              </c:ext>
            </c:extLst>
          </c:dPt>
          <c:dPt>
            <c:idx val="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4F-82FC-421B-A80E-67ACC5454550}"/>
              </c:ext>
            </c:extLst>
          </c:dPt>
          <c:dPt>
            <c:idx val="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0-82FC-421B-A80E-67ACC5454550}"/>
              </c:ext>
            </c:extLst>
          </c:dPt>
          <c:dPt>
            <c:idx val="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1-82FC-421B-A80E-67ACC5454550}"/>
              </c:ext>
            </c:extLst>
          </c:dPt>
          <c:dPt>
            <c:idx val="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2-82FC-421B-A80E-67ACC5454550}"/>
              </c:ext>
            </c:extLst>
          </c:dPt>
          <c:dPt>
            <c:idx val="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3-82FC-421B-A80E-67ACC5454550}"/>
              </c:ext>
            </c:extLst>
          </c:dPt>
          <c:dPt>
            <c:idx val="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4-82FC-421B-A80E-67ACC5454550}"/>
              </c:ext>
            </c:extLst>
          </c:dPt>
          <c:dPt>
            <c:idx val="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5-82FC-421B-A80E-67ACC5454550}"/>
              </c:ext>
            </c:extLst>
          </c:dPt>
          <c:dPt>
            <c:idx val="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6-82FC-421B-A80E-67ACC5454550}"/>
              </c:ext>
            </c:extLst>
          </c:dPt>
          <c:dPt>
            <c:idx val="1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7-82FC-421B-A80E-67ACC5454550}"/>
              </c:ext>
            </c:extLst>
          </c:dPt>
          <c:dPt>
            <c:idx val="1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8-82FC-421B-A80E-67ACC5454550}"/>
              </c:ext>
            </c:extLst>
          </c:dPt>
          <c:dPt>
            <c:idx val="1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9-82FC-421B-A80E-67ACC5454550}"/>
              </c:ext>
            </c:extLst>
          </c:dPt>
          <c:dPt>
            <c:idx val="1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A-82FC-421B-A80E-67ACC5454550}"/>
              </c:ext>
            </c:extLst>
          </c:dPt>
          <c:dPt>
            <c:idx val="1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B-82FC-421B-A80E-67ACC5454550}"/>
              </c:ext>
            </c:extLst>
          </c:dPt>
          <c:dPt>
            <c:idx val="1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C-82FC-421B-A80E-67ACC5454550}"/>
              </c:ext>
            </c:extLst>
          </c:dPt>
          <c:dPt>
            <c:idx val="1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D-82FC-421B-A80E-67ACC5454550}"/>
              </c:ext>
            </c:extLst>
          </c:dPt>
          <c:dPt>
            <c:idx val="1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E-82FC-421B-A80E-67ACC5454550}"/>
              </c:ext>
            </c:extLst>
          </c:dPt>
          <c:dPt>
            <c:idx val="1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5F-82FC-421B-A80E-67ACC5454550}"/>
              </c:ext>
            </c:extLst>
          </c:dPt>
          <c:dPt>
            <c:idx val="1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0-82FC-421B-A80E-67ACC5454550}"/>
              </c:ext>
            </c:extLst>
          </c:dPt>
          <c:dPt>
            <c:idx val="1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1-82FC-421B-A80E-67ACC5454550}"/>
              </c:ext>
            </c:extLst>
          </c:dPt>
          <c:dPt>
            <c:idx val="1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2-82FC-421B-A80E-67ACC5454550}"/>
              </c:ext>
            </c:extLst>
          </c:dPt>
          <c:dPt>
            <c:idx val="1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3-82FC-421B-A80E-67ACC5454550}"/>
              </c:ext>
            </c:extLst>
          </c:dPt>
          <c:dPt>
            <c:idx val="1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4-82FC-421B-A80E-67ACC5454550}"/>
              </c:ext>
            </c:extLst>
          </c:dPt>
          <c:dPt>
            <c:idx val="1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5-82FC-421B-A80E-67ACC5454550}"/>
              </c:ext>
            </c:extLst>
          </c:dPt>
          <c:dPt>
            <c:idx val="1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6-82FC-421B-A80E-67ACC5454550}"/>
              </c:ext>
            </c:extLst>
          </c:dPt>
          <c:dPt>
            <c:idx val="1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7-82FC-421B-A80E-67ACC5454550}"/>
              </c:ext>
            </c:extLst>
          </c:dPt>
          <c:dPt>
            <c:idx val="1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8-82FC-421B-A80E-67ACC5454550}"/>
              </c:ext>
            </c:extLst>
          </c:dPt>
          <c:dPt>
            <c:idx val="1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9-82FC-421B-A80E-67ACC5454550}"/>
              </c:ext>
            </c:extLst>
          </c:dPt>
          <c:dPt>
            <c:idx val="1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A-82FC-421B-A80E-67ACC5454550}"/>
              </c:ext>
            </c:extLst>
          </c:dPt>
          <c:dPt>
            <c:idx val="1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B-82FC-421B-A80E-67ACC5454550}"/>
              </c:ext>
            </c:extLst>
          </c:dPt>
          <c:dPt>
            <c:idx val="1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C-82FC-421B-A80E-67ACC5454550}"/>
              </c:ext>
            </c:extLst>
          </c:dPt>
          <c:dPt>
            <c:idx val="1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D-82FC-421B-A80E-67ACC5454550}"/>
              </c:ext>
            </c:extLst>
          </c:dPt>
          <c:dPt>
            <c:idx val="1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E-82FC-421B-A80E-67ACC5454550}"/>
              </c:ext>
            </c:extLst>
          </c:dPt>
          <c:dPt>
            <c:idx val="1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6F-82FC-421B-A80E-67ACC5454550}"/>
              </c:ext>
            </c:extLst>
          </c:dPt>
          <c:dPt>
            <c:idx val="1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0-82FC-421B-A80E-67ACC5454550}"/>
              </c:ext>
            </c:extLst>
          </c:dPt>
          <c:dPt>
            <c:idx val="1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1-82FC-421B-A80E-67ACC5454550}"/>
              </c:ext>
            </c:extLst>
          </c:dPt>
          <c:dPt>
            <c:idx val="1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2-82FC-421B-A80E-67ACC5454550}"/>
              </c:ext>
            </c:extLst>
          </c:dPt>
          <c:dPt>
            <c:idx val="1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3-82FC-421B-A80E-67ACC5454550}"/>
              </c:ext>
            </c:extLst>
          </c:dPt>
          <c:dPt>
            <c:idx val="1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4-82FC-421B-A80E-67ACC5454550}"/>
              </c:ext>
            </c:extLst>
          </c:dPt>
          <c:dPt>
            <c:idx val="1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5-82FC-421B-A80E-67ACC5454550}"/>
              </c:ext>
            </c:extLst>
          </c:dPt>
          <c:dPt>
            <c:idx val="1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6-82FC-421B-A80E-67ACC5454550}"/>
              </c:ext>
            </c:extLst>
          </c:dPt>
          <c:dPt>
            <c:idx val="1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7-82FC-421B-A80E-67ACC5454550}"/>
              </c:ext>
            </c:extLst>
          </c:dPt>
          <c:dPt>
            <c:idx val="1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8-82FC-421B-A80E-67ACC5454550}"/>
              </c:ext>
            </c:extLst>
          </c:dPt>
          <c:dPt>
            <c:idx val="1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9-82FC-421B-A80E-67ACC5454550}"/>
              </c:ext>
            </c:extLst>
          </c:dPt>
          <c:dPt>
            <c:idx val="1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A-82FC-421B-A80E-67ACC5454550}"/>
              </c:ext>
            </c:extLst>
          </c:dPt>
          <c:dPt>
            <c:idx val="1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B-82FC-421B-A80E-67ACC5454550}"/>
              </c:ext>
            </c:extLst>
          </c:dPt>
          <c:dPt>
            <c:idx val="1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C-82FC-421B-A80E-67ACC5454550}"/>
              </c:ext>
            </c:extLst>
          </c:dPt>
          <c:dPt>
            <c:idx val="1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D-82FC-421B-A80E-67ACC5454550}"/>
              </c:ext>
            </c:extLst>
          </c:dPt>
          <c:dPt>
            <c:idx val="1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E-82FC-421B-A80E-67ACC5454550}"/>
              </c:ext>
            </c:extLst>
          </c:dPt>
          <c:dPt>
            <c:idx val="1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7F-82FC-421B-A80E-67ACC5454550}"/>
              </c:ext>
            </c:extLst>
          </c:dPt>
          <c:dPt>
            <c:idx val="1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0-82FC-421B-A80E-67ACC5454550}"/>
              </c:ext>
            </c:extLst>
          </c:dPt>
          <c:dPt>
            <c:idx val="1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1-82FC-421B-A80E-67ACC5454550}"/>
              </c:ext>
            </c:extLst>
          </c:dPt>
          <c:dPt>
            <c:idx val="1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2-82FC-421B-A80E-67ACC5454550}"/>
              </c:ext>
            </c:extLst>
          </c:dPt>
          <c:dPt>
            <c:idx val="1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3-82FC-421B-A80E-67ACC5454550}"/>
              </c:ext>
            </c:extLst>
          </c:dPt>
          <c:dPt>
            <c:idx val="1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4-82FC-421B-A80E-67ACC5454550}"/>
              </c:ext>
            </c:extLst>
          </c:dPt>
          <c:dPt>
            <c:idx val="1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5-82FC-421B-A80E-67ACC5454550}"/>
              </c:ext>
            </c:extLst>
          </c:dPt>
          <c:dPt>
            <c:idx val="1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6-82FC-421B-A80E-67ACC5454550}"/>
              </c:ext>
            </c:extLst>
          </c:dPt>
          <c:dPt>
            <c:idx val="1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7-82FC-421B-A80E-67ACC5454550}"/>
              </c:ext>
            </c:extLst>
          </c:dPt>
          <c:dPt>
            <c:idx val="1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8-82FC-421B-A80E-67ACC5454550}"/>
              </c:ext>
            </c:extLst>
          </c:dPt>
          <c:dPt>
            <c:idx val="1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9-82FC-421B-A80E-67ACC5454550}"/>
              </c:ext>
            </c:extLst>
          </c:dPt>
          <c:dPt>
            <c:idx val="1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A-82FC-421B-A80E-67ACC5454550}"/>
              </c:ext>
            </c:extLst>
          </c:dPt>
          <c:dPt>
            <c:idx val="1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B-82FC-421B-A80E-67ACC5454550}"/>
              </c:ext>
            </c:extLst>
          </c:dPt>
          <c:dPt>
            <c:idx val="1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C-82FC-421B-A80E-67ACC5454550}"/>
              </c:ext>
            </c:extLst>
          </c:dPt>
          <c:dPt>
            <c:idx val="1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D-82FC-421B-A80E-67ACC5454550}"/>
              </c:ext>
            </c:extLst>
          </c:dPt>
          <c:dPt>
            <c:idx val="1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E-82FC-421B-A80E-67ACC5454550}"/>
              </c:ext>
            </c:extLst>
          </c:dPt>
          <c:dPt>
            <c:idx val="1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8F-82FC-421B-A80E-67ACC5454550}"/>
              </c:ext>
            </c:extLst>
          </c:dPt>
          <c:dPt>
            <c:idx val="1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0-82FC-421B-A80E-67ACC5454550}"/>
              </c:ext>
            </c:extLst>
          </c:dPt>
          <c:dPt>
            <c:idx val="1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1-82FC-421B-A80E-67ACC5454550}"/>
              </c:ext>
            </c:extLst>
          </c:dPt>
          <c:dPt>
            <c:idx val="1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2-82FC-421B-A80E-67ACC5454550}"/>
              </c:ext>
            </c:extLst>
          </c:dPt>
          <c:dPt>
            <c:idx val="1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3-82FC-421B-A80E-67ACC5454550}"/>
              </c:ext>
            </c:extLst>
          </c:dPt>
          <c:dPt>
            <c:idx val="1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4-82FC-421B-A80E-67ACC5454550}"/>
              </c:ext>
            </c:extLst>
          </c:dPt>
          <c:dPt>
            <c:idx val="1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5-82FC-421B-A80E-67ACC5454550}"/>
              </c:ext>
            </c:extLst>
          </c:dPt>
          <c:dPt>
            <c:idx val="1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6-82FC-421B-A80E-67ACC5454550}"/>
              </c:ext>
            </c:extLst>
          </c:dPt>
          <c:dPt>
            <c:idx val="1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7-82FC-421B-A80E-67ACC5454550}"/>
              </c:ext>
            </c:extLst>
          </c:dPt>
          <c:dPt>
            <c:idx val="1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8-82FC-421B-A80E-67ACC5454550}"/>
              </c:ext>
            </c:extLst>
          </c:dPt>
          <c:dPt>
            <c:idx val="1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9-82FC-421B-A80E-67ACC5454550}"/>
              </c:ext>
            </c:extLst>
          </c:dPt>
          <c:dPt>
            <c:idx val="1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A-82FC-421B-A80E-67ACC5454550}"/>
              </c:ext>
            </c:extLst>
          </c:dPt>
          <c:dPt>
            <c:idx val="1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B-82FC-421B-A80E-67ACC5454550}"/>
              </c:ext>
            </c:extLst>
          </c:dPt>
          <c:dPt>
            <c:idx val="1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C-82FC-421B-A80E-67ACC5454550}"/>
              </c:ext>
            </c:extLst>
          </c:dPt>
          <c:dPt>
            <c:idx val="1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D-82FC-421B-A80E-67ACC5454550}"/>
              </c:ext>
            </c:extLst>
          </c:dPt>
          <c:dPt>
            <c:idx val="1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E-82FC-421B-A80E-67ACC5454550}"/>
              </c:ext>
            </c:extLst>
          </c:dPt>
          <c:dPt>
            <c:idx val="1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9F-82FC-421B-A80E-67ACC5454550}"/>
              </c:ext>
            </c:extLst>
          </c:dPt>
          <c:dPt>
            <c:idx val="1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0-82FC-421B-A80E-67ACC5454550}"/>
              </c:ext>
            </c:extLst>
          </c:dPt>
          <c:dPt>
            <c:idx val="1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1-82FC-421B-A80E-67ACC5454550}"/>
              </c:ext>
            </c:extLst>
          </c:dPt>
          <c:dPt>
            <c:idx val="1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2-82FC-421B-A80E-67ACC5454550}"/>
              </c:ext>
            </c:extLst>
          </c:dPt>
          <c:dPt>
            <c:idx val="1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3-82FC-421B-A80E-67ACC5454550}"/>
              </c:ext>
            </c:extLst>
          </c:dPt>
          <c:dPt>
            <c:idx val="1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4-82FC-421B-A80E-67ACC5454550}"/>
              </c:ext>
            </c:extLst>
          </c:dPt>
          <c:dPt>
            <c:idx val="1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5-82FC-421B-A80E-67ACC5454550}"/>
              </c:ext>
            </c:extLst>
          </c:dPt>
          <c:dPt>
            <c:idx val="1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6-82FC-421B-A80E-67ACC5454550}"/>
              </c:ext>
            </c:extLst>
          </c:dPt>
          <c:dPt>
            <c:idx val="1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7-82FC-421B-A80E-67ACC5454550}"/>
              </c:ext>
            </c:extLst>
          </c:dPt>
          <c:dPt>
            <c:idx val="1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8-82FC-421B-A80E-67ACC5454550}"/>
              </c:ext>
            </c:extLst>
          </c:dPt>
          <c:dPt>
            <c:idx val="1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9-82FC-421B-A80E-67ACC5454550}"/>
              </c:ext>
            </c:extLst>
          </c:dPt>
          <c:dPt>
            <c:idx val="1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A-82FC-421B-A80E-67ACC5454550}"/>
              </c:ext>
            </c:extLst>
          </c:dPt>
          <c:dPt>
            <c:idx val="1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B-82FC-421B-A80E-67ACC5454550}"/>
              </c:ext>
            </c:extLst>
          </c:dPt>
          <c:dPt>
            <c:idx val="1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C-82FC-421B-A80E-67ACC5454550}"/>
              </c:ext>
            </c:extLst>
          </c:dPt>
          <c:dPt>
            <c:idx val="1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D-82FC-421B-A80E-67ACC5454550}"/>
              </c:ext>
            </c:extLst>
          </c:dPt>
          <c:dPt>
            <c:idx val="1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E-82FC-421B-A80E-67ACC5454550}"/>
              </c:ext>
            </c:extLst>
          </c:dPt>
          <c:dPt>
            <c:idx val="1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AF-82FC-421B-A80E-67ACC5454550}"/>
              </c:ext>
            </c:extLst>
          </c:dPt>
          <c:dPt>
            <c:idx val="1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0-82FC-421B-A80E-67ACC5454550}"/>
              </c:ext>
            </c:extLst>
          </c:dPt>
          <c:dPt>
            <c:idx val="1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1-82FC-421B-A80E-67ACC5454550}"/>
              </c:ext>
            </c:extLst>
          </c:dPt>
          <c:dPt>
            <c:idx val="1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2-82FC-421B-A80E-67ACC5454550}"/>
              </c:ext>
            </c:extLst>
          </c:dPt>
          <c:dPt>
            <c:idx val="1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3-82FC-421B-A80E-67ACC5454550}"/>
              </c:ext>
            </c:extLst>
          </c:dPt>
          <c:dPt>
            <c:idx val="1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4-82FC-421B-A80E-67ACC5454550}"/>
              </c:ext>
            </c:extLst>
          </c:dPt>
          <c:dPt>
            <c:idx val="1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5-82FC-421B-A80E-67ACC5454550}"/>
              </c:ext>
            </c:extLst>
          </c:dPt>
          <c:dPt>
            <c:idx val="1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6-82FC-421B-A80E-67ACC5454550}"/>
              </c:ext>
            </c:extLst>
          </c:dPt>
          <c:dPt>
            <c:idx val="1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7-82FC-421B-A80E-67ACC5454550}"/>
              </c:ext>
            </c:extLst>
          </c:dPt>
          <c:dPt>
            <c:idx val="1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8-82FC-421B-A80E-67ACC5454550}"/>
              </c:ext>
            </c:extLst>
          </c:dPt>
          <c:dPt>
            <c:idx val="1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9-82FC-421B-A80E-67ACC5454550}"/>
              </c:ext>
            </c:extLst>
          </c:dPt>
          <c:dPt>
            <c:idx val="1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A-82FC-421B-A80E-67ACC5454550}"/>
              </c:ext>
            </c:extLst>
          </c:dPt>
          <c:dPt>
            <c:idx val="2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B-82FC-421B-A80E-67ACC5454550}"/>
              </c:ext>
            </c:extLst>
          </c:dPt>
          <c:dPt>
            <c:idx val="2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C-82FC-421B-A80E-67ACC5454550}"/>
              </c:ext>
            </c:extLst>
          </c:dPt>
          <c:dPt>
            <c:idx val="2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D-82FC-421B-A80E-67ACC5454550}"/>
              </c:ext>
            </c:extLst>
          </c:dPt>
          <c:dPt>
            <c:idx val="2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E-82FC-421B-A80E-67ACC5454550}"/>
              </c:ext>
            </c:extLst>
          </c:dPt>
          <c:dPt>
            <c:idx val="2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BF-82FC-421B-A80E-67ACC5454550}"/>
              </c:ext>
            </c:extLst>
          </c:dPt>
          <c:dPt>
            <c:idx val="2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0-82FC-421B-A80E-67ACC5454550}"/>
              </c:ext>
            </c:extLst>
          </c:dPt>
          <c:dPt>
            <c:idx val="2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1-82FC-421B-A80E-67ACC5454550}"/>
              </c:ext>
            </c:extLst>
          </c:dPt>
          <c:dPt>
            <c:idx val="2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2-82FC-421B-A80E-67ACC5454550}"/>
              </c:ext>
            </c:extLst>
          </c:dPt>
          <c:dPt>
            <c:idx val="2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3-82FC-421B-A80E-67ACC5454550}"/>
              </c:ext>
            </c:extLst>
          </c:dPt>
          <c:dPt>
            <c:idx val="2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4-82FC-421B-A80E-67ACC5454550}"/>
              </c:ext>
            </c:extLst>
          </c:dPt>
          <c:dPt>
            <c:idx val="2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5-82FC-421B-A80E-67ACC5454550}"/>
              </c:ext>
            </c:extLst>
          </c:dPt>
          <c:dPt>
            <c:idx val="2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6-82FC-421B-A80E-67ACC5454550}"/>
              </c:ext>
            </c:extLst>
          </c:dPt>
          <c:dPt>
            <c:idx val="2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7-82FC-421B-A80E-67ACC5454550}"/>
              </c:ext>
            </c:extLst>
          </c:dPt>
          <c:dPt>
            <c:idx val="2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8-82FC-421B-A80E-67ACC5454550}"/>
              </c:ext>
            </c:extLst>
          </c:dPt>
          <c:dPt>
            <c:idx val="2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9-82FC-421B-A80E-67ACC5454550}"/>
              </c:ext>
            </c:extLst>
          </c:dPt>
          <c:dPt>
            <c:idx val="2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A-82FC-421B-A80E-67ACC5454550}"/>
              </c:ext>
            </c:extLst>
          </c:dPt>
          <c:dPt>
            <c:idx val="2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B-82FC-421B-A80E-67ACC5454550}"/>
              </c:ext>
            </c:extLst>
          </c:dPt>
          <c:dPt>
            <c:idx val="2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C-82FC-421B-A80E-67ACC5454550}"/>
              </c:ext>
            </c:extLst>
          </c:dPt>
          <c:dPt>
            <c:idx val="2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D-82FC-421B-A80E-67ACC5454550}"/>
              </c:ext>
            </c:extLst>
          </c:dPt>
          <c:dPt>
            <c:idx val="2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E-82FC-421B-A80E-67ACC5454550}"/>
              </c:ext>
            </c:extLst>
          </c:dPt>
          <c:dPt>
            <c:idx val="2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CF-82FC-421B-A80E-67ACC5454550}"/>
              </c:ext>
            </c:extLst>
          </c:dPt>
          <c:dPt>
            <c:idx val="2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0-82FC-421B-A80E-67ACC5454550}"/>
              </c:ext>
            </c:extLst>
          </c:dPt>
          <c:dPt>
            <c:idx val="2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1-82FC-421B-A80E-67ACC5454550}"/>
              </c:ext>
            </c:extLst>
          </c:dPt>
          <c:dPt>
            <c:idx val="2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2-82FC-421B-A80E-67ACC5454550}"/>
              </c:ext>
            </c:extLst>
          </c:dPt>
          <c:dPt>
            <c:idx val="2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3-82FC-421B-A80E-67ACC5454550}"/>
              </c:ext>
            </c:extLst>
          </c:dPt>
          <c:dPt>
            <c:idx val="2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4-82FC-421B-A80E-67ACC5454550}"/>
              </c:ext>
            </c:extLst>
          </c:dPt>
          <c:dPt>
            <c:idx val="22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5-82FC-421B-A80E-67ACC5454550}"/>
              </c:ext>
            </c:extLst>
          </c:dPt>
          <c:dPt>
            <c:idx val="22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6-82FC-421B-A80E-67ACC5454550}"/>
              </c:ext>
            </c:extLst>
          </c:dPt>
          <c:dPt>
            <c:idx val="22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7-82FC-421B-A80E-67ACC5454550}"/>
              </c:ext>
            </c:extLst>
          </c:dPt>
          <c:dPt>
            <c:idx val="22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8-82FC-421B-A80E-67ACC5454550}"/>
              </c:ext>
            </c:extLst>
          </c:dPt>
          <c:dPt>
            <c:idx val="23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9-82FC-421B-A80E-67ACC5454550}"/>
              </c:ext>
            </c:extLst>
          </c:dPt>
          <c:dPt>
            <c:idx val="23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A-82FC-421B-A80E-67ACC5454550}"/>
              </c:ext>
            </c:extLst>
          </c:dPt>
          <c:dPt>
            <c:idx val="23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B-82FC-421B-A80E-67ACC5454550}"/>
              </c:ext>
            </c:extLst>
          </c:dPt>
          <c:dPt>
            <c:idx val="23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C-82FC-421B-A80E-67ACC5454550}"/>
              </c:ext>
            </c:extLst>
          </c:dPt>
          <c:dPt>
            <c:idx val="23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D-82FC-421B-A80E-67ACC5454550}"/>
              </c:ext>
            </c:extLst>
          </c:dPt>
          <c:dPt>
            <c:idx val="23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E-82FC-421B-A80E-67ACC5454550}"/>
              </c:ext>
            </c:extLst>
          </c:dPt>
          <c:dPt>
            <c:idx val="23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DF-82FC-421B-A80E-67ACC5454550}"/>
              </c:ext>
            </c:extLst>
          </c:dPt>
          <c:dPt>
            <c:idx val="23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0-82FC-421B-A80E-67ACC5454550}"/>
              </c:ext>
            </c:extLst>
          </c:dPt>
          <c:dPt>
            <c:idx val="23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1-82FC-421B-A80E-67ACC5454550}"/>
              </c:ext>
            </c:extLst>
          </c:dPt>
          <c:dPt>
            <c:idx val="23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2-82FC-421B-A80E-67ACC5454550}"/>
              </c:ext>
            </c:extLst>
          </c:dPt>
          <c:dPt>
            <c:idx val="24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3-82FC-421B-A80E-67ACC5454550}"/>
              </c:ext>
            </c:extLst>
          </c:dPt>
          <c:dPt>
            <c:idx val="24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4-82FC-421B-A80E-67ACC5454550}"/>
              </c:ext>
            </c:extLst>
          </c:dPt>
          <c:dPt>
            <c:idx val="24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5-82FC-421B-A80E-67ACC5454550}"/>
              </c:ext>
            </c:extLst>
          </c:dPt>
          <c:dPt>
            <c:idx val="24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6-82FC-421B-A80E-67ACC5454550}"/>
              </c:ext>
            </c:extLst>
          </c:dPt>
          <c:dPt>
            <c:idx val="24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7-82FC-421B-A80E-67ACC5454550}"/>
              </c:ext>
            </c:extLst>
          </c:dPt>
          <c:dPt>
            <c:idx val="24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8-82FC-421B-A80E-67ACC5454550}"/>
              </c:ext>
            </c:extLst>
          </c:dPt>
          <c:dPt>
            <c:idx val="24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9-82FC-421B-A80E-67ACC5454550}"/>
              </c:ext>
            </c:extLst>
          </c:dPt>
          <c:dPt>
            <c:idx val="24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A-82FC-421B-A80E-67ACC5454550}"/>
              </c:ext>
            </c:extLst>
          </c:dPt>
          <c:dPt>
            <c:idx val="24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B-82FC-421B-A80E-67ACC5454550}"/>
              </c:ext>
            </c:extLst>
          </c:dPt>
          <c:dPt>
            <c:idx val="24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C-82FC-421B-A80E-67ACC5454550}"/>
              </c:ext>
            </c:extLst>
          </c:dPt>
          <c:dPt>
            <c:idx val="25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D-82FC-421B-A80E-67ACC5454550}"/>
              </c:ext>
            </c:extLst>
          </c:dPt>
          <c:dPt>
            <c:idx val="25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E-82FC-421B-A80E-67ACC5454550}"/>
              </c:ext>
            </c:extLst>
          </c:dPt>
          <c:dPt>
            <c:idx val="25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EF-82FC-421B-A80E-67ACC5454550}"/>
              </c:ext>
            </c:extLst>
          </c:dPt>
          <c:dPt>
            <c:idx val="25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0-82FC-421B-A80E-67ACC5454550}"/>
              </c:ext>
            </c:extLst>
          </c:dPt>
          <c:dPt>
            <c:idx val="25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1-82FC-421B-A80E-67ACC5454550}"/>
              </c:ext>
            </c:extLst>
          </c:dPt>
          <c:dPt>
            <c:idx val="25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2-82FC-421B-A80E-67ACC5454550}"/>
              </c:ext>
            </c:extLst>
          </c:dPt>
          <c:dPt>
            <c:idx val="25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3-82FC-421B-A80E-67ACC5454550}"/>
              </c:ext>
            </c:extLst>
          </c:dPt>
          <c:dPt>
            <c:idx val="25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4-82FC-421B-A80E-67ACC5454550}"/>
              </c:ext>
            </c:extLst>
          </c:dPt>
          <c:dPt>
            <c:idx val="25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5-82FC-421B-A80E-67ACC5454550}"/>
              </c:ext>
            </c:extLst>
          </c:dPt>
          <c:dPt>
            <c:idx val="25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6-82FC-421B-A80E-67ACC5454550}"/>
              </c:ext>
            </c:extLst>
          </c:dPt>
          <c:dPt>
            <c:idx val="26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7-82FC-421B-A80E-67ACC5454550}"/>
              </c:ext>
            </c:extLst>
          </c:dPt>
          <c:dPt>
            <c:idx val="26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8-82FC-421B-A80E-67ACC5454550}"/>
              </c:ext>
            </c:extLst>
          </c:dPt>
          <c:dPt>
            <c:idx val="26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9-82FC-421B-A80E-67ACC5454550}"/>
              </c:ext>
            </c:extLst>
          </c:dPt>
          <c:dPt>
            <c:idx val="26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A-82FC-421B-A80E-67ACC5454550}"/>
              </c:ext>
            </c:extLst>
          </c:dPt>
          <c:dPt>
            <c:idx val="26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B-82FC-421B-A80E-67ACC5454550}"/>
              </c:ext>
            </c:extLst>
          </c:dPt>
          <c:dPt>
            <c:idx val="26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C-82FC-421B-A80E-67ACC5454550}"/>
              </c:ext>
            </c:extLst>
          </c:dPt>
          <c:dPt>
            <c:idx val="26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D-82FC-421B-A80E-67ACC5454550}"/>
              </c:ext>
            </c:extLst>
          </c:dPt>
          <c:dPt>
            <c:idx val="26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E-82FC-421B-A80E-67ACC5454550}"/>
              </c:ext>
            </c:extLst>
          </c:dPt>
          <c:dPt>
            <c:idx val="26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EFF-82FC-421B-A80E-67ACC5454550}"/>
              </c:ext>
            </c:extLst>
          </c:dPt>
          <c:dPt>
            <c:idx val="26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0-82FC-421B-A80E-67ACC5454550}"/>
              </c:ext>
            </c:extLst>
          </c:dPt>
          <c:dPt>
            <c:idx val="27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1-82FC-421B-A80E-67ACC5454550}"/>
              </c:ext>
            </c:extLst>
          </c:dPt>
          <c:dPt>
            <c:idx val="27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2-82FC-421B-A80E-67ACC5454550}"/>
              </c:ext>
            </c:extLst>
          </c:dPt>
          <c:dPt>
            <c:idx val="27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3-82FC-421B-A80E-67ACC5454550}"/>
              </c:ext>
            </c:extLst>
          </c:dPt>
          <c:dPt>
            <c:idx val="27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4-82FC-421B-A80E-67ACC5454550}"/>
              </c:ext>
            </c:extLst>
          </c:dPt>
          <c:dPt>
            <c:idx val="27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5-82FC-421B-A80E-67ACC5454550}"/>
              </c:ext>
            </c:extLst>
          </c:dPt>
          <c:dPt>
            <c:idx val="27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6-82FC-421B-A80E-67ACC5454550}"/>
              </c:ext>
            </c:extLst>
          </c:dPt>
          <c:dPt>
            <c:idx val="27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7-82FC-421B-A80E-67ACC5454550}"/>
              </c:ext>
            </c:extLst>
          </c:dPt>
          <c:dPt>
            <c:idx val="27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8-82FC-421B-A80E-67ACC5454550}"/>
              </c:ext>
            </c:extLst>
          </c:dPt>
          <c:dPt>
            <c:idx val="27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9-82FC-421B-A80E-67ACC5454550}"/>
              </c:ext>
            </c:extLst>
          </c:dPt>
          <c:dPt>
            <c:idx val="27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A-82FC-421B-A80E-67ACC5454550}"/>
              </c:ext>
            </c:extLst>
          </c:dPt>
          <c:dPt>
            <c:idx val="28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B-82FC-421B-A80E-67ACC5454550}"/>
              </c:ext>
            </c:extLst>
          </c:dPt>
          <c:dPt>
            <c:idx val="28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C-82FC-421B-A80E-67ACC5454550}"/>
              </c:ext>
            </c:extLst>
          </c:dPt>
          <c:dPt>
            <c:idx val="28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D-82FC-421B-A80E-67ACC5454550}"/>
              </c:ext>
            </c:extLst>
          </c:dPt>
          <c:dPt>
            <c:idx val="28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E-82FC-421B-A80E-67ACC5454550}"/>
              </c:ext>
            </c:extLst>
          </c:dPt>
          <c:dPt>
            <c:idx val="28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0F-82FC-421B-A80E-67ACC5454550}"/>
              </c:ext>
            </c:extLst>
          </c:dPt>
          <c:dPt>
            <c:idx val="28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0-82FC-421B-A80E-67ACC5454550}"/>
              </c:ext>
            </c:extLst>
          </c:dPt>
          <c:dPt>
            <c:idx val="28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1-82FC-421B-A80E-67ACC5454550}"/>
              </c:ext>
            </c:extLst>
          </c:dPt>
          <c:dPt>
            <c:idx val="28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2-82FC-421B-A80E-67ACC5454550}"/>
              </c:ext>
            </c:extLst>
          </c:dPt>
          <c:dPt>
            <c:idx val="28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3-82FC-421B-A80E-67ACC5454550}"/>
              </c:ext>
            </c:extLst>
          </c:dPt>
          <c:dPt>
            <c:idx val="28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4-82FC-421B-A80E-67ACC5454550}"/>
              </c:ext>
            </c:extLst>
          </c:dPt>
          <c:dPt>
            <c:idx val="29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5-82FC-421B-A80E-67ACC5454550}"/>
              </c:ext>
            </c:extLst>
          </c:dPt>
          <c:dPt>
            <c:idx val="29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6-82FC-421B-A80E-67ACC5454550}"/>
              </c:ext>
            </c:extLst>
          </c:dPt>
          <c:dPt>
            <c:idx val="29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7-82FC-421B-A80E-67ACC5454550}"/>
              </c:ext>
            </c:extLst>
          </c:dPt>
          <c:dPt>
            <c:idx val="29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8-82FC-421B-A80E-67ACC5454550}"/>
              </c:ext>
            </c:extLst>
          </c:dPt>
          <c:dPt>
            <c:idx val="29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9-82FC-421B-A80E-67ACC5454550}"/>
              </c:ext>
            </c:extLst>
          </c:dPt>
          <c:dPt>
            <c:idx val="29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A-82FC-421B-A80E-67ACC5454550}"/>
              </c:ext>
            </c:extLst>
          </c:dPt>
          <c:dPt>
            <c:idx val="29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B-82FC-421B-A80E-67ACC5454550}"/>
              </c:ext>
            </c:extLst>
          </c:dPt>
          <c:dPt>
            <c:idx val="29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C-82FC-421B-A80E-67ACC5454550}"/>
              </c:ext>
            </c:extLst>
          </c:dPt>
          <c:dPt>
            <c:idx val="29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D-82FC-421B-A80E-67ACC5454550}"/>
              </c:ext>
            </c:extLst>
          </c:dPt>
          <c:dPt>
            <c:idx val="29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E-82FC-421B-A80E-67ACC5454550}"/>
              </c:ext>
            </c:extLst>
          </c:dPt>
          <c:dPt>
            <c:idx val="30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1F-82FC-421B-A80E-67ACC5454550}"/>
              </c:ext>
            </c:extLst>
          </c:dPt>
          <c:dPt>
            <c:idx val="30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0-82FC-421B-A80E-67ACC5454550}"/>
              </c:ext>
            </c:extLst>
          </c:dPt>
          <c:dPt>
            <c:idx val="30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1-82FC-421B-A80E-67ACC5454550}"/>
              </c:ext>
            </c:extLst>
          </c:dPt>
          <c:dPt>
            <c:idx val="30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2-82FC-421B-A80E-67ACC5454550}"/>
              </c:ext>
            </c:extLst>
          </c:dPt>
          <c:dPt>
            <c:idx val="30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3-82FC-421B-A80E-67ACC5454550}"/>
              </c:ext>
            </c:extLst>
          </c:dPt>
          <c:dPt>
            <c:idx val="30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4-82FC-421B-A80E-67ACC5454550}"/>
              </c:ext>
            </c:extLst>
          </c:dPt>
          <c:dPt>
            <c:idx val="30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5-82FC-421B-A80E-67ACC5454550}"/>
              </c:ext>
            </c:extLst>
          </c:dPt>
          <c:dPt>
            <c:idx val="30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6-82FC-421B-A80E-67ACC5454550}"/>
              </c:ext>
            </c:extLst>
          </c:dPt>
          <c:dPt>
            <c:idx val="30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7-82FC-421B-A80E-67ACC5454550}"/>
              </c:ext>
            </c:extLst>
          </c:dPt>
          <c:dPt>
            <c:idx val="30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8-82FC-421B-A80E-67ACC5454550}"/>
              </c:ext>
            </c:extLst>
          </c:dPt>
          <c:dPt>
            <c:idx val="31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9-82FC-421B-A80E-67ACC5454550}"/>
              </c:ext>
            </c:extLst>
          </c:dPt>
          <c:dPt>
            <c:idx val="31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A-82FC-421B-A80E-67ACC5454550}"/>
              </c:ext>
            </c:extLst>
          </c:dPt>
          <c:dPt>
            <c:idx val="31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B-82FC-421B-A80E-67ACC5454550}"/>
              </c:ext>
            </c:extLst>
          </c:dPt>
          <c:dPt>
            <c:idx val="31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C-82FC-421B-A80E-67ACC5454550}"/>
              </c:ext>
            </c:extLst>
          </c:dPt>
          <c:dPt>
            <c:idx val="31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D-82FC-421B-A80E-67ACC5454550}"/>
              </c:ext>
            </c:extLst>
          </c:dPt>
          <c:dPt>
            <c:idx val="31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E-82FC-421B-A80E-67ACC5454550}"/>
              </c:ext>
            </c:extLst>
          </c:dPt>
          <c:dPt>
            <c:idx val="316"/>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2F-82FC-421B-A80E-67ACC5454550}"/>
              </c:ext>
            </c:extLst>
          </c:dPt>
          <c:dPt>
            <c:idx val="317"/>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0-82FC-421B-A80E-67ACC5454550}"/>
              </c:ext>
            </c:extLst>
          </c:dPt>
          <c:dPt>
            <c:idx val="318"/>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1-82FC-421B-A80E-67ACC5454550}"/>
              </c:ext>
            </c:extLst>
          </c:dPt>
          <c:dPt>
            <c:idx val="319"/>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2-82FC-421B-A80E-67ACC5454550}"/>
              </c:ext>
            </c:extLst>
          </c:dPt>
          <c:dPt>
            <c:idx val="320"/>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3-82FC-421B-A80E-67ACC5454550}"/>
              </c:ext>
            </c:extLst>
          </c:dPt>
          <c:dPt>
            <c:idx val="321"/>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4-82FC-421B-A80E-67ACC5454550}"/>
              </c:ext>
            </c:extLst>
          </c:dPt>
          <c:dPt>
            <c:idx val="322"/>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5-82FC-421B-A80E-67ACC5454550}"/>
              </c:ext>
            </c:extLst>
          </c:dPt>
          <c:dPt>
            <c:idx val="323"/>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6-82FC-421B-A80E-67ACC5454550}"/>
              </c:ext>
            </c:extLst>
          </c:dPt>
          <c:dPt>
            <c:idx val="324"/>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7-82FC-421B-A80E-67ACC5454550}"/>
              </c:ext>
            </c:extLst>
          </c:dPt>
          <c:dPt>
            <c:idx val="325"/>
            <c:bubble3D val="0"/>
            <c:spPr>
              <a:ln w="254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8-82FC-421B-A80E-67ACC5454550}"/>
              </c:ext>
            </c:extLst>
          </c:dPt>
          <c:dPt>
            <c:idx val="32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9-82FC-421B-A80E-67ACC5454550}"/>
              </c:ext>
            </c:extLst>
          </c:dPt>
          <c:dPt>
            <c:idx val="32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A-82FC-421B-A80E-67ACC5454550}"/>
              </c:ext>
            </c:extLst>
          </c:dPt>
          <c:dPt>
            <c:idx val="32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B-82FC-421B-A80E-67ACC5454550}"/>
              </c:ext>
            </c:extLst>
          </c:dPt>
          <c:dPt>
            <c:idx val="32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C-82FC-421B-A80E-67ACC5454550}"/>
              </c:ext>
            </c:extLst>
          </c:dPt>
          <c:dPt>
            <c:idx val="33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D-82FC-421B-A80E-67ACC5454550}"/>
              </c:ext>
            </c:extLst>
          </c:dPt>
          <c:dPt>
            <c:idx val="33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E-82FC-421B-A80E-67ACC5454550}"/>
              </c:ext>
            </c:extLst>
          </c:dPt>
          <c:dPt>
            <c:idx val="33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3F-82FC-421B-A80E-67ACC5454550}"/>
              </c:ext>
            </c:extLst>
          </c:dPt>
          <c:dPt>
            <c:idx val="33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0-82FC-421B-A80E-67ACC5454550}"/>
              </c:ext>
            </c:extLst>
          </c:dPt>
          <c:dPt>
            <c:idx val="33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1-82FC-421B-A80E-67ACC5454550}"/>
              </c:ext>
            </c:extLst>
          </c:dPt>
          <c:dPt>
            <c:idx val="33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2-82FC-421B-A80E-67ACC5454550}"/>
              </c:ext>
            </c:extLst>
          </c:dPt>
          <c:dPt>
            <c:idx val="33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3-82FC-421B-A80E-67ACC5454550}"/>
              </c:ext>
            </c:extLst>
          </c:dPt>
          <c:dPt>
            <c:idx val="33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4-82FC-421B-A80E-67ACC5454550}"/>
              </c:ext>
            </c:extLst>
          </c:dPt>
          <c:dPt>
            <c:idx val="33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5-82FC-421B-A80E-67ACC5454550}"/>
              </c:ext>
            </c:extLst>
          </c:dPt>
          <c:dPt>
            <c:idx val="33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6-82FC-421B-A80E-67ACC5454550}"/>
              </c:ext>
            </c:extLst>
          </c:dPt>
          <c:dPt>
            <c:idx val="34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7-82FC-421B-A80E-67ACC5454550}"/>
              </c:ext>
            </c:extLst>
          </c:dPt>
          <c:dPt>
            <c:idx val="34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8-82FC-421B-A80E-67ACC5454550}"/>
              </c:ext>
            </c:extLst>
          </c:dPt>
          <c:dPt>
            <c:idx val="34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9-82FC-421B-A80E-67ACC5454550}"/>
              </c:ext>
            </c:extLst>
          </c:dPt>
          <c:dPt>
            <c:idx val="34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A-82FC-421B-A80E-67ACC5454550}"/>
              </c:ext>
            </c:extLst>
          </c:dPt>
          <c:dPt>
            <c:idx val="34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B-82FC-421B-A80E-67ACC5454550}"/>
              </c:ext>
            </c:extLst>
          </c:dPt>
          <c:dPt>
            <c:idx val="34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C-82FC-421B-A80E-67ACC5454550}"/>
              </c:ext>
            </c:extLst>
          </c:dPt>
          <c:dPt>
            <c:idx val="34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D-82FC-421B-A80E-67ACC5454550}"/>
              </c:ext>
            </c:extLst>
          </c:dPt>
          <c:dPt>
            <c:idx val="34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E-82FC-421B-A80E-67ACC5454550}"/>
              </c:ext>
            </c:extLst>
          </c:dPt>
          <c:dPt>
            <c:idx val="34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4F-82FC-421B-A80E-67ACC5454550}"/>
              </c:ext>
            </c:extLst>
          </c:dPt>
          <c:dPt>
            <c:idx val="34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0-82FC-421B-A80E-67ACC5454550}"/>
              </c:ext>
            </c:extLst>
          </c:dPt>
          <c:dPt>
            <c:idx val="35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1-82FC-421B-A80E-67ACC5454550}"/>
              </c:ext>
            </c:extLst>
          </c:dPt>
          <c:dPt>
            <c:idx val="35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2-82FC-421B-A80E-67ACC5454550}"/>
              </c:ext>
            </c:extLst>
          </c:dPt>
          <c:dPt>
            <c:idx val="35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3-82FC-421B-A80E-67ACC5454550}"/>
              </c:ext>
            </c:extLst>
          </c:dPt>
          <c:dPt>
            <c:idx val="35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4-82FC-421B-A80E-67ACC5454550}"/>
              </c:ext>
            </c:extLst>
          </c:dPt>
          <c:dPt>
            <c:idx val="35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5-82FC-421B-A80E-67ACC5454550}"/>
              </c:ext>
            </c:extLst>
          </c:dPt>
          <c:dPt>
            <c:idx val="35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6-82FC-421B-A80E-67ACC5454550}"/>
              </c:ext>
            </c:extLst>
          </c:dPt>
          <c:dPt>
            <c:idx val="35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7-82FC-421B-A80E-67ACC5454550}"/>
              </c:ext>
            </c:extLst>
          </c:dPt>
          <c:dPt>
            <c:idx val="35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8-82FC-421B-A80E-67ACC5454550}"/>
              </c:ext>
            </c:extLst>
          </c:dPt>
          <c:dPt>
            <c:idx val="35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9-82FC-421B-A80E-67ACC5454550}"/>
              </c:ext>
            </c:extLst>
          </c:dPt>
          <c:dPt>
            <c:idx val="35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A-82FC-421B-A80E-67ACC5454550}"/>
              </c:ext>
            </c:extLst>
          </c:dPt>
          <c:dPt>
            <c:idx val="36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B-82FC-421B-A80E-67ACC5454550}"/>
              </c:ext>
            </c:extLst>
          </c:dPt>
          <c:dPt>
            <c:idx val="36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C-82FC-421B-A80E-67ACC5454550}"/>
              </c:ext>
            </c:extLst>
          </c:dPt>
          <c:dPt>
            <c:idx val="36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D-82FC-421B-A80E-67ACC5454550}"/>
              </c:ext>
            </c:extLst>
          </c:dPt>
          <c:dPt>
            <c:idx val="36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E-82FC-421B-A80E-67ACC5454550}"/>
              </c:ext>
            </c:extLst>
          </c:dPt>
          <c:dPt>
            <c:idx val="36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5F-82FC-421B-A80E-67ACC5454550}"/>
              </c:ext>
            </c:extLst>
          </c:dPt>
          <c:dPt>
            <c:idx val="36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0-82FC-421B-A80E-67ACC5454550}"/>
              </c:ext>
            </c:extLst>
          </c:dPt>
          <c:dPt>
            <c:idx val="36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1-82FC-421B-A80E-67ACC5454550}"/>
              </c:ext>
            </c:extLst>
          </c:dPt>
          <c:dPt>
            <c:idx val="36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2-82FC-421B-A80E-67ACC5454550}"/>
              </c:ext>
            </c:extLst>
          </c:dPt>
          <c:dPt>
            <c:idx val="36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3-82FC-421B-A80E-67ACC5454550}"/>
              </c:ext>
            </c:extLst>
          </c:dPt>
          <c:dPt>
            <c:idx val="36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4-82FC-421B-A80E-67ACC5454550}"/>
              </c:ext>
            </c:extLst>
          </c:dPt>
          <c:dPt>
            <c:idx val="37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5-82FC-421B-A80E-67ACC5454550}"/>
              </c:ext>
            </c:extLst>
          </c:dPt>
          <c:dPt>
            <c:idx val="37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6-82FC-421B-A80E-67ACC5454550}"/>
              </c:ext>
            </c:extLst>
          </c:dPt>
          <c:dPt>
            <c:idx val="37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7-82FC-421B-A80E-67ACC5454550}"/>
              </c:ext>
            </c:extLst>
          </c:dPt>
          <c:dPt>
            <c:idx val="37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8-82FC-421B-A80E-67ACC5454550}"/>
              </c:ext>
            </c:extLst>
          </c:dPt>
          <c:dPt>
            <c:idx val="37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9-82FC-421B-A80E-67ACC5454550}"/>
              </c:ext>
            </c:extLst>
          </c:dPt>
          <c:dPt>
            <c:idx val="37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A-82FC-421B-A80E-67ACC5454550}"/>
              </c:ext>
            </c:extLst>
          </c:dPt>
          <c:dPt>
            <c:idx val="37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B-82FC-421B-A80E-67ACC5454550}"/>
              </c:ext>
            </c:extLst>
          </c:dPt>
          <c:dPt>
            <c:idx val="37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C-82FC-421B-A80E-67ACC5454550}"/>
              </c:ext>
            </c:extLst>
          </c:dPt>
          <c:dPt>
            <c:idx val="37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D-82FC-421B-A80E-67ACC5454550}"/>
              </c:ext>
            </c:extLst>
          </c:dPt>
          <c:dPt>
            <c:idx val="37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E-82FC-421B-A80E-67ACC5454550}"/>
              </c:ext>
            </c:extLst>
          </c:dPt>
          <c:dPt>
            <c:idx val="38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6F-82FC-421B-A80E-67ACC5454550}"/>
              </c:ext>
            </c:extLst>
          </c:dPt>
          <c:dPt>
            <c:idx val="38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0-82FC-421B-A80E-67ACC5454550}"/>
              </c:ext>
            </c:extLst>
          </c:dPt>
          <c:dPt>
            <c:idx val="38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1-82FC-421B-A80E-67ACC5454550}"/>
              </c:ext>
            </c:extLst>
          </c:dPt>
          <c:dPt>
            <c:idx val="38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2-82FC-421B-A80E-67ACC5454550}"/>
              </c:ext>
            </c:extLst>
          </c:dPt>
          <c:dPt>
            <c:idx val="38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3-82FC-421B-A80E-67ACC5454550}"/>
              </c:ext>
            </c:extLst>
          </c:dPt>
          <c:dPt>
            <c:idx val="38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4-82FC-421B-A80E-67ACC5454550}"/>
              </c:ext>
            </c:extLst>
          </c:dPt>
          <c:dPt>
            <c:idx val="38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5-82FC-421B-A80E-67ACC5454550}"/>
              </c:ext>
            </c:extLst>
          </c:dPt>
          <c:dPt>
            <c:idx val="38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6-82FC-421B-A80E-67ACC5454550}"/>
              </c:ext>
            </c:extLst>
          </c:dPt>
          <c:dPt>
            <c:idx val="38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7-82FC-421B-A80E-67ACC5454550}"/>
              </c:ext>
            </c:extLst>
          </c:dPt>
          <c:dPt>
            <c:idx val="38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8-82FC-421B-A80E-67ACC5454550}"/>
              </c:ext>
            </c:extLst>
          </c:dPt>
          <c:dPt>
            <c:idx val="39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9-82FC-421B-A80E-67ACC5454550}"/>
              </c:ext>
            </c:extLst>
          </c:dPt>
          <c:dPt>
            <c:idx val="39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A-82FC-421B-A80E-67ACC5454550}"/>
              </c:ext>
            </c:extLst>
          </c:dPt>
          <c:dPt>
            <c:idx val="39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B-82FC-421B-A80E-67ACC5454550}"/>
              </c:ext>
            </c:extLst>
          </c:dPt>
          <c:dPt>
            <c:idx val="39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C-82FC-421B-A80E-67ACC5454550}"/>
              </c:ext>
            </c:extLst>
          </c:dPt>
          <c:dPt>
            <c:idx val="39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D-82FC-421B-A80E-67ACC5454550}"/>
              </c:ext>
            </c:extLst>
          </c:dPt>
          <c:dPt>
            <c:idx val="39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E-82FC-421B-A80E-67ACC5454550}"/>
              </c:ext>
            </c:extLst>
          </c:dPt>
          <c:dPt>
            <c:idx val="39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7F-82FC-421B-A80E-67ACC5454550}"/>
              </c:ext>
            </c:extLst>
          </c:dPt>
          <c:dPt>
            <c:idx val="39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0-82FC-421B-A80E-67ACC5454550}"/>
              </c:ext>
            </c:extLst>
          </c:dPt>
          <c:dPt>
            <c:idx val="39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1-82FC-421B-A80E-67ACC5454550}"/>
              </c:ext>
            </c:extLst>
          </c:dPt>
          <c:dPt>
            <c:idx val="39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2-82FC-421B-A80E-67ACC5454550}"/>
              </c:ext>
            </c:extLst>
          </c:dPt>
          <c:dPt>
            <c:idx val="40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3-82FC-421B-A80E-67ACC5454550}"/>
              </c:ext>
            </c:extLst>
          </c:dPt>
          <c:dPt>
            <c:idx val="40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4-82FC-421B-A80E-67ACC5454550}"/>
              </c:ext>
            </c:extLst>
          </c:dPt>
          <c:dPt>
            <c:idx val="40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5-82FC-421B-A80E-67ACC5454550}"/>
              </c:ext>
            </c:extLst>
          </c:dPt>
          <c:dPt>
            <c:idx val="40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6-82FC-421B-A80E-67ACC5454550}"/>
              </c:ext>
            </c:extLst>
          </c:dPt>
          <c:dPt>
            <c:idx val="40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7-82FC-421B-A80E-67ACC5454550}"/>
              </c:ext>
            </c:extLst>
          </c:dPt>
          <c:dPt>
            <c:idx val="40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8-82FC-421B-A80E-67ACC5454550}"/>
              </c:ext>
            </c:extLst>
          </c:dPt>
          <c:dPt>
            <c:idx val="40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9-82FC-421B-A80E-67ACC5454550}"/>
              </c:ext>
            </c:extLst>
          </c:dPt>
          <c:dPt>
            <c:idx val="40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A-82FC-421B-A80E-67ACC5454550}"/>
              </c:ext>
            </c:extLst>
          </c:dPt>
          <c:dPt>
            <c:idx val="40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B-82FC-421B-A80E-67ACC5454550}"/>
              </c:ext>
            </c:extLst>
          </c:dPt>
          <c:dPt>
            <c:idx val="40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C-82FC-421B-A80E-67ACC5454550}"/>
              </c:ext>
            </c:extLst>
          </c:dPt>
          <c:dPt>
            <c:idx val="41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D-82FC-421B-A80E-67ACC5454550}"/>
              </c:ext>
            </c:extLst>
          </c:dPt>
          <c:dPt>
            <c:idx val="41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E-82FC-421B-A80E-67ACC5454550}"/>
              </c:ext>
            </c:extLst>
          </c:dPt>
          <c:dPt>
            <c:idx val="41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8F-82FC-421B-A80E-67ACC5454550}"/>
              </c:ext>
            </c:extLst>
          </c:dPt>
          <c:dPt>
            <c:idx val="41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0-82FC-421B-A80E-67ACC5454550}"/>
              </c:ext>
            </c:extLst>
          </c:dPt>
          <c:dPt>
            <c:idx val="41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1-82FC-421B-A80E-67ACC5454550}"/>
              </c:ext>
            </c:extLst>
          </c:dPt>
          <c:dPt>
            <c:idx val="41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2-82FC-421B-A80E-67ACC5454550}"/>
              </c:ext>
            </c:extLst>
          </c:dPt>
          <c:dPt>
            <c:idx val="41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3-82FC-421B-A80E-67ACC5454550}"/>
              </c:ext>
            </c:extLst>
          </c:dPt>
          <c:dPt>
            <c:idx val="41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4-82FC-421B-A80E-67ACC5454550}"/>
              </c:ext>
            </c:extLst>
          </c:dPt>
          <c:dPt>
            <c:idx val="41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5-82FC-421B-A80E-67ACC5454550}"/>
              </c:ext>
            </c:extLst>
          </c:dPt>
          <c:dPt>
            <c:idx val="41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6-82FC-421B-A80E-67ACC5454550}"/>
              </c:ext>
            </c:extLst>
          </c:dPt>
          <c:dPt>
            <c:idx val="42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7-82FC-421B-A80E-67ACC5454550}"/>
              </c:ext>
            </c:extLst>
          </c:dPt>
          <c:dPt>
            <c:idx val="42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8-82FC-421B-A80E-67ACC5454550}"/>
              </c:ext>
            </c:extLst>
          </c:dPt>
          <c:dPt>
            <c:idx val="42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9-82FC-421B-A80E-67ACC5454550}"/>
              </c:ext>
            </c:extLst>
          </c:dPt>
          <c:dPt>
            <c:idx val="42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A-82FC-421B-A80E-67ACC5454550}"/>
              </c:ext>
            </c:extLst>
          </c:dPt>
          <c:dPt>
            <c:idx val="42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B-82FC-421B-A80E-67ACC5454550}"/>
              </c:ext>
            </c:extLst>
          </c:dPt>
          <c:dPt>
            <c:idx val="42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C-82FC-421B-A80E-67ACC5454550}"/>
              </c:ext>
            </c:extLst>
          </c:dPt>
          <c:dPt>
            <c:idx val="42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D-82FC-421B-A80E-67ACC5454550}"/>
              </c:ext>
            </c:extLst>
          </c:dPt>
          <c:dPt>
            <c:idx val="42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E-82FC-421B-A80E-67ACC5454550}"/>
              </c:ext>
            </c:extLst>
          </c:dPt>
          <c:dPt>
            <c:idx val="42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9F-82FC-421B-A80E-67ACC5454550}"/>
              </c:ext>
            </c:extLst>
          </c:dPt>
          <c:dPt>
            <c:idx val="42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0-82FC-421B-A80E-67ACC5454550}"/>
              </c:ext>
            </c:extLst>
          </c:dPt>
          <c:dPt>
            <c:idx val="43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1-82FC-421B-A80E-67ACC5454550}"/>
              </c:ext>
            </c:extLst>
          </c:dPt>
          <c:dPt>
            <c:idx val="43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2-82FC-421B-A80E-67ACC5454550}"/>
              </c:ext>
            </c:extLst>
          </c:dPt>
          <c:dPt>
            <c:idx val="43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3-82FC-421B-A80E-67ACC5454550}"/>
              </c:ext>
            </c:extLst>
          </c:dPt>
          <c:dPt>
            <c:idx val="43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4-82FC-421B-A80E-67ACC5454550}"/>
              </c:ext>
            </c:extLst>
          </c:dPt>
          <c:dPt>
            <c:idx val="43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5-82FC-421B-A80E-67ACC5454550}"/>
              </c:ext>
            </c:extLst>
          </c:dPt>
          <c:dPt>
            <c:idx val="43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6-82FC-421B-A80E-67ACC5454550}"/>
              </c:ext>
            </c:extLst>
          </c:dPt>
          <c:dPt>
            <c:idx val="43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7-82FC-421B-A80E-67ACC5454550}"/>
              </c:ext>
            </c:extLst>
          </c:dPt>
          <c:dPt>
            <c:idx val="43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8-82FC-421B-A80E-67ACC5454550}"/>
              </c:ext>
            </c:extLst>
          </c:dPt>
          <c:dPt>
            <c:idx val="43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9-82FC-421B-A80E-67ACC5454550}"/>
              </c:ext>
            </c:extLst>
          </c:dPt>
          <c:dPt>
            <c:idx val="43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A-82FC-421B-A80E-67ACC5454550}"/>
              </c:ext>
            </c:extLst>
          </c:dPt>
          <c:dPt>
            <c:idx val="44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B-82FC-421B-A80E-67ACC5454550}"/>
              </c:ext>
            </c:extLst>
          </c:dPt>
          <c:dPt>
            <c:idx val="44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C-82FC-421B-A80E-67ACC5454550}"/>
              </c:ext>
            </c:extLst>
          </c:dPt>
          <c:dPt>
            <c:idx val="44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D-82FC-421B-A80E-67ACC5454550}"/>
              </c:ext>
            </c:extLst>
          </c:dPt>
          <c:dPt>
            <c:idx val="44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E-82FC-421B-A80E-67ACC5454550}"/>
              </c:ext>
            </c:extLst>
          </c:dPt>
          <c:dPt>
            <c:idx val="44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AF-82FC-421B-A80E-67ACC5454550}"/>
              </c:ext>
            </c:extLst>
          </c:dPt>
          <c:dPt>
            <c:idx val="44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0-82FC-421B-A80E-67ACC5454550}"/>
              </c:ext>
            </c:extLst>
          </c:dPt>
          <c:dPt>
            <c:idx val="44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1-82FC-421B-A80E-67ACC5454550}"/>
              </c:ext>
            </c:extLst>
          </c:dPt>
          <c:dPt>
            <c:idx val="44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2-82FC-421B-A80E-67ACC5454550}"/>
              </c:ext>
            </c:extLst>
          </c:dPt>
          <c:dPt>
            <c:idx val="44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3-82FC-421B-A80E-67ACC5454550}"/>
              </c:ext>
            </c:extLst>
          </c:dPt>
          <c:dPt>
            <c:idx val="44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4-82FC-421B-A80E-67ACC5454550}"/>
              </c:ext>
            </c:extLst>
          </c:dPt>
          <c:dPt>
            <c:idx val="45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5-82FC-421B-A80E-67ACC5454550}"/>
              </c:ext>
            </c:extLst>
          </c:dPt>
          <c:dPt>
            <c:idx val="45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6-82FC-421B-A80E-67ACC5454550}"/>
              </c:ext>
            </c:extLst>
          </c:dPt>
          <c:dPt>
            <c:idx val="45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7-82FC-421B-A80E-67ACC5454550}"/>
              </c:ext>
            </c:extLst>
          </c:dPt>
          <c:dPt>
            <c:idx val="45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8-82FC-421B-A80E-67ACC5454550}"/>
              </c:ext>
            </c:extLst>
          </c:dPt>
          <c:dPt>
            <c:idx val="45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9-82FC-421B-A80E-67ACC5454550}"/>
              </c:ext>
            </c:extLst>
          </c:dPt>
          <c:dPt>
            <c:idx val="45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A-82FC-421B-A80E-67ACC5454550}"/>
              </c:ext>
            </c:extLst>
          </c:dPt>
          <c:dPt>
            <c:idx val="45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B-82FC-421B-A80E-67ACC5454550}"/>
              </c:ext>
            </c:extLst>
          </c:dPt>
          <c:dPt>
            <c:idx val="45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C-82FC-421B-A80E-67ACC5454550}"/>
              </c:ext>
            </c:extLst>
          </c:dPt>
          <c:dPt>
            <c:idx val="45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D-82FC-421B-A80E-67ACC5454550}"/>
              </c:ext>
            </c:extLst>
          </c:dPt>
          <c:dPt>
            <c:idx val="45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E-82FC-421B-A80E-67ACC5454550}"/>
              </c:ext>
            </c:extLst>
          </c:dPt>
          <c:dPt>
            <c:idx val="46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BF-82FC-421B-A80E-67ACC5454550}"/>
              </c:ext>
            </c:extLst>
          </c:dPt>
          <c:dPt>
            <c:idx val="46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0-82FC-421B-A80E-67ACC5454550}"/>
              </c:ext>
            </c:extLst>
          </c:dPt>
          <c:dPt>
            <c:idx val="46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1-82FC-421B-A80E-67ACC5454550}"/>
              </c:ext>
            </c:extLst>
          </c:dPt>
          <c:dPt>
            <c:idx val="46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2-82FC-421B-A80E-67ACC5454550}"/>
              </c:ext>
            </c:extLst>
          </c:dPt>
          <c:dPt>
            <c:idx val="46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3-82FC-421B-A80E-67ACC5454550}"/>
              </c:ext>
            </c:extLst>
          </c:dPt>
          <c:dPt>
            <c:idx val="46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4-82FC-421B-A80E-67ACC5454550}"/>
              </c:ext>
            </c:extLst>
          </c:dPt>
          <c:dPt>
            <c:idx val="46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5-82FC-421B-A80E-67ACC5454550}"/>
              </c:ext>
            </c:extLst>
          </c:dPt>
          <c:dPt>
            <c:idx val="46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6-82FC-421B-A80E-67ACC5454550}"/>
              </c:ext>
            </c:extLst>
          </c:dPt>
          <c:dPt>
            <c:idx val="46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7-82FC-421B-A80E-67ACC5454550}"/>
              </c:ext>
            </c:extLst>
          </c:dPt>
          <c:dPt>
            <c:idx val="46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8-82FC-421B-A80E-67ACC5454550}"/>
              </c:ext>
            </c:extLst>
          </c:dPt>
          <c:dPt>
            <c:idx val="47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9-82FC-421B-A80E-67ACC5454550}"/>
              </c:ext>
            </c:extLst>
          </c:dPt>
          <c:dPt>
            <c:idx val="47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A-82FC-421B-A80E-67ACC5454550}"/>
              </c:ext>
            </c:extLst>
          </c:dPt>
          <c:dPt>
            <c:idx val="47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B-82FC-421B-A80E-67ACC5454550}"/>
              </c:ext>
            </c:extLst>
          </c:dPt>
          <c:dPt>
            <c:idx val="47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C-82FC-421B-A80E-67ACC5454550}"/>
              </c:ext>
            </c:extLst>
          </c:dPt>
          <c:dPt>
            <c:idx val="47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D-82FC-421B-A80E-67ACC5454550}"/>
              </c:ext>
            </c:extLst>
          </c:dPt>
          <c:dPt>
            <c:idx val="47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E-82FC-421B-A80E-67ACC5454550}"/>
              </c:ext>
            </c:extLst>
          </c:dPt>
          <c:dPt>
            <c:idx val="47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CF-82FC-421B-A80E-67ACC5454550}"/>
              </c:ext>
            </c:extLst>
          </c:dPt>
          <c:dPt>
            <c:idx val="47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0-82FC-421B-A80E-67ACC5454550}"/>
              </c:ext>
            </c:extLst>
          </c:dPt>
          <c:dPt>
            <c:idx val="47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1-82FC-421B-A80E-67ACC5454550}"/>
              </c:ext>
            </c:extLst>
          </c:dPt>
          <c:dPt>
            <c:idx val="47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2-82FC-421B-A80E-67ACC5454550}"/>
              </c:ext>
            </c:extLst>
          </c:dPt>
          <c:dPt>
            <c:idx val="48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3-82FC-421B-A80E-67ACC5454550}"/>
              </c:ext>
            </c:extLst>
          </c:dPt>
          <c:dPt>
            <c:idx val="48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4-82FC-421B-A80E-67ACC5454550}"/>
              </c:ext>
            </c:extLst>
          </c:dPt>
          <c:dPt>
            <c:idx val="48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5-82FC-421B-A80E-67ACC5454550}"/>
              </c:ext>
            </c:extLst>
          </c:dPt>
          <c:dPt>
            <c:idx val="48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6-82FC-421B-A80E-67ACC5454550}"/>
              </c:ext>
            </c:extLst>
          </c:dPt>
          <c:dPt>
            <c:idx val="48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7-82FC-421B-A80E-67ACC5454550}"/>
              </c:ext>
            </c:extLst>
          </c:dPt>
          <c:dPt>
            <c:idx val="48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8-82FC-421B-A80E-67ACC5454550}"/>
              </c:ext>
            </c:extLst>
          </c:dPt>
          <c:dPt>
            <c:idx val="48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9-82FC-421B-A80E-67ACC5454550}"/>
              </c:ext>
            </c:extLst>
          </c:dPt>
          <c:dPt>
            <c:idx val="48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A-82FC-421B-A80E-67ACC5454550}"/>
              </c:ext>
            </c:extLst>
          </c:dPt>
          <c:dPt>
            <c:idx val="48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B-82FC-421B-A80E-67ACC5454550}"/>
              </c:ext>
            </c:extLst>
          </c:dPt>
          <c:dPt>
            <c:idx val="48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C-82FC-421B-A80E-67ACC5454550}"/>
              </c:ext>
            </c:extLst>
          </c:dPt>
          <c:dPt>
            <c:idx val="49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D-82FC-421B-A80E-67ACC5454550}"/>
              </c:ext>
            </c:extLst>
          </c:dPt>
          <c:dPt>
            <c:idx val="49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E-82FC-421B-A80E-67ACC5454550}"/>
              </c:ext>
            </c:extLst>
          </c:dPt>
          <c:dPt>
            <c:idx val="49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DF-82FC-421B-A80E-67ACC5454550}"/>
              </c:ext>
            </c:extLst>
          </c:dPt>
          <c:dPt>
            <c:idx val="49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0-82FC-421B-A80E-67ACC5454550}"/>
              </c:ext>
            </c:extLst>
          </c:dPt>
          <c:dPt>
            <c:idx val="49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1-82FC-421B-A80E-67ACC5454550}"/>
              </c:ext>
            </c:extLst>
          </c:dPt>
          <c:dPt>
            <c:idx val="49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2-82FC-421B-A80E-67ACC5454550}"/>
              </c:ext>
            </c:extLst>
          </c:dPt>
          <c:dPt>
            <c:idx val="49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3-82FC-421B-A80E-67ACC5454550}"/>
              </c:ext>
            </c:extLst>
          </c:dPt>
          <c:dPt>
            <c:idx val="49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4-82FC-421B-A80E-67ACC5454550}"/>
              </c:ext>
            </c:extLst>
          </c:dPt>
          <c:dPt>
            <c:idx val="49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5-82FC-421B-A80E-67ACC5454550}"/>
              </c:ext>
            </c:extLst>
          </c:dPt>
          <c:dPt>
            <c:idx val="49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6-82FC-421B-A80E-67ACC5454550}"/>
              </c:ext>
            </c:extLst>
          </c:dPt>
          <c:dPt>
            <c:idx val="50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7-82FC-421B-A80E-67ACC5454550}"/>
              </c:ext>
            </c:extLst>
          </c:dPt>
          <c:dPt>
            <c:idx val="50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8-82FC-421B-A80E-67ACC5454550}"/>
              </c:ext>
            </c:extLst>
          </c:dPt>
          <c:dPt>
            <c:idx val="50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9-82FC-421B-A80E-67ACC5454550}"/>
              </c:ext>
            </c:extLst>
          </c:dPt>
          <c:dPt>
            <c:idx val="50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A-82FC-421B-A80E-67ACC5454550}"/>
              </c:ext>
            </c:extLst>
          </c:dPt>
          <c:dPt>
            <c:idx val="50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B-82FC-421B-A80E-67ACC5454550}"/>
              </c:ext>
            </c:extLst>
          </c:dPt>
          <c:dPt>
            <c:idx val="50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C-82FC-421B-A80E-67ACC5454550}"/>
              </c:ext>
            </c:extLst>
          </c:dPt>
          <c:dPt>
            <c:idx val="50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D-82FC-421B-A80E-67ACC5454550}"/>
              </c:ext>
            </c:extLst>
          </c:dPt>
          <c:dPt>
            <c:idx val="50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E-82FC-421B-A80E-67ACC5454550}"/>
              </c:ext>
            </c:extLst>
          </c:dPt>
          <c:dPt>
            <c:idx val="50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EF-82FC-421B-A80E-67ACC5454550}"/>
              </c:ext>
            </c:extLst>
          </c:dPt>
          <c:dPt>
            <c:idx val="50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0-82FC-421B-A80E-67ACC5454550}"/>
              </c:ext>
            </c:extLst>
          </c:dPt>
          <c:dPt>
            <c:idx val="51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1-82FC-421B-A80E-67ACC5454550}"/>
              </c:ext>
            </c:extLst>
          </c:dPt>
          <c:dPt>
            <c:idx val="51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2-82FC-421B-A80E-67ACC5454550}"/>
              </c:ext>
            </c:extLst>
          </c:dPt>
          <c:dPt>
            <c:idx val="51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3-82FC-421B-A80E-67ACC5454550}"/>
              </c:ext>
            </c:extLst>
          </c:dPt>
          <c:dPt>
            <c:idx val="51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4-82FC-421B-A80E-67ACC5454550}"/>
              </c:ext>
            </c:extLst>
          </c:dPt>
          <c:dPt>
            <c:idx val="51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5-82FC-421B-A80E-67ACC5454550}"/>
              </c:ext>
            </c:extLst>
          </c:dPt>
          <c:dPt>
            <c:idx val="51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6-82FC-421B-A80E-67ACC5454550}"/>
              </c:ext>
            </c:extLst>
          </c:dPt>
          <c:dPt>
            <c:idx val="51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7-82FC-421B-A80E-67ACC5454550}"/>
              </c:ext>
            </c:extLst>
          </c:dPt>
          <c:dPt>
            <c:idx val="51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8-82FC-421B-A80E-67ACC5454550}"/>
              </c:ext>
            </c:extLst>
          </c:dPt>
          <c:dPt>
            <c:idx val="51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9-82FC-421B-A80E-67ACC5454550}"/>
              </c:ext>
            </c:extLst>
          </c:dPt>
          <c:dPt>
            <c:idx val="51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A-82FC-421B-A80E-67ACC5454550}"/>
              </c:ext>
            </c:extLst>
          </c:dPt>
          <c:dPt>
            <c:idx val="52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B-82FC-421B-A80E-67ACC5454550}"/>
              </c:ext>
            </c:extLst>
          </c:dPt>
          <c:dPt>
            <c:idx val="52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C-82FC-421B-A80E-67ACC5454550}"/>
              </c:ext>
            </c:extLst>
          </c:dPt>
          <c:dPt>
            <c:idx val="52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D-82FC-421B-A80E-67ACC5454550}"/>
              </c:ext>
            </c:extLst>
          </c:dPt>
          <c:dPt>
            <c:idx val="52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E-82FC-421B-A80E-67ACC5454550}"/>
              </c:ext>
            </c:extLst>
          </c:dPt>
          <c:dPt>
            <c:idx val="52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0FFF-82FC-421B-A80E-67ACC5454550}"/>
              </c:ext>
            </c:extLst>
          </c:dPt>
          <c:dPt>
            <c:idx val="52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0-82FC-421B-A80E-67ACC5454550}"/>
              </c:ext>
            </c:extLst>
          </c:dPt>
          <c:dPt>
            <c:idx val="52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1-82FC-421B-A80E-67ACC5454550}"/>
              </c:ext>
            </c:extLst>
          </c:dPt>
          <c:dPt>
            <c:idx val="52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2-82FC-421B-A80E-67ACC5454550}"/>
              </c:ext>
            </c:extLst>
          </c:dPt>
          <c:dPt>
            <c:idx val="52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3-82FC-421B-A80E-67ACC5454550}"/>
              </c:ext>
            </c:extLst>
          </c:dPt>
          <c:dPt>
            <c:idx val="52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4-82FC-421B-A80E-67ACC5454550}"/>
              </c:ext>
            </c:extLst>
          </c:dPt>
          <c:dPt>
            <c:idx val="53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5-82FC-421B-A80E-67ACC5454550}"/>
              </c:ext>
            </c:extLst>
          </c:dPt>
          <c:dPt>
            <c:idx val="53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6-82FC-421B-A80E-67ACC5454550}"/>
              </c:ext>
            </c:extLst>
          </c:dPt>
          <c:dPt>
            <c:idx val="53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7-82FC-421B-A80E-67ACC5454550}"/>
              </c:ext>
            </c:extLst>
          </c:dPt>
          <c:dPt>
            <c:idx val="53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8-82FC-421B-A80E-67ACC5454550}"/>
              </c:ext>
            </c:extLst>
          </c:dPt>
          <c:dPt>
            <c:idx val="53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9-82FC-421B-A80E-67ACC5454550}"/>
              </c:ext>
            </c:extLst>
          </c:dPt>
          <c:dPt>
            <c:idx val="53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A-82FC-421B-A80E-67ACC5454550}"/>
              </c:ext>
            </c:extLst>
          </c:dPt>
          <c:dPt>
            <c:idx val="53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B-82FC-421B-A80E-67ACC5454550}"/>
              </c:ext>
            </c:extLst>
          </c:dPt>
          <c:dPt>
            <c:idx val="53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C-82FC-421B-A80E-67ACC5454550}"/>
              </c:ext>
            </c:extLst>
          </c:dPt>
          <c:dPt>
            <c:idx val="53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D-82FC-421B-A80E-67ACC5454550}"/>
              </c:ext>
            </c:extLst>
          </c:dPt>
          <c:dPt>
            <c:idx val="53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E-82FC-421B-A80E-67ACC5454550}"/>
              </c:ext>
            </c:extLst>
          </c:dPt>
          <c:dPt>
            <c:idx val="54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0F-82FC-421B-A80E-67ACC5454550}"/>
              </c:ext>
            </c:extLst>
          </c:dPt>
          <c:dPt>
            <c:idx val="54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0-82FC-421B-A80E-67ACC5454550}"/>
              </c:ext>
            </c:extLst>
          </c:dPt>
          <c:dPt>
            <c:idx val="54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1-82FC-421B-A80E-67ACC5454550}"/>
              </c:ext>
            </c:extLst>
          </c:dPt>
          <c:dPt>
            <c:idx val="54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2-82FC-421B-A80E-67ACC5454550}"/>
              </c:ext>
            </c:extLst>
          </c:dPt>
          <c:dPt>
            <c:idx val="54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3-82FC-421B-A80E-67ACC5454550}"/>
              </c:ext>
            </c:extLst>
          </c:dPt>
          <c:dPt>
            <c:idx val="54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4-82FC-421B-A80E-67ACC5454550}"/>
              </c:ext>
            </c:extLst>
          </c:dPt>
          <c:dPt>
            <c:idx val="54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5-82FC-421B-A80E-67ACC5454550}"/>
              </c:ext>
            </c:extLst>
          </c:dPt>
          <c:dPt>
            <c:idx val="54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6-82FC-421B-A80E-67ACC5454550}"/>
              </c:ext>
            </c:extLst>
          </c:dPt>
          <c:dPt>
            <c:idx val="54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7-82FC-421B-A80E-67ACC5454550}"/>
              </c:ext>
            </c:extLst>
          </c:dPt>
          <c:dPt>
            <c:idx val="54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8-82FC-421B-A80E-67ACC5454550}"/>
              </c:ext>
            </c:extLst>
          </c:dPt>
          <c:dPt>
            <c:idx val="55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9-82FC-421B-A80E-67ACC5454550}"/>
              </c:ext>
            </c:extLst>
          </c:dPt>
          <c:dPt>
            <c:idx val="55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A-82FC-421B-A80E-67ACC5454550}"/>
              </c:ext>
            </c:extLst>
          </c:dPt>
          <c:dPt>
            <c:idx val="55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B-82FC-421B-A80E-67ACC5454550}"/>
              </c:ext>
            </c:extLst>
          </c:dPt>
          <c:dPt>
            <c:idx val="55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C-82FC-421B-A80E-67ACC5454550}"/>
              </c:ext>
            </c:extLst>
          </c:dPt>
          <c:dPt>
            <c:idx val="55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D-82FC-421B-A80E-67ACC5454550}"/>
              </c:ext>
            </c:extLst>
          </c:dPt>
          <c:dPt>
            <c:idx val="55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E-82FC-421B-A80E-67ACC5454550}"/>
              </c:ext>
            </c:extLst>
          </c:dPt>
          <c:dPt>
            <c:idx val="55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1F-82FC-421B-A80E-67ACC5454550}"/>
              </c:ext>
            </c:extLst>
          </c:dPt>
          <c:dPt>
            <c:idx val="55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0-82FC-421B-A80E-67ACC5454550}"/>
              </c:ext>
            </c:extLst>
          </c:dPt>
          <c:dPt>
            <c:idx val="55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1-82FC-421B-A80E-67ACC5454550}"/>
              </c:ext>
            </c:extLst>
          </c:dPt>
          <c:dPt>
            <c:idx val="55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2-82FC-421B-A80E-67ACC5454550}"/>
              </c:ext>
            </c:extLst>
          </c:dPt>
          <c:dPt>
            <c:idx val="56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3-82FC-421B-A80E-67ACC5454550}"/>
              </c:ext>
            </c:extLst>
          </c:dPt>
          <c:dPt>
            <c:idx val="56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4-82FC-421B-A80E-67ACC5454550}"/>
              </c:ext>
            </c:extLst>
          </c:dPt>
          <c:dPt>
            <c:idx val="56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5-82FC-421B-A80E-67ACC5454550}"/>
              </c:ext>
            </c:extLst>
          </c:dPt>
          <c:dPt>
            <c:idx val="56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6-82FC-421B-A80E-67ACC5454550}"/>
              </c:ext>
            </c:extLst>
          </c:dPt>
          <c:dPt>
            <c:idx val="56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7-82FC-421B-A80E-67ACC5454550}"/>
              </c:ext>
            </c:extLst>
          </c:dPt>
          <c:dPt>
            <c:idx val="56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8-82FC-421B-A80E-67ACC5454550}"/>
              </c:ext>
            </c:extLst>
          </c:dPt>
          <c:dPt>
            <c:idx val="56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9-82FC-421B-A80E-67ACC5454550}"/>
              </c:ext>
            </c:extLst>
          </c:dPt>
          <c:dPt>
            <c:idx val="56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A-82FC-421B-A80E-67ACC5454550}"/>
              </c:ext>
            </c:extLst>
          </c:dPt>
          <c:dPt>
            <c:idx val="56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B-82FC-421B-A80E-67ACC5454550}"/>
              </c:ext>
            </c:extLst>
          </c:dPt>
          <c:dPt>
            <c:idx val="56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C-82FC-421B-A80E-67ACC5454550}"/>
              </c:ext>
            </c:extLst>
          </c:dPt>
          <c:dPt>
            <c:idx val="57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D-82FC-421B-A80E-67ACC5454550}"/>
              </c:ext>
            </c:extLst>
          </c:dPt>
          <c:dPt>
            <c:idx val="57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E-82FC-421B-A80E-67ACC5454550}"/>
              </c:ext>
            </c:extLst>
          </c:dPt>
          <c:dPt>
            <c:idx val="57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2F-82FC-421B-A80E-67ACC5454550}"/>
              </c:ext>
            </c:extLst>
          </c:dPt>
          <c:dPt>
            <c:idx val="57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0-82FC-421B-A80E-67ACC5454550}"/>
              </c:ext>
            </c:extLst>
          </c:dPt>
          <c:dPt>
            <c:idx val="57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1-82FC-421B-A80E-67ACC5454550}"/>
              </c:ext>
            </c:extLst>
          </c:dPt>
          <c:dPt>
            <c:idx val="57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2-82FC-421B-A80E-67ACC5454550}"/>
              </c:ext>
            </c:extLst>
          </c:dPt>
          <c:dPt>
            <c:idx val="57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3-82FC-421B-A80E-67ACC5454550}"/>
              </c:ext>
            </c:extLst>
          </c:dPt>
          <c:dPt>
            <c:idx val="57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4-82FC-421B-A80E-67ACC5454550}"/>
              </c:ext>
            </c:extLst>
          </c:dPt>
          <c:dPt>
            <c:idx val="57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5-82FC-421B-A80E-67ACC5454550}"/>
              </c:ext>
            </c:extLst>
          </c:dPt>
          <c:dPt>
            <c:idx val="57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6-82FC-421B-A80E-67ACC5454550}"/>
              </c:ext>
            </c:extLst>
          </c:dPt>
          <c:dPt>
            <c:idx val="58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7-82FC-421B-A80E-67ACC5454550}"/>
              </c:ext>
            </c:extLst>
          </c:dPt>
          <c:dPt>
            <c:idx val="58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8-82FC-421B-A80E-67ACC5454550}"/>
              </c:ext>
            </c:extLst>
          </c:dPt>
          <c:dPt>
            <c:idx val="58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9-82FC-421B-A80E-67ACC5454550}"/>
              </c:ext>
            </c:extLst>
          </c:dPt>
          <c:dPt>
            <c:idx val="58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A-82FC-421B-A80E-67ACC5454550}"/>
              </c:ext>
            </c:extLst>
          </c:dPt>
          <c:dPt>
            <c:idx val="58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B-82FC-421B-A80E-67ACC5454550}"/>
              </c:ext>
            </c:extLst>
          </c:dPt>
          <c:dPt>
            <c:idx val="58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C-82FC-421B-A80E-67ACC5454550}"/>
              </c:ext>
            </c:extLst>
          </c:dPt>
          <c:dPt>
            <c:idx val="58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D-82FC-421B-A80E-67ACC5454550}"/>
              </c:ext>
            </c:extLst>
          </c:dPt>
          <c:dPt>
            <c:idx val="58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E-82FC-421B-A80E-67ACC5454550}"/>
              </c:ext>
            </c:extLst>
          </c:dPt>
          <c:dPt>
            <c:idx val="58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3F-82FC-421B-A80E-67ACC5454550}"/>
              </c:ext>
            </c:extLst>
          </c:dPt>
          <c:dPt>
            <c:idx val="58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0-82FC-421B-A80E-67ACC5454550}"/>
              </c:ext>
            </c:extLst>
          </c:dPt>
          <c:dPt>
            <c:idx val="59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1-82FC-421B-A80E-67ACC5454550}"/>
              </c:ext>
            </c:extLst>
          </c:dPt>
          <c:dPt>
            <c:idx val="59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2-82FC-421B-A80E-67ACC5454550}"/>
              </c:ext>
            </c:extLst>
          </c:dPt>
          <c:dPt>
            <c:idx val="59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3-82FC-421B-A80E-67ACC5454550}"/>
              </c:ext>
            </c:extLst>
          </c:dPt>
          <c:dPt>
            <c:idx val="59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4-82FC-421B-A80E-67ACC5454550}"/>
              </c:ext>
            </c:extLst>
          </c:dPt>
          <c:dPt>
            <c:idx val="59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5-82FC-421B-A80E-67ACC5454550}"/>
              </c:ext>
            </c:extLst>
          </c:dPt>
          <c:dPt>
            <c:idx val="59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6-82FC-421B-A80E-67ACC5454550}"/>
              </c:ext>
            </c:extLst>
          </c:dPt>
          <c:dPt>
            <c:idx val="59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7-82FC-421B-A80E-67ACC5454550}"/>
              </c:ext>
            </c:extLst>
          </c:dPt>
          <c:dPt>
            <c:idx val="59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8-82FC-421B-A80E-67ACC5454550}"/>
              </c:ext>
            </c:extLst>
          </c:dPt>
          <c:dPt>
            <c:idx val="59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9-82FC-421B-A80E-67ACC5454550}"/>
              </c:ext>
            </c:extLst>
          </c:dPt>
          <c:dPt>
            <c:idx val="59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A-82FC-421B-A80E-67ACC5454550}"/>
              </c:ext>
            </c:extLst>
          </c:dPt>
          <c:dPt>
            <c:idx val="60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B-82FC-421B-A80E-67ACC5454550}"/>
              </c:ext>
            </c:extLst>
          </c:dPt>
          <c:dPt>
            <c:idx val="60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C-82FC-421B-A80E-67ACC5454550}"/>
              </c:ext>
            </c:extLst>
          </c:dPt>
          <c:dPt>
            <c:idx val="60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D-82FC-421B-A80E-67ACC5454550}"/>
              </c:ext>
            </c:extLst>
          </c:dPt>
          <c:dPt>
            <c:idx val="60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E-82FC-421B-A80E-67ACC5454550}"/>
              </c:ext>
            </c:extLst>
          </c:dPt>
          <c:dPt>
            <c:idx val="60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4F-82FC-421B-A80E-67ACC5454550}"/>
              </c:ext>
            </c:extLst>
          </c:dPt>
          <c:dPt>
            <c:idx val="60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0-82FC-421B-A80E-67ACC5454550}"/>
              </c:ext>
            </c:extLst>
          </c:dPt>
          <c:dPt>
            <c:idx val="60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1-82FC-421B-A80E-67ACC5454550}"/>
              </c:ext>
            </c:extLst>
          </c:dPt>
          <c:dPt>
            <c:idx val="60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2-82FC-421B-A80E-67ACC5454550}"/>
              </c:ext>
            </c:extLst>
          </c:dPt>
          <c:dPt>
            <c:idx val="60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3-82FC-421B-A80E-67ACC5454550}"/>
              </c:ext>
            </c:extLst>
          </c:dPt>
          <c:dPt>
            <c:idx val="60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4-82FC-421B-A80E-67ACC5454550}"/>
              </c:ext>
            </c:extLst>
          </c:dPt>
          <c:dPt>
            <c:idx val="61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5-82FC-421B-A80E-67ACC5454550}"/>
              </c:ext>
            </c:extLst>
          </c:dPt>
          <c:dPt>
            <c:idx val="61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6-82FC-421B-A80E-67ACC5454550}"/>
              </c:ext>
            </c:extLst>
          </c:dPt>
          <c:dPt>
            <c:idx val="61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7-82FC-421B-A80E-67ACC5454550}"/>
              </c:ext>
            </c:extLst>
          </c:dPt>
          <c:dPt>
            <c:idx val="61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8-82FC-421B-A80E-67ACC5454550}"/>
              </c:ext>
            </c:extLst>
          </c:dPt>
          <c:dPt>
            <c:idx val="61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9-82FC-421B-A80E-67ACC5454550}"/>
              </c:ext>
            </c:extLst>
          </c:dPt>
          <c:dPt>
            <c:idx val="61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A-82FC-421B-A80E-67ACC5454550}"/>
              </c:ext>
            </c:extLst>
          </c:dPt>
          <c:dPt>
            <c:idx val="61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B-82FC-421B-A80E-67ACC5454550}"/>
              </c:ext>
            </c:extLst>
          </c:dPt>
          <c:dPt>
            <c:idx val="61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C-82FC-421B-A80E-67ACC5454550}"/>
              </c:ext>
            </c:extLst>
          </c:dPt>
          <c:dPt>
            <c:idx val="61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D-82FC-421B-A80E-67ACC5454550}"/>
              </c:ext>
            </c:extLst>
          </c:dPt>
          <c:dPt>
            <c:idx val="61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E-82FC-421B-A80E-67ACC5454550}"/>
              </c:ext>
            </c:extLst>
          </c:dPt>
          <c:dPt>
            <c:idx val="62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5F-82FC-421B-A80E-67ACC5454550}"/>
              </c:ext>
            </c:extLst>
          </c:dPt>
          <c:dPt>
            <c:idx val="62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0-82FC-421B-A80E-67ACC5454550}"/>
              </c:ext>
            </c:extLst>
          </c:dPt>
          <c:dPt>
            <c:idx val="62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1-82FC-421B-A80E-67ACC5454550}"/>
              </c:ext>
            </c:extLst>
          </c:dPt>
          <c:dPt>
            <c:idx val="62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2-82FC-421B-A80E-67ACC5454550}"/>
              </c:ext>
            </c:extLst>
          </c:dPt>
          <c:dPt>
            <c:idx val="62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3-82FC-421B-A80E-67ACC5454550}"/>
              </c:ext>
            </c:extLst>
          </c:dPt>
          <c:dPt>
            <c:idx val="62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4-82FC-421B-A80E-67ACC5454550}"/>
              </c:ext>
            </c:extLst>
          </c:dPt>
          <c:dPt>
            <c:idx val="62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5-82FC-421B-A80E-67ACC5454550}"/>
              </c:ext>
            </c:extLst>
          </c:dPt>
          <c:dPt>
            <c:idx val="62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6-82FC-421B-A80E-67ACC5454550}"/>
              </c:ext>
            </c:extLst>
          </c:dPt>
          <c:dPt>
            <c:idx val="62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7-82FC-421B-A80E-67ACC5454550}"/>
              </c:ext>
            </c:extLst>
          </c:dPt>
          <c:dPt>
            <c:idx val="62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8-82FC-421B-A80E-67ACC5454550}"/>
              </c:ext>
            </c:extLst>
          </c:dPt>
          <c:dPt>
            <c:idx val="63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9-82FC-421B-A80E-67ACC5454550}"/>
              </c:ext>
            </c:extLst>
          </c:dPt>
          <c:dPt>
            <c:idx val="63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A-82FC-421B-A80E-67ACC5454550}"/>
              </c:ext>
            </c:extLst>
          </c:dPt>
          <c:dPt>
            <c:idx val="63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B-82FC-421B-A80E-67ACC5454550}"/>
              </c:ext>
            </c:extLst>
          </c:dPt>
          <c:dPt>
            <c:idx val="63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C-82FC-421B-A80E-67ACC5454550}"/>
              </c:ext>
            </c:extLst>
          </c:dPt>
          <c:dPt>
            <c:idx val="63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D-82FC-421B-A80E-67ACC5454550}"/>
              </c:ext>
            </c:extLst>
          </c:dPt>
          <c:dPt>
            <c:idx val="63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E-82FC-421B-A80E-67ACC5454550}"/>
              </c:ext>
            </c:extLst>
          </c:dPt>
          <c:dPt>
            <c:idx val="63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6F-82FC-421B-A80E-67ACC5454550}"/>
              </c:ext>
            </c:extLst>
          </c:dPt>
          <c:dPt>
            <c:idx val="63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0-82FC-421B-A80E-67ACC5454550}"/>
              </c:ext>
            </c:extLst>
          </c:dPt>
          <c:dPt>
            <c:idx val="63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1-82FC-421B-A80E-67ACC5454550}"/>
              </c:ext>
            </c:extLst>
          </c:dPt>
          <c:dPt>
            <c:idx val="63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2-82FC-421B-A80E-67ACC5454550}"/>
              </c:ext>
            </c:extLst>
          </c:dPt>
          <c:dPt>
            <c:idx val="64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3-82FC-421B-A80E-67ACC5454550}"/>
              </c:ext>
            </c:extLst>
          </c:dPt>
          <c:dPt>
            <c:idx val="64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4-82FC-421B-A80E-67ACC5454550}"/>
              </c:ext>
            </c:extLst>
          </c:dPt>
          <c:dPt>
            <c:idx val="64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5-82FC-421B-A80E-67ACC5454550}"/>
              </c:ext>
            </c:extLst>
          </c:dPt>
          <c:dPt>
            <c:idx val="64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6-82FC-421B-A80E-67ACC5454550}"/>
              </c:ext>
            </c:extLst>
          </c:dPt>
          <c:dPt>
            <c:idx val="64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7-82FC-421B-A80E-67ACC5454550}"/>
              </c:ext>
            </c:extLst>
          </c:dPt>
          <c:dPt>
            <c:idx val="64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8-82FC-421B-A80E-67ACC5454550}"/>
              </c:ext>
            </c:extLst>
          </c:dPt>
          <c:dPt>
            <c:idx val="64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9-82FC-421B-A80E-67ACC5454550}"/>
              </c:ext>
            </c:extLst>
          </c:dPt>
          <c:dPt>
            <c:idx val="64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A-82FC-421B-A80E-67ACC5454550}"/>
              </c:ext>
            </c:extLst>
          </c:dPt>
          <c:dPt>
            <c:idx val="64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B-82FC-421B-A80E-67ACC5454550}"/>
              </c:ext>
            </c:extLst>
          </c:dPt>
          <c:dPt>
            <c:idx val="64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C-82FC-421B-A80E-67ACC5454550}"/>
              </c:ext>
            </c:extLst>
          </c:dPt>
          <c:dPt>
            <c:idx val="65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D-82FC-421B-A80E-67ACC5454550}"/>
              </c:ext>
            </c:extLst>
          </c:dPt>
          <c:dPt>
            <c:idx val="65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E-82FC-421B-A80E-67ACC5454550}"/>
              </c:ext>
            </c:extLst>
          </c:dPt>
          <c:dPt>
            <c:idx val="65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7F-82FC-421B-A80E-67ACC5454550}"/>
              </c:ext>
            </c:extLst>
          </c:dPt>
          <c:dPt>
            <c:idx val="65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0-82FC-421B-A80E-67ACC5454550}"/>
              </c:ext>
            </c:extLst>
          </c:dPt>
          <c:dPt>
            <c:idx val="65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1-82FC-421B-A80E-67ACC5454550}"/>
              </c:ext>
            </c:extLst>
          </c:dPt>
          <c:dPt>
            <c:idx val="65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2-82FC-421B-A80E-67ACC5454550}"/>
              </c:ext>
            </c:extLst>
          </c:dPt>
          <c:dPt>
            <c:idx val="65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3-82FC-421B-A80E-67ACC5454550}"/>
              </c:ext>
            </c:extLst>
          </c:dPt>
          <c:dPt>
            <c:idx val="65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4-82FC-421B-A80E-67ACC5454550}"/>
              </c:ext>
            </c:extLst>
          </c:dPt>
          <c:dPt>
            <c:idx val="65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5-82FC-421B-A80E-67ACC5454550}"/>
              </c:ext>
            </c:extLst>
          </c:dPt>
          <c:dPt>
            <c:idx val="65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6-82FC-421B-A80E-67ACC5454550}"/>
              </c:ext>
            </c:extLst>
          </c:dPt>
          <c:dPt>
            <c:idx val="66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7-82FC-421B-A80E-67ACC5454550}"/>
              </c:ext>
            </c:extLst>
          </c:dPt>
          <c:dPt>
            <c:idx val="66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8-82FC-421B-A80E-67ACC5454550}"/>
              </c:ext>
            </c:extLst>
          </c:dPt>
          <c:dPt>
            <c:idx val="66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9-82FC-421B-A80E-67ACC5454550}"/>
              </c:ext>
            </c:extLst>
          </c:dPt>
          <c:dPt>
            <c:idx val="66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A-82FC-421B-A80E-67ACC5454550}"/>
              </c:ext>
            </c:extLst>
          </c:dPt>
          <c:dPt>
            <c:idx val="66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B-82FC-421B-A80E-67ACC5454550}"/>
              </c:ext>
            </c:extLst>
          </c:dPt>
          <c:dPt>
            <c:idx val="66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C-82FC-421B-A80E-67ACC5454550}"/>
              </c:ext>
            </c:extLst>
          </c:dPt>
          <c:dPt>
            <c:idx val="66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D-82FC-421B-A80E-67ACC5454550}"/>
              </c:ext>
            </c:extLst>
          </c:dPt>
          <c:dPt>
            <c:idx val="66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E-82FC-421B-A80E-67ACC5454550}"/>
              </c:ext>
            </c:extLst>
          </c:dPt>
          <c:dPt>
            <c:idx val="66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8F-82FC-421B-A80E-67ACC5454550}"/>
              </c:ext>
            </c:extLst>
          </c:dPt>
          <c:dPt>
            <c:idx val="66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0-82FC-421B-A80E-67ACC5454550}"/>
              </c:ext>
            </c:extLst>
          </c:dPt>
          <c:dPt>
            <c:idx val="67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1-82FC-421B-A80E-67ACC5454550}"/>
              </c:ext>
            </c:extLst>
          </c:dPt>
          <c:dPt>
            <c:idx val="67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2-82FC-421B-A80E-67ACC5454550}"/>
              </c:ext>
            </c:extLst>
          </c:dPt>
          <c:dPt>
            <c:idx val="67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3-82FC-421B-A80E-67ACC5454550}"/>
              </c:ext>
            </c:extLst>
          </c:dPt>
          <c:dPt>
            <c:idx val="67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4-82FC-421B-A80E-67ACC5454550}"/>
              </c:ext>
            </c:extLst>
          </c:dPt>
          <c:dPt>
            <c:idx val="67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5-82FC-421B-A80E-67ACC5454550}"/>
              </c:ext>
            </c:extLst>
          </c:dPt>
          <c:dPt>
            <c:idx val="67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6-82FC-421B-A80E-67ACC5454550}"/>
              </c:ext>
            </c:extLst>
          </c:dPt>
          <c:dPt>
            <c:idx val="67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7-82FC-421B-A80E-67ACC5454550}"/>
              </c:ext>
            </c:extLst>
          </c:dPt>
          <c:dPt>
            <c:idx val="67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8-82FC-421B-A80E-67ACC5454550}"/>
              </c:ext>
            </c:extLst>
          </c:dPt>
          <c:dPt>
            <c:idx val="67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9-82FC-421B-A80E-67ACC5454550}"/>
              </c:ext>
            </c:extLst>
          </c:dPt>
          <c:dPt>
            <c:idx val="67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A-82FC-421B-A80E-67ACC5454550}"/>
              </c:ext>
            </c:extLst>
          </c:dPt>
          <c:dPt>
            <c:idx val="68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B-82FC-421B-A80E-67ACC5454550}"/>
              </c:ext>
            </c:extLst>
          </c:dPt>
          <c:dPt>
            <c:idx val="68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C-82FC-421B-A80E-67ACC5454550}"/>
              </c:ext>
            </c:extLst>
          </c:dPt>
          <c:dPt>
            <c:idx val="68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D-82FC-421B-A80E-67ACC5454550}"/>
              </c:ext>
            </c:extLst>
          </c:dPt>
          <c:dPt>
            <c:idx val="68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E-82FC-421B-A80E-67ACC5454550}"/>
              </c:ext>
            </c:extLst>
          </c:dPt>
          <c:dPt>
            <c:idx val="68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9F-82FC-421B-A80E-67ACC5454550}"/>
              </c:ext>
            </c:extLst>
          </c:dPt>
          <c:dPt>
            <c:idx val="68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0-82FC-421B-A80E-67ACC5454550}"/>
              </c:ext>
            </c:extLst>
          </c:dPt>
          <c:dPt>
            <c:idx val="68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1-82FC-421B-A80E-67ACC5454550}"/>
              </c:ext>
            </c:extLst>
          </c:dPt>
          <c:dPt>
            <c:idx val="68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2-82FC-421B-A80E-67ACC5454550}"/>
              </c:ext>
            </c:extLst>
          </c:dPt>
          <c:dPt>
            <c:idx val="68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3-82FC-421B-A80E-67ACC5454550}"/>
              </c:ext>
            </c:extLst>
          </c:dPt>
          <c:dPt>
            <c:idx val="68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4-82FC-421B-A80E-67ACC5454550}"/>
              </c:ext>
            </c:extLst>
          </c:dPt>
          <c:dPt>
            <c:idx val="69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5-82FC-421B-A80E-67ACC5454550}"/>
              </c:ext>
            </c:extLst>
          </c:dPt>
          <c:dPt>
            <c:idx val="69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6-82FC-421B-A80E-67ACC5454550}"/>
              </c:ext>
            </c:extLst>
          </c:dPt>
          <c:dPt>
            <c:idx val="69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7-82FC-421B-A80E-67ACC5454550}"/>
              </c:ext>
            </c:extLst>
          </c:dPt>
          <c:dPt>
            <c:idx val="69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8-82FC-421B-A80E-67ACC5454550}"/>
              </c:ext>
            </c:extLst>
          </c:dPt>
          <c:dPt>
            <c:idx val="69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9-82FC-421B-A80E-67ACC5454550}"/>
              </c:ext>
            </c:extLst>
          </c:dPt>
          <c:dPt>
            <c:idx val="69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A-82FC-421B-A80E-67ACC5454550}"/>
              </c:ext>
            </c:extLst>
          </c:dPt>
          <c:dPt>
            <c:idx val="69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B-82FC-421B-A80E-67ACC5454550}"/>
              </c:ext>
            </c:extLst>
          </c:dPt>
          <c:dPt>
            <c:idx val="69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C-82FC-421B-A80E-67ACC5454550}"/>
              </c:ext>
            </c:extLst>
          </c:dPt>
          <c:dPt>
            <c:idx val="69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D-82FC-421B-A80E-67ACC5454550}"/>
              </c:ext>
            </c:extLst>
          </c:dPt>
          <c:dPt>
            <c:idx val="69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E-82FC-421B-A80E-67ACC5454550}"/>
              </c:ext>
            </c:extLst>
          </c:dPt>
          <c:dPt>
            <c:idx val="70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AF-82FC-421B-A80E-67ACC5454550}"/>
              </c:ext>
            </c:extLst>
          </c:dPt>
          <c:dPt>
            <c:idx val="70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0-82FC-421B-A80E-67ACC5454550}"/>
              </c:ext>
            </c:extLst>
          </c:dPt>
          <c:dPt>
            <c:idx val="70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1-82FC-421B-A80E-67ACC5454550}"/>
              </c:ext>
            </c:extLst>
          </c:dPt>
          <c:dPt>
            <c:idx val="70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2-82FC-421B-A80E-67ACC5454550}"/>
              </c:ext>
            </c:extLst>
          </c:dPt>
          <c:dPt>
            <c:idx val="70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3-82FC-421B-A80E-67ACC5454550}"/>
              </c:ext>
            </c:extLst>
          </c:dPt>
          <c:dPt>
            <c:idx val="70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4-82FC-421B-A80E-67ACC5454550}"/>
              </c:ext>
            </c:extLst>
          </c:dPt>
          <c:dPt>
            <c:idx val="70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5-82FC-421B-A80E-67ACC5454550}"/>
              </c:ext>
            </c:extLst>
          </c:dPt>
          <c:dPt>
            <c:idx val="70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6-82FC-421B-A80E-67ACC5454550}"/>
              </c:ext>
            </c:extLst>
          </c:dPt>
          <c:dPt>
            <c:idx val="70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7-82FC-421B-A80E-67ACC5454550}"/>
              </c:ext>
            </c:extLst>
          </c:dPt>
          <c:dPt>
            <c:idx val="70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8-82FC-421B-A80E-67ACC5454550}"/>
              </c:ext>
            </c:extLst>
          </c:dPt>
          <c:dPt>
            <c:idx val="71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9-82FC-421B-A80E-67ACC5454550}"/>
              </c:ext>
            </c:extLst>
          </c:dPt>
          <c:dPt>
            <c:idx val="71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A-82FC-421B-A80E-67ACC5454550}"/>
              </c:ext>
            </c:extLst>
          </c:dPt>
          <c:dPt>
            <c:idx val="71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B-82FC-421B-A80E-67ACC5454550}"/>
              </c:ext>
            </c:extLst>
          </c:dPt>
          <c:dPt>
            <c:idx val="71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C-82FC-421B-A80E-67ACC5454550}"/>
              </c:ext>
            </c:extLst>
          </c:dPt>
          <c:dPt>
            <c:idx val="71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D-82FC-421B-A80E-67ACC5454550}"/>
              </c:ext>
            </c:extLst>
          </c:dPt>
          <c:dPt>
            <c:idx val="71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E-82FC-421B-A80E-67ACC5454550}"/>
              </c:ext>
            </c:extLst>
          </c:dPt>
          <c:dPt>
            <c:idx val="71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BF-82FC-421B-A80E-67ACC5454550}"/>
              </c:ext>
            </c:extLst>
          </c:dPt>
          <c:dPt>
            <c:idx val="71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0-82FC-421B-A80E-67ACC5454550}"/>
              </c:ext>
            </c:extLst>
          </c:dPt>
          <c:dPt>
            <c:idx val="71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1-82FC-421B-A80E-67ACC5454550}"/>
              </c:ext>
            </c:extLst>
          </c:dPt>
          <c:dPt>
            <c:idx val="71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2-82FC-421B-A80E-67ACC5454550}"/>
              </c:ext>
            </c:extLst>
          </c:dPt>
          <c:dPt>
            <c:idx val="72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3-82FC-421B-A80E-67ACC5454550}"/>
              </c:ext>
            </c:extLst>
          </c:dPt>
          <c:dPt>
            <c:idx val="72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4-82FC-421B-A80E-67ACC5454550}"/>
              </c:ext>
            </c:extLst>
          </c:dPt>
          <c:dPt>
            <c:idx val="72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5-82FC-421B-A80E-67ACC5454550}"/>
              </c:ext>
            </c:extLst>
          </c:dPt>
          <c:dPt>
            <c:idx val="72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6-82FC-421B-A80E-67ACC5454550}"/>
              </c:ext>
            </c:extLst>
          </c:dPt>
          <c:dPt>
            <c:idx val="72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7-82FC-421B-A80E-67ACC5454550}"/>
              </c:ext>
            </c:extLst>
          </c:dPt>
          <c:dPt>
            <c:idx val="72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8-82FC-421B-A80E-67ACC5454550}"/>
              </c:ext>
            </c:extLst>
          </c:dPt>
          <c:dPt>
            <c:idx val="72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9-82FC-421B-A80E-67ACC5454550}"/>
              </c:ext>
            </c:extLst>
          </c:dPt>
          <c:dPt>
            <c:idx val="72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A-82FC-421B-A80E-67ACC5454550}"/>
              </c:ext>
            </c:extLst>
          </c:dPt>
          <c:dPt>
            <c:idx val="72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B-82FC-421B-A80E-67ACC5454550}"/>
              </c:ext>
            </c:extLst>
          </c:dPt>
          <c:dPt>
            <c:idx val="72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C-82FC-421B-A80E-67ACC5454550}"/>
              </c:ext>
            </c:extLst>
          </c:dPt>
          <c:dPt>
            <c:idx val="73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D-82FC-421B-A80E-67ACC5454550}"/>
              </c:ext>
            </c:extLst>
          </c:dPt>
          <c:dPt>
            <c:idx val="73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E-82FC-421B-A80E-67ACC5454550}"/>
              </c:ext>
            </c:extLst>
          </c:dPt>
          <c:dPt>
            <c:idx val="73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CF-82FC-421B-A80E-67ACC5454550}"/>
              </c:ext>
            </c:extLst>
          </c:dPt>
          <c:dPt>
            <c:idx val="73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0-82FC-421B-A80E-67ACC5454550}"/>
              </c:ext>
            </c:extLst>
          </c:dPt>
          <c:dPt>
            <c:idx val="73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1-82FC-421B-A80E-67ACC5454550}"/>
              </c:ext>
            </c:extLst>
          </c:dPt>
          <c:dPt>
            <c:idx val="73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2-82FC-421B-A80E-67ACC5454550}"/>
              </c:ext>
            </c:extLst>
          </c:dPt>
          <c:dPt>
            <c:idx val="73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3-82FC-421B-A80E-67ACC5454550}"/>
              </c:ext>
            </c:extLst>
          </c:dPt>
          <c:dPt>
            <c:idx val="73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4-82FC-421B-A80E-67ACC5454550}"/>
              </c:ext>
            </c:extLst>
          </c:dPt>
          <c:dPt>
            <c:idx val="73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5-82FC-421B-A80E-67ACC5454550}"/>
              </c:ext>
            </c:extLst>
          </c:dPt>
          <c:dPt>
            <c:idx val="73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6-82FC-421B-A80E-67ACC5454550}"/>
              </c:ext>
            </c:extLst>
          </c:dPt>
          <c:dPt>
            <c:idx val="74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7-82FC-421B-A80E-67ACC5454550}"/>
              </c:ext>
            </c:extLst>
          </c:dPt>
          <c:dPt>
            <c:idx val="74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8-82FC-421B-A80E-67ACC5454550}"/>
              </c:ext>
            </c:extLst>
          </c:dPt>
          <c:dPt>
            <c:idx val="74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9-82FC-421B-A80E-67ACC5454550}"/>
              </c:ext>
            </c:extLst>
          </c:dPt>
          <c:dPt>
            <c:idx val="74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A-82FC-421B-A80E-67ACC5454550}"/>
              </c:ext>
            </c:extLst>
          </c:dPt>
          <c:dPt>
            <c:idx val="74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B-82FC-421B-A80E-67ACC5454550}"/>
              </c:ext>
            </c:extLst>
          </c:dPt>
          <c:dPt>
            <c:idx val="74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C-82FC-421B-A80E-67ACC5454550}"/>
              </c:ext>
            </c:extLst>
          </c:dPt>
          <c:dPt>
            <c:idx val="74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D-82FC-421B-A80E-67ACC5454550}"/>
              </c:ext>
            </c:extLst>
          </c:dPt>
          <c:dPt>
            <c:idx val="74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E-82FC-421B-A80E-67ACC5454550}"/>
              </c:ext>
            </c:extLst>
          </c:dPt>
          <c:dPt>
            <c:idx val="74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DF-82FC-421B-A80E-67ACC5454550}"/>
              </c:ext>
            </c:extLst>
          </c:dPt>
          <c:dPt>
            <c:idx val="74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0-82FC-421B-A80E-67ACC5454550}"/>
              </c:ext>
            </c:extLst>
          </c:dPt>
          <c:dPt>
            <c:idx val="75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1-82FC-421B-A80E-67ACC5454550}"/>
              </c:ext>
            </c:extLst>
          </c:dPt>
          <c:dPt>
            <c:idx val="75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2-82FC-421B-A80E-67ACC5454550}"/>
              </c:ext>
            </c:extLst>
          </c:dPt>
          <c:dPt>
            <c:idx val="75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3-82FC-421B-A80E-67ACC5454550}"/>
              </c:ext>
            </c:extLst>
          </c:dPt>
          <c:dPt>
            <c:idx val="75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4-82FC-421B-A80E-67ACC5454550}"/>
              </c:ext>
            </c:extLst>
          </c:dPt>
          <c:dPt>
            <c:idx val="75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5-82FC-421B-A80E-67ACC5454550}"/>
              </c:ext>
            </c:extLst>
          </c:dPt>
          <c:dPt>
            <c:idx val="75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6-82FC-421B-A80E-67ACC5454550}"/>
              </c:ext>
            </c:extLst>
          </c:dPt>
          <c:dPt>
            <c:idx val="75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7-82FC-421B-A80E-67ACC5454550}"/>
              </c:ext>
            </c:extLst>
          </c:dPt>
          <c:dPt>
            <c:idx val="75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8-82FC-421B-A80E-67ACC5454550}"/>
              </c:ext>
            </c:extLst>
          </c:dPt>
          <c:dPt>
            <c:idx val="75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9-82FC-421B-A80E-67ACC5454550}"/>
              </c:ext>
            </c:extLst>
          </c:dPt>
          <c:dPt>
            <c:idx val="75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A-82FC-421B-A80E-67ACC5454550}"/>
              </c:ext>
            </c:extLst>
          </c:dPt>
          <c:dPt>
            <c:idx val="76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B-82FC-421B-A80E-67ACC5454550}"/>
              </c:ext>
            </c:extLst>
          </c:dPt>
          <c:dPt>
            <c:idx val="76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C-82FC-421B-A80E-67ACC5454550}"/>
              </c:ext>
            </c:extLst>
          </c:dPt>
          <c:dPt>
            <c:idx val="76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D-82FC-421B-A80E-67ACC5454550}"/>
              </c:ext>
            </c:extLst>
          </c:dPt>
          <c:dPt>
            <c:idx val="76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E-82FC-421B-A80E-67ACC5454550}"/>
              </c:ext>
            </c:extLst>
          </c:dPt>
          <c:dPt>
            <c:idx val="76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EF-82FC-421B-A80E-67ACC5454550}"/>
              </c:ext>
            </c:extLst>
          </c:dPt>
          <c:dPt>
            <c:idx val="76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0-82FC-421B-A80E-67ACC5454550}"/>
              </c:ext>
            </c:extLst>
          </c:dPt>
          <c:dPt>
            <c:idx val="76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1-82FC-421B-A80E-67ACC5454550}"/>
              </c:ext>
            </c:extLst>
          </c:dPt>
          <c:dPt>
            <c:idx val="76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2-82FC-421B-A80E-67ACC5454550}"/>
              </c:ext>
            </c:extLst>
          </c:dPt>
          <c:dPt>
            <c:idx val="76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3-82FC-421B-A80E-67ACC5454550}"/>
              </c:ext>
            </c:extLst>
          </c:dPt>
          <c:dPt>
            <c:idx val="76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4-82FC-421B-A80E-67ACC5454550}"/>
              </c:ext>
            </c:extLst>
          </c:dPt>
          <c:dPt>
            <c:idx val="77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5-82FC-421B-A80E-67ACC5454550}"/>
              </c:ext>
            </c:extLst>
          </c:dPt>
          <c:dPt>
            <c:idx val="77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6-82FC-421B-A80E-67ACC5454550}"/>
              </c:ext>
            </c:extLst>
          </c:dPt>
          <c:dPt>
            <c:idx val="77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7-82FC-421B-A80E-67ACC5454550}"/>
              </c:ext>
            </c:extLst>
          </c:dPt>
          <c:dPt>
            <c:idx val="77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8-82FC-421B-A80E-67ACC5454550}"/>
              </c:ext>
            </c:extLst>
          </c:dPt>
          <c:dPt>
            <c:idx val="77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9-82FC-421B-A80E-67ACC5454550}"/>
              </c:ext>
            </c:extLst>
          </c:dPt>
          <c:dPt>
            <c:idx val="77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A-82FC-421B-A80E-67ACC5454550}"/>
              </c:ext>
            </c:extLst>
          </c:dPt>
          <c:dPt>
            <c:idx val="77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B-82FC-421B-A80E-67ACC5454550}"/>
              </c:ext>
            </c:extLst>
          </c:dPt>
          <c:dPt>
            <c:idx val="77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C-82FC-421B-A80E-67ACC5454550}"/>
              </c:ext>
            </c:extLst>
          </c:dPt>
          <c:dPt>
            <c:idx val="77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D-82FC-421B-A80E-67ACC5454550}"/>
              </c:ext>
            </c:extLst>
          </c:dPt>
          <c:dPt>
            <c:idx val="77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E-82FC-421B-A80E-67ACC5454550}"/>
              </c:ext>
            </c:extLst>
          </c:dPt>
          <c:dPt>
            <c:idx val="78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0FF-82FC-421B-A80E-67ACC5454550}"/>
              </c:ext>
            </c:extLst>
          </c:dPt>
          <c:dPt>
            <c:idx val="78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0-82FC-421B-A80E-67ACC5454550}"/>
              </c:ext>
            </c:extLst>
          </c:dPt>
          <c:dPt>
            <c:idx val="78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1-82FC-421B-A80E-67ACC5454550}"/>
              </c:ext>
            </c:extLst>
          </c:dPt>
          <c:dPt>
            <c:idx val="78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2-82FC-421B-A80E-67ACC5454550}"/>
              </c:ext>
            </c:extLst>
          </c:dPt>
          <c:dPt>
            <c:idx val="78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3-82FC-421B-A80E-67ACC5454550}"/>
              </c:ext>
            </c:extLst>
          </c:dPt>
          <c:dPt>
            <c:idx val="78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4-82FC-421B-A80E-67ACC5454550}"/>
              </c:ext>
            </c:extLst>
          </c:dPt>
          <c:dPt>
            <c:idx val="78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5-82FC-421B-A80E-67ACC5454550}"/>
              </c:ext>
            </c:extLst>
          </c:dPt>
          <c:dPt>
            <c:idx val="78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6-82FC-421B-A80E-67ACC5454550}"/>
              </c:ext>
            </c:extLst>
          </c:dPt>
          <c:dPt>
            <c:idx val="78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7-82FC-421B-A80E-67ACC5454550}"/>
              </c:ext>
            </c:extLst>
          </c:dPt>
          <c:dPt>
            <c:idx val="78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8-82FC-421B-A80E-67ACC5454550}"/>
              </c:ext>
            </c:extLst>
          </c:dPt>
          <c:dPt>
            <c:idx val="79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9-82FC-421B-A80E-67ACC5454550}"/>
              </c:ext>
            </c:extLst>
          </c:dPt>
          <c:dPt>
            <c:idx val="79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A-82FC-421B-A80E-67ACC5454550}"/>
              </c:ext>
            </c:extLst>
          </c:dPt>
          <c:dPt>
            <c:idx val="79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B-82FC-421B-A80E-67ACC5454550}"/>
              </c:ext>
            </c:extLst>
          </c:dPt>
          <c:dPt>
            <c:idx val="79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C-82FC-421B-A80E-67ACC5454550}"/>
              </c:ext>
            </c:extLst>
          </c:dPt>
          <c:dPt>
            <c:idx val="79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D-82FC-421B-A80E-67ACC5454550}"/>
              </c:ext>
            </c:extLst>
          </c:dPt>
          <c:dPt>
            <c:idx val="79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E-82FC-421B-A80E-67ACC5454550}"/>
              </c:ext>
            </c:extLst>
          </c:dPt>
          <c:dPt>
            <c:idx val="79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0F-82FC-421B-A80E-67ACC5454550}"/>
              </c:ext>
            </c:extLst>
          </c:dPt>
          <c:dPt>
            <c:idx val="79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0-82FC-421B-A80E-67ACC5454550}"/>
              </c:ext>
            </c:extLst>
          </c:dPt>
          <c:dPt>
            <c:idx val="79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1-82FC-421B-A80E-67ACC5454550}"/>
              </c:ext>
            </c:extLst>
          </c:dPt>
          <c:dPt>
            <c:idx val="79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2-82FC-421B-A80E-67ACC5454550}"/>
              </c:ext>
            </c:extLst>
          </c:dPt>
          <c:dPt>
            <c:idx val="80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3-82FC-421B-A80E-67ACC5454550}"/>
              </c:ext>
            </c:extLst>
          </c:dPt>
          <c:dPt>
            <c:idx val="80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4-82FC-421B-A80E-67ACC5454550}"/>
              </c:ext>
            </c:extLst>
          </c:dPt>
          <c:dPt>
            <c:idx val="80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5-82FC-421B-A80E-67ACC5454550}"/>
              </c:ext>
            </c:extLst>
          </c:dPt>
          <c:dPt>
            <c:idx val="80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6-82FC-421B-A80E-67ACC5454550}"/>
              </c:ext>
            </c:extLst>
          </c:dPt>
          <c:dPt>
            <c:idx val="80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7-82FC-421B-A80E-67ACC5454550}"/>
              </c:ext>
            </c:extLst>
          </c:dPt>
          <c:dPt>
            <c:idx val="80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8-82FC-421B-A80E-67ACC5454550}"/>
              </c:ext>
            </c:extLst>
          </c:dPt>
          <c:dPt>
            <c:idx val="80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9-82FC-421B-A80E-67ACC5454550}"/>
              </c:ext>
            </c:extLst>
          </c:dPt>
          <c:dPt>
            <c:idx val="80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A-82FC-421B-A80E-67ACC5454550}"/>
              </c:ext>
            </c:extLst>
          </c:dPt>
          <c:dPt>
            <c:idx val="80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B-82FC-421B-A80E-67ACC5454550}"/>
              </c:ext>
            </c:extLst>
          </c:dPt>
          <c:dPt>
            <c:idx val="80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C-82FC-421B-A80E-67ACC5454550}"/>
              </c:ext>
            </c:extLst>
          </c:dPt>
          <c:dPt>
            <c:idx val="81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D-82FC-421B-A80E-67ACC5454550}"/>
              </c:ext>
            </c:extLst>
          </c:dPt>
          <c:dPt>
            <c:idx val="81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E-82FC-421B-A80E-67ACC5454550}"/>
              </c:ext>
            </c:extLst>
          </c:dPt>
          <c:dPt>
            <c:idx val="81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1F-82FC-421B-A80E-67ACC5454550}"/>
              </c:ext>
            </c:extLst>
          </c:dPt>
          <c:dPt>
            <c:idx val="81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0-82FC-421B-A80E-67ACC5454550}"/>
              </c:ext>
            </c:extLst>
          </c:dPt>
          <c:dPt>
            <c:idx val="81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1-82FC-421B-A80E-67ACC5454550}"/>
              </c:ext>
            </c:extLst>
          </c:dPt>
          <c:dPt>
            <c:idx val="81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2-82FC-421B-A80E-67ACC5454550}"/>
              </c:ext>
            </c:extLst>
          </c:dPt>
          <c:dPt>
            <c:idx val="81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3-82FC-421B-A80E-67ACC5454550}"/>
              </c:ext>
            </c:extLst>
          </c:dPt>
          <c:dPt>
            <c:idx val="81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4-82FC-421B-A80E-67ACC5454550}"/>
              </c:ext>
            </c:extLst>
          </c:dPt>
          <c:dPt>
            <c:idx val="81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5-82FC-421B-A80E-67ACC5454550}"/>
              </c:ext>
            </c:extLst>
          </c:dPt>
          <c:dPt>
            <c:idx val="81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6-82FC-421B-A80E-67ACC5454550}"/>
              </c:ext>
            </c:extLst>
          </c:dPt>
          <c:dPt>
            <c:idx val="82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7-82FC-421B-A80E-67ACC5454550}"/>
              </c:ext>
            </c:extLst>
          </c:dPt>
          <c:dPt>
            <c:idx val="82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8-82FC-421B-A80E-67ACC5454550}"/>
              </c:ext>
            </c:extLst>
          </c:dPt>
          <c:dPt>
            <c:idx val="82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9-82FC-421B-A80E-67ACC5454550}"/>
              </c:ext>
            </c:extLst>
          </c:dPt>
          <c:dPt>
            <c:idx val="82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A-82FC-421B-A80E-67ACC5454550}"/>
              </c:ext>
            </c:extLst>
          </c:dPt>
          <c:dPt>
            <c:idx val="82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B-82FC-421B-A80E-67ACC5454550}"/>
              </c:ext>
            </c:extLst>
          </c:dPt>
          <c:dPt>
            <c:idx val="82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C-82FC-421B-A80E-67ACC5454550}"/>
              </c:ext>
            </c:extLst>
          </c:dPt>
          <c:dPt>
            <c:idx val="82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D-82FC-421B-A80E-67ACC5454550}"/>
              </c:ext>
            </c:extLst>
          </c:dPt>
          <c:dPt>
            <c:idx val="82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E-82FC-421B-A80E-67ACC5454550}"/>
              </c:ext>
            </c:extLst>
          </c:dPt>
          <c:dPt>
            <c:idx val="82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2F-82FC-421B-A80E-67ACC5454550}"/>
              </c:ext>
            </c:extLst>
          </c:dPt>
          <c:dPt>
            <c:idx val="82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0-82FC-421B-A80E-67ACC5454550}"/>
              </c:ext>
            </c:extLst>
          </c:dPt>
          <c:dPt>
            <c:idx val="83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1-82FC-421B-A80E-67ACC5454550}"/>
              </c:ext>
            </c:extLst>
          </c:dPt>
          <c:dPt>
            <c:idx val="83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2-82FC-421B-A80E-67ACC5454550}"/>
              </c:ext>
            </c:extLst>
          </c:dPt>
          <c:dPt>
            <c:idx val="83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3-82FC-421B-A80E-67ACC5454550}"/>
              </c:ext>
            </c:extLst>
          </c:dPt>
          <c:dPt>
            <c:idx val="83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4-82FC-421B-A80E-67ACC5454550}"/>
              </c:ext>
            </c:extLst>
          </c:dPt>
          <c:dPt>
            <c:idx val="83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5-82FC-421B-A80E-67ACC5454550}"/>
              </c:ext>
            </c:extLst>
          </c:dPt>
          <c:dPt>
            <c:idx val="83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6-82FC-421B-A80E-67ACC5454550}"/>
              </c:ext>
            </c:extLst>
          </c:dPt>
          <c:dPt>
            <c:idx val="83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7-82FC-421B-A80E-67ACC5454550}"/>
              </c:ext>
            </c:extLst>
          </c:dPt>
          <c:dPt>
            <c:idx val="83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8-82FC-421B-A80E-67ACC5454550}"/>
              </c:ext>
            </c:extLst>
          </c:dPt>
          <c:dPt>
            <c:idx val="83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9-82FC-421B-A80E-67ACC5454550}"/>
              </c:ext>
            </c:extLst>
          </c:dPt>
          <c:dPt>
            <c:idx val="83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A-82FC-421B-A80E-67ACC5454550}"/>
              </c:ext>
            </c:extLst>
          </c:dPt>
          <c:dPt>
            <c:idx val="84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B-82FC-421B-A80E-67ACC5454550}"/>
              </c:ext>
            </c:extLst>
          </c:dPt>
          <c:dPt>
            <c:idx val="84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C-82FC-421B-A80E-67ACC5454550}"/>
              </c:ext>
            </c:extLst>
          </c:dPt>
          <c:dPt>
            <c:idx val="84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D-82FC-421B-A80E-67ACC5454550}"/>
              </c:ext>
            </c:extLst>
          </c:dPt>
          <c:dPt>
            <c:idx val="84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E-82FC-421B-A80E-67ACC5454550}"/>
              </c:ext>
            </c:extLst>
          </c:dPt>
          <c:dPt>
            <c:idx val="84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3F-82FC-421B-A80E-67ACC5454550}"/>
              </c:ext>
            </c:extLst>
          </c:dPt>
          <c:dPt>
            <c:idx val="84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0-82FC-421B-A80E-67ACC5454550}"/>
              </c:ext>
            </c:extLst>
          </c:dPt>
          <c:dPt>
            <c:idx val="84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1-82FC-421B-A80E-67ACC5454550}"/>
              </c:ext>
            </c:extLst>
          </c:dPt>
          <c:dPt>
            <c:idx val="84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2-82FC-421B-A80E-67ACC5454550}"/>
              </c:ext>
            </c:extLst>
          </c:dPt>
          <c:dPt>
            <c:idx val="84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3-82FC-421B-A80E-67ACC5454550}"/>
              </c:ext>
            </c:extLst>
          </c:dPt>
          <c:dPt>
            <c:idx val="84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4-82FC-421B-A80E-67ACC5454550}"/>
              </c:ext>
            </c:extLst>
          </c:dPt>
          <c:dPt>
            <c:idx val="85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5-82FC-421B-A80E-67ACC5454550}"/>
              </c:ext>
            </c:extLst>
          </c:dPt>
          <c:dPt>
            <c:idx val="85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6-82FC-421B-A80E-67ACC5454550}"/>
              </c:ext>
            </c:extLst>
          </c:dPt>
          <c:dPt>
            <c:idx val="85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7-82FC-421B-A80E-67ACC5454550}"/>
              </c:ext>
            </c:extLst>
          </c:dPt>
          <c:dPt>
            <c:idx val="85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8-82FC-421B-A80E-67ACC5454550}"/>
              </c:ext>
            </c:extLst>
          </c:dPt>
          <c:dPt>
            <c:idx val="85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9-82FC-421B-A80E-67ACC5454550}"/>
              </c:ext>
            </c:extLst>
          </c:dPt>
          <c:dPt>
            <c:idx val="85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A-82FC-421B-A80E-67ACC5454550}"/>
              </c:ext>
            </c:extLst>
          </c:dPt>
          <c:dPt>
            <c:idx val="85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B-82FC-421B-A80E-67ACC5454550}"/>
              </c:ext>
            </c:extLst>
          </c:dPt>
          <c:dPt>
            <c:idx val="85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C-82FC-421B-A80E-67ACC5454550}"/>
              </c:ext>
            </c:extLst>
          </c:dPt>
          <c:dPt>
            <c:idx val="85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D-82FC-421B-A80E-67ACC5454550}"/>
              </c:ext>
            </c:extLst>
          </c:dPt>
          <c:dPt>
            <c:idx val="85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E-82FC-421B-A80E-67ACC5454550}"/>
              </c:ext>
            </c:extLst>
          </c:dPt>
          <c:dPt>
            <c:idx val="86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4F-82FC-421B-A80E-67ACC5454550}"/>
              </c:ext>
            </c:extLst>
          </c:dPt>
          <c:dPt>
            <c:idx val="86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0-82FC-421B-A80E-67ACC5454550}"/>
              </c:ext>
            </c:extLst>
          </c:dPt>
          <c:dPt>
            <c:idx val="86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1-82FC-421B-A80E-67ACC5454550}"/>
              </c:ext>
            </c:extLst>
          </c:dPt>
          <c:dPt>
            <c:idx val="86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2-82FC-421B-A80E-67ACC5454550}"/>
              </c:ext>
            </c:extLst>
          </c:dPt>
          <c:dPt>
            <c:idx val="86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3-82FC-421B-A80E-67ACC5454550}"/>
              </c:ext>
            </c:extLst>
          </c:dPt>
          <c:dPt>
            <c:idx val="86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4-82FC-421B-A80E-67ACC5454550}"/>
              </c:ext>
            </c:extLst>
          </c:dPt>
          <c:dPt>
            <c:idx val="86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5-82FC-421B-A80E-67ACC5454550}"/>
              </c:ext>
            </c:extLst>
          </c:dPt>
          <c:dPt>
            <c:idx val="86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6-82FC-421B-A80E-67ACC5454550}"/>
              </c:ext>
            </c:extLst>
          </c:dPt>
          <c:dPt>
            <c:idx val="86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7-82FC-421B-A80E-67ACC5454550}"/>
              </c:ext>
            </c:extLst>
          </c:dPt>
          <c:dPt>
            <c:idx val="86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8-82FC-421B-A80E-67ACC5454550}"/>
              </c:ext>
            </c:extLst>
          </c:dPt>
          <c:dPt>
            <c:idx val="87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9-82FC-421B-A80E-67ACC5454550}"/>
              </c:ext>
            </c:extLst>
          </c:dPt>
          <c:dPt>
            <c:idx val="87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A-82FC-421B-A80E-67ACC5454550}"/>
              </c:ext>
            </c:extLst>
          </c:dPt>
          <c:dPt>
            <c:idx val="87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B-82FC-421B-A80E-67ACC5454550}"/>
              </c:ext>
            </c:extLst>
          </c:dPt>
          <c:dPt>
            <c:idx val="87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C-82FC-421B-A80E-67ACC5454550}"/>
              </c:ext>
            </c:extLst>
          </c:dPt>
          <c:dPt>
            <c:idx val="87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D-82FC-421B-A80E-67ACC5454550}"/>
              </c:ext>
            </c:extLst>
          </c:dPt>
          <c:dPt>
            <c:idx val="87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E-82FC-421B-A80E-67ACC5454550}"/>
              </c:ext>
            </c:extLst>
          </c:dPt>
          <c:dPt>
            <c:idx val="87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5F-82FC-421B-A80E-67ACC5454550}"/>
              </c:ext>
            </c:extLst>
          </c:dPt>
          <c:dPt>
            <c:idx val="87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0-82FC-421B-A80E-67ACC5454550}"/>
              </c:ext>
            </c:extLst>
          </c:dPt>
          <c:dPt>
            <c:idx val="87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1-82FC-421B-A80E-67ACC5454550}"/>
              </c:ext>
            </c:extLst>
          </c:dPt>
          <c:dPt>
            <c:idx val="87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2-82FC-421B-A80E-67ACC5454550}"/>
              </c:ext>
            </c:extLst>
          </c:dPt>
          <c:dPt>
            <c:idx val="88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3-82FC-421B-A80E-67ACC5454550}"/>
              </c:ext>
            </c:extLst>
          </c:dPt>
          <c:dPt>
            <c:idx val="88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4-82FC-421B-A80E-67ACC5454550}"/>
              </c:ext>
            </c:extLst>
          </c:dPt>
          <c:dPt>
            <c:idx val="88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5-82FC-421B-A80E-67ACC5454550}"/>
              </c:ext>
            </c:extLst>
          </c:dPt>
          <c:dPt>
            <c:idx val="883"/>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6-82FC-421B-A80E-67ACC5454550}"/>
              </c:ext>
            </c:extLst>
          </c:dPt>
          <c:dPt>
            <c:idx val="884"/>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7-82FC-421B-A80E-67ACC5454550}"/>
              </c:ext>
            </c:extLst>
          </c:dPt>
          <c:dPt>
            <c:idx val="885"/>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8-82FC-421B-A80E-67ACC5454550}"/>
              </c:ext>
            </c:extLst>
          </c:dPt>
          <c:dPt>
            <c:idx val="886"/>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9-82FC-421B-A80E-67ACC5454550}"/>
              </c:ext>
            </c:extLst>
          </c:dPt>
          <c:dPt>
            <c:idx val="887"/>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A-82FC-421B-A80E-67ACC5454550}"/>
              </c:ext>
            </c:extLst>
          </c:dPt>
          <c:dPt>
            <c:idx val="888"/>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B-82FC-421B-A80E-67ACC5454550}"/>
              </c:ext>
            </c:extLst>
          </c:dPt>
          <c:dPt>
            <c:idx val="889"/>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C-82FC-421B-A80E-67ACC5454550}"/>
              </c:ext>
            </c:extLst>
          </c:dPt>
          <c:dPt>
            <c:idx val="890"/>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D-82FC-421B-A80E-67ACC5454550}"/>
              </c:ext>
            </c:extLst>
          </c:dPt>
          <c:dPt>
            <c:idx val="891"/>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E-82FC-421B-A80E-67ACC5454550}"/>
              </c:ext>
            </c:extLst>
          </c:dPt>
          <c:dPt>
            <c:idx val="892"/>
            <c:bubble3D val="0"/>
            <c:spPr>
              <a:ln w="38100" cap="rnd" cmpd="sng" algn="ctr">
                <a:solidFill>
                  <a:srgbClr val="ECEBE4"/>
                </a:solidFill>
                <a:prstDash val="solid"/>
                <a:round/>
                <a:headEnd type="none" w="med" len="med"/>
                <a:tailEnd type="none" w="med" len="med"/>
              </a:ln>
              <a:effectLst/>
            </c:spPr>
            <c:extLst>
              <c:ext xmlns:c16="http://schemas.microsoft.com/office/drawing/2014/chart" uri="{C3380CC4-5D6E-409C-BE32-E72D297353CC}">
                <c16:uniqueId val="{0000116F-82FC-421B-A80E-67ACC5454550}"/>
              </c:ext>
            </c:extLst>
          </c:dPt>
          <c:cat>
            <c:numRef>
              <c:f>EMU!$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EMU!$EC$9:$EC$901</c:f>
              <c:numCache>
                <c:formatCode>0.00</c:formatCode>
                <c:ptCount val="893"/>
                <c:pt idx="0">
                  <c:v>10.467289302601863</c:v>
                </c:pt>
                <c:pt idx="1">
                  <c:v>10.467289302601863</c:v>
                </c:pt>
                <c:pt idx="2">
                  <c:v>10.467289302601863</c:v>
                </c:pt>
                <c:pt idx="3">
                  <c:v>10.467289302601863</c:v>
                </c:pt>
                <c:pt idx="4">
                  <c:v>10.467289302601863</c:v>
                </c:pt>
                <c:pt idx="5">
                  <c:v>10.467289302601863</c:v>
                </c:pt>
                <c:pt idx="6">
                  <c:v>10.467289302601863</c:v>
                </c:pt>
                <c:pt idx="7">
                  <c:v>10.467289302601863</c:v>
                </c:pt>
                <c:pt idx="8">
                  <c:v>10.467289302601863</c:v>
                </c:pt>
                <c:pt idx="9">
                  <c:v>10.467289302601863</c:v>
                </c:pt>
                <c:pt idx="10">
                  <c:v>10.467289302601863</c:v>
                </c:pt>
                <c:pt idx="11">
                  <c:v>10.467289302601863</c:v>
                </c:pt>
                <c:pt idx="12">
                  <c:v>10.467289302601863</c:v>
                </c:pt>
                <c:pt idx="13">
                  <c:v>10.467289302601863</c:v>
                </c:pt>
                <c:pt idx="14">
                  <c:v>10.467289302601863</c:v>
                </c:pt>
                <c:pt idx="15">
                  <c:v>10.467289302601863</c:v>
                </c:pt>
                <c:pt idx="16">
                  <c:v>10.467289302601863</c:v>
                </c:pt>
                <c:pt idx="17">
                  <c:v>10.467289302601863</c:v>
                </c:pt>
                <c:pt idx="18">
                  <c:v>10.467289302601863</c:v>
                </c:pt>
                <c:pt idx="19">
                  <c:v>10.467289302601863</c:v>
                </c:pt>
                <c:pt idx="20">
                  <c:v>10.467289302601863</c:v>
                </c:pt>
                <c:pt idx="21">
                  <c:v>10.467289302601863</c:v>
                </c:pt>
                <c:pt idx="22">
                  <c:v>10.467289302601863</c:v>
                </c:pt>
                <c:pt idx="23">
                  <c:v>10.467289302601863</c:v>
                </c:pt>
                <c:pt idx="24">
                  <c:v>10.467289302601863</c:v>
                </c:pt>
                <c:pt idx="25">
                  <c:v>10.467289302601863</c:v>
                </c:pt>
                <c:pt idx="26">
                  <c:v>10.467289302601863</c:v>
                </c:pt>
                <c:pt idx="27">
                  <c:v>10.467289302601863</c:v>
                </c:pt>
                <c:pt idx="28">
                  <c:v>10.467289302601863</c:v>
                </c:pt>
                <c:pt idx="29">
                  <c:v>10.467289302601863</c:v>
                </c:pt>
                <c:pt idx="30">
                  <c:v>10.467289302601863</c:v>
                </c:pt>
                <c:pt idx="31">
                  <c:v>10.467289302601863</c:v>
                </c:pt>
                <c:pt idx="32">
                  <c:v>10.467289302601863</c:v>
                </c:pt>
                <c:pt idx="33">
                  <c:v>10.467289302601863</c:v>
                </c:pt>
                <c:pt idx="34">
                  <c:v>10.467289302601863</c:v>
                </c:pt>
                <c:pt idx="35">
                  <c:v>10.467289302601863</c:v>
                </c:pt>
                <c:pt idx="36">
                  <c:v>10.467289302601863</c:v>
                </c:pt>
                <c:pt idx="37">
                  <c:v>10.467289302601863</c:v>
                </c:pt>
                <c:pt idx="38">
                  <c:v>10.467289302601863</c:v>
                </c:pt>
                <c:pt idx="39">
                  <c:v>10.467289302601863</c:v>
                </c:pt>
                <c:pt idx="40">
                  <c:v>10.467289302601863</c:v>
                </c:pt>
                <c:pt idx="41">
                  <c:v>10.467289302601863</c:v>
                </c:pt>
                <c:pt idx="42">
                  <c:v>10.467289302601863</c:v>
                </c:pt>
                <c:pt idx="43">
                  <c:v>10.467289302601863</c:v>
                </c:pt>
                <c:pt idx="44">
                  <c:v>10.467289302601863</c:v>
                </c:pt>
                <c:pt idx="45">
                  <c:v>10.467289302601863</c:v>
                </c:pt>
                <c:pt idx="46">
                  <c:v>10.467289302601863</c:v>
                </c:pt>
                <c:pt idx="47">
                  <c:v>10.467289302601863</c:v>
                </c:pt>
                <c:pt idx="48">
                  <c:v>10.467289302601863</c:v>
                </c:pt>
                <c:pt idx="49">
                  <c:v>10.467289302601863</c:v>
                </c:pt>
                <c:pt idx="50">
                  <c:v>10.467289302601863</c:v>
                </c:pt>
                <c:pt idx="51">
                  <c:v>10.467289302601863</c:v>
                </c:pt>
                <c:pt idx="52">
                  <c:v>10.467289302601863</c:v>
                </c:pt>
                <c:pt idx="53">
                  <c:v>10.467289302601863</c:v>
                </c:pt>
                <c:pt idx="54">
                  <c:v>10.467289302601863</c:v>
                </c:pt>
                <c:pt idx="55">
                  <c:v>10.467289302601863</c:v>
                </c:pt>
                <c:pt idx="56">
                  <c:v>10.467289302601863</c:v>
                </c:pt>
                <c:pt idx="57">
                  <c:v>10.467289302601863</c:v>
                </c:pt>
                <c:pt idx="58">
                  <c:v>10.467289302601863</c:v>
                </c:pt>
                <c:pt idx="59">
                  <c:v>10.467289302601863</c:v>
                </c:pt>
                <c:pt idx="60">
                  <c:v>10.467289302601863</c:v>
                </c:pt>
                <c:pt idx="61">
                  <c:v>10.467289302601863</c:v>
                </c:pt>
                <c:pt idx="62">
                  <c:v>10.467289302601863</c:v>
                </c:pt>
                <c:pt idx="63">
                  <c:v>10.467289302601863</c:v>
                </c:pt>
                <c:pt idx="64">
                  <c:v>10.467289302601863</c:v>
                </c:pt>
                <c:pt idx="65">
                  <c:v>10.467289302601863</c:v>
                </c:pt>
                <c:pt idx="66">
                  <c:v>10.467289302601863</c:v>
                </c:pt>
                <c:pt idx="67">
                  <c:v>10.467289302601863</c:v>
                </c:pt>
                <c:pt idx="68">
                  <c:v>10.467289302601863</c:v>
                </c:pt>
                <c:pt idx="69">
                  <c:v>10.467289302601863</c:v>
                </c:pt>
                <c:pt idx="70">
                  <c:v>10.467289302601863</c:v>
                </c:pt>
                <c:pt idx="71">
                  <c:v>10.467289302601863</c:v>
                </c:pt>
                <c:pt idx="72">
                  <c:v>10.467289302601863</c:v>
                </c:pt>
                <c:pt idx="73">
                  <c:v>10.467289302601863</c:v>
                </c:pt>
                <c:pt idx="74">
                  <c:v>10.467289302601863</c:v>
                </c:pt>
                <c:pt idx="75">
                  <c:v>10.467289302601863</c:v>
                </c:pt>
                <c:pt idx="76">
                  <c:v>10.467289302601863</c:v>
                </c:pt>
                <c:pt idx="77">
                  <c:v>10.467289302601863</c:v>
                </c:pt>
                <c:pt idx="78">
                  <c:v>10.467289302601863</c:v>
                </c:pt>
                <c:pt idx="79">
                  <c:v>10.467289302601863</c:v>
                </c:pt>
                <c:pt idx="80">
                  <c:v>10.467289302601863</c:v>
                </c:pt>
                <c:pt idx="81">
                  <c:v>10.467289302601863</c:v>
                </c:pt>
                <c:pt idx="82">
                  <c:v>10.467289302601863</c:v>
                </c:pt>
                <c:pt idx="83">
                  <c:v>10.467289302601863</c:v>
                </c:pt>
                <c:pt idx="84">
                  <c:v>10.467289302601863</c:v>
                </c:pt>
                <c:pt idx="85">
                  <c:v>10.467289302601863</c:v>
                </c:pt>
                <c:pt idx="86">
                  <c:v>10.467289302601863</c:v>
                </c:pt>
                <c:pt idx="87">
                  <c:v>10.467289302601863</c:v>
                </c:pt>
                <c:pt idx="88">
                  <c:v>10.467289302601863</c:v>
                </c:pt>
                <c:pt idx="89">
                  <c:v>10.467289302601863</c:v>
                </c:pt>
                <c:pt idx="90">
                  <c:v>10.467289302601863</c:v>
                </c:pt>
                <c:pt idx="91">
                  <c:v>10.467289302601863</c:v>
                </c:pt>
                <c:pt idx="92">
                  <c:v>10.467289302601863</c:v>
                </c:pt>
                <c:pt idx="93">
                  <c:v>10.467289302601863</c:v>
                </c:pt>
                <c:pt idx="94">
                  <c:v>10.467289302601863</c:v>
                </c:pt>
                <c:pt idx="95">
                  <c:v>10.467289302601863</c:v>
                </c:pt>
                <c:pt idx="96">
                  <c:v>10.467289302601863</c:v>
                </c:pt>
                <c:pt idx="97">
                  <c:v>10.467289302601863</c:v>
                </c:pt>
                <c:pt idx="98">
                  <c:v>10.467289302601863</c:v>
                </c:pt>
                <c:pt idx="99">
                  <c:v>10.467289302601863</c:v>
                </c:pt>
                <c:pt idx="100">
                  <c:v>10.467289302601863</c:v>
                </c:pt>
                <c:pt idx="101">
                  <c:v>10.467289302601863</c:v>
                </c:pt>
                <c:pt idx="102">
                  <c:v>10.467289302601863</c:v>
                </c:pt>
                <c:pt idx="103">
                  <c:v>10.467289302601863</c:v>
                </c:pt>
                <c:pt idx="104">
                  <c:v>10.467289302601863</c:v>
                </c:pt>
                <c:pt idx="105">
                  <c:v>10.467289302601863</c:v>
                </c:pt>
                <c:pt idx="106">
                  <c:v>10.467289302601863</c:v>
                </c:pt>
                <c:pt idx="107">
                  <c:v>10.467289302601863</c:v>
                </c:pt>
                <c:pt idx="108">
                  <c:v>10.467289302601863</c:v>
                </c:pt>
                <c:pt idx="109">
                  <c:v>10.467289302601863</c:v>
                </c:pt>
                <c:pt idx="110">
                  <c:v>10.467289302601863</c:v>
                </c:pt>
                <c:pt idx="111">
                  <c:v>10.467289302601863</c:v>
                </c:pt>
                <c:pt idx="112">
                  <c:v>10.467289302601863</c:v>
                </c:pt>
                <c:pt idx="113">
                  <c:v>10.467289302601863</c:v>
                </c:pt>
                <c:pt idx="114">
                  <c:v>10.467289302601863</c:v>
                </c:pt>
                <c:pt idx="115">
                  <c:v>10.467289302601863</c:v>
                </c:pt>
                <c:pt idx="116">
                  <c:v>10.467289302601863</c:v>
                </c:pt>
                <c:pt idx="117">
                  <c:v>10.467289302601863</c:v>
                </c:pt>
                <c:pt idx="118">
                  <c:v>10.467289302601863</c:v>
                </c:pt>
                <c:pt idx="119">
                  <c:v>10.467289302601863</c:v>
                </c:pt>
                <c:pt idx="120">
                  <c:v>10.467289302601863</c:v>
                </c:pt>
                <c:pt idx="121">
                  <c:v>10.467289302601863</c:v>
                </c:pt>
                <c:pt idx="122">
                  <c:v>10.467289302601863</c:v>
                </c:pt>
                <c:pt idx="123">
                  <c:v>10.467289302601863</c:v>
                </c:pt>
                <c:pt idx="124">
                  <c:v>10.467289302601863</c:v>
                </c:pt>
                <c:pt idx="125">
                  <c:v>10.467289302601863</c:v>
                </c:pt>
                <c:pt idx="126">
                  <c:v>10.467289302601863</c:v>
                </c:pt>
                <c:pt idx="127">
                  <c:v>10.467289302601863</c:v>
                </c:pt>
                <c:pt idx="128">
                  <c:v>10.467289302601863</c:v>
                </c:pt>
                <c:pt idx="129">
                  <c:v>10.467289302601863</c:v>
                </c:pt>
                <c:pt idx="130">
                  <c:v>10.467289302601863</c:v>
                </c:pt>
                <c:pt idx="131">
                  <c:v>10.467289302601863</c:v>
                </c:pt>
                <c:pt idx="132">
                  <c:v>10.467289302601863</c:v>
                </c:pt>
                <c:pt idx="133">
                  <c:v>10.467289302601863</c:v>
                </c:pt>
                <c:pt idx="134">
                  <c:v>10.467289302601863</c:v>
                </c:pt>
                <c:pt idx="135">
                  <c:v>10.467289302601863</c:v>
                </c:pt>
                <c:pt idx="136">
                  <c:v>10.467289302601863</c:v>
                </c:pt>
                <c:pt idx="137">
                  <c:v>10.467289302601863</c:v>
                </c:pt>
                <c:pt idx="138">
                  <c:v>10.467289302601863</c:v>
                </c:pt>
                <c:pt idx="139">
                  <c:v>10.467289302601863</c:v>
                </c:pt>
                <c:pt idx="140">
                  <c:v>10.467289302601863</c:v>
                </c:pt>
                <c:pt idx="141">
                  <c:v>10.467289302601863</c:v>
                </c:pt>
                <c:pt idx="142">
                  <c:v>10.467289302601863</c:v>
                </c:pt>
                <c:pt idx="143">
                  <c:v>10.467289302601863</c:v>
                </c:pt>
                <c:pt idx="144">
                  <c:v>10.467289302601863</c:v>
                </c:pt>
                <c:pt idx="145">
                  <c:v>10.467289302601863</c:v>
                </c:pt>
                <c:pt idx="146">
                  <c:v>10.467289302601863</c:v>
                </c:pt>
                <c:pt idx="147">
                  <c:v>10.467289302601863</c:v>
                </c:pt>
                <c:pt idx="148">
                  <c:v>10.467289302601863</c:v>
                </c:pt>
                <c:pt idx="149">
                  <c:v>10.467289302601863</c:v>
                </c:pt>
                <c:pt idx="150">
                  <c:v>10.467289302601863</c:v>
                </c:pt>
                <c:pt idx="151">
                  <c:v>10.467289302601863</c:v>
                </c:pt>
                <c:pt idx="152">
                  <c:v>10.467289302601863</c:v>
                </c:pt>
                <c:pt idx="153">
                  <c:v>10.467289302601863</c:v>
                </c:pt>
                <c:pt idx="154">
                  <c:v>10.467289302601863</c:v>
                </c:pt>
                <c:pt idx="155">
                  <c:v>10.467289302601863</c:v>
                </c:pt>
                <c:pt idx="156">
                  <c:v>10.467289302601863</c:v>
                </c:pt>
                <c:pt idx="157">
                  <c:v>10.467289302601863</c:v>
                </c:pt>
                <c:pt idx="158">
                  <c:v>10.467289302601863</c:v>
                </c:pt>
                <c:pt idx="159">
                  <c:v>10.467289302601863</c:v>
                </c:pt>
                <c:pt idx="160">
                  <c:v>10.467289302601863</c:v>
                </c:pt>
                <c:pt idx="161">
                  <c:v>10.467289302601863</c:v>
                </c:pt>
                <c:pt idx="162">
                  <c:v>10.467289302601863</c:v>
                </c:pt>
                <c:pt idx="163">
                  <c:v>10.467289302601863</c:v>
                </c:pt>
                <c:pt idx="164">
                  <c:v>10.467289302601863</c:v>
                </c:pt>
                <c:pt idx="165">
                  <c:v>10.467289302601863</c:v>
                </c:pt>
                <c:pt idx="166">
                  <c:v>10.467289302601863</c:v>
                </c:pt>
                <c:pt idx="167">
                  <c:v>10.467289302601863</c:v>
                </c:pt>
                <c:pt idx="168">
                  <c:v>10.467289302601863</c:v>
                </c:pt>
                <c:pt idx="169">
                  <c:v>10.467289302601863</c:v>
                </c:pt>
                <c:pt idx="170">
                  <c:v>10.467289302601863</c:v>
                </c:pt>
                <c:pt idx="171">
                  <c:v>10.467289302601863</c:v>
                </c:pt>
                <c:pt idx="172">
                  <c:v>10.467289302601863</c:v>
                </c:pt>
                <c:pt idx="173">
                  <c:v>10.467289302601863</c:v>
                </c:pt>
                <c:pt idx="174">
                  <c:v>10.467289302601863</c:v>
                </c:pt>
                <c:pt idx="175">
                  <c:v>10.467289302601863</c:v>
                </c:pt>
                <c:pt idx="176">
                  <c:v>10.467289302601863</c:v>
                </c:pt>
                <c:pt idx="177">
                  <c:v>10.467289302601863</c:v>
                </c:pt>
                <c:pt idx="178">
                  <c:v>10.467289302601863</c:v>
                </c:pt>
                <c:pt idx="179">
                  <c:v>10.467289302601863</c:v>
                </c:pt>
                <c:pt idx="180">
                  <c:v>10.467289302601863</c:v>
                </c:pt>
                <c:pt idx="181">
                  <c:v>10.467289302601863</c:v>
                </c:pt>
                <c:pt idx="182">
                  <c:v>10.467289302601863</c:v>
                </c:pt>
                <c:pt idx="183">
                  <c:v>10.467289302601863</c:v>
                </c:pt>
                <c:pt idx="184">
                  <c:v>10.467289302601863</c:v>
                </c:pt>
                <c:pt idx="185">
                  <c:v>10.467289302601863</c:v>
                </c:pt>
                <c:pt idx="186">
                  <c:v>10.467289302601863</c:v>
                </c:pt>
                <c:pt idx="187">
                  <c:v>10.467289302601863</c:v>
                </c:pt>
                <c:pt idx="188">
                  <c:v>10.467289302601863</c:v>
                </c:pt>
                <c:pt idx="189">
                  <c:v>10.467289302601863</c:v>
                </c:pt>
                <c:pt idx="190">
                  <c:v>10.467289302601863</c:v>
                </c:pt>
                <c:pt idx="191">
                  <c:v>10.467289302601863</c:v>
                </c:pt>
                <c:pt idx="192">
                  <c:v>10.467289302601863</c:v>
                </c:pt>
                <c:pt idx="193">
                  <c:v>10.467289302601863</c:v>
                </c:pt>
                <c:pt idx="194">
                  <c:v>10.467289302601863</c:v>
                </c:pt>
                <c:pt idx="195">
                  <c:v>10.467289302601863</c:v>
                </c:pt>
                <c:pt idx="196">
                  <c:v>10.467289302601863</c:v>
                </c:pt>
                <c:pt idx="197">
                  <c:v>10.467289302601863</c:v>
                </c:pt>
                <c:pt idx="198">
                  <c:v>10.467289302601863</c:v>
                </c:pt>
                <c:pt idx="199">
                  <c:v>10.467289302601863</c:v>
                </c:pt>
                <c:pt idx="200">
                  <c:v>10.467289302601863</c:v>
                </c:pt>
                <c:pt idx="201">
                  <c:v>10.467289302601863</c:v>
                </c:pt>
                <c:pt idx="202">
                  <c:v>10.467289302601863</c:v>
                </c:pt>
                <c:pt idx="203">
                  <c:v>10.467289302601863</c:v>
                </c:pt>
                <c:pt idx="204">
                  <c:v>10.467289302601863</c:v>
                </c:pt>
                <c:pt idx="205">
                  <c:v>10.467289302601863</c:v>
                </c:pt>
                <c:pt idx="206">
                  <c:v>10.467289302601863</c:v>
                </c:pt>
                <c:pt idx="207">
                  <c:v>10.467289302601863</c:v>
                </c:pt>
                <c:pt idx="208">
                  <c:v>10.467289302601863</c:v>
                </c:pt>
                <c:pt idx="209">
                  <c:v>10.467289302601863</c:v>
                </c:pt>
                <c:pt idx="210">
                  <c:v>10.467289302601863</c:v>
                </c:pt>
                <c:pt idx="211">
                  <c:v>10.467289302601863</c:v>
                </c:pt>
                <c:pt idx="212">
                  <c:v>10.467289302601863</c:v>
                </c:pt>
                <c:pt idx="213">
                  <c:v>10.467289302601863</c:v>
                </c:pt>
                <c:pt idx="214">
                  <c:v>10.467289302601863</c:v>
                </c:pt>
                <c:pt idx="215">
                  <c:v>10.467289302601863</c:v>
                </c:pt>
                <c:pt idx="216">
                  <c:v>10.467289302601863</c:v>
                </c:pt>
                <c:pt idx="217">
                  <c:v>10.467289302601863</c:v>
                </c:pt>
                <c:pt idx="218">
                  <c:v>10.467289302601863</c:v>
                </c:pt>
                <c:pt idx="219">
                  <c:v>10.467289302601863</c:v>
                </c:pt>
                <c:pt idx="220">
                  <c:v>10.467289302601863</c:v>
                </c:pt>
                <c:pt idx="221">
                  <c:v>10.467289302601863</c:v>
                </c:pt>
                <c:pt idx="222">
                  <c:v>10.467289302601863</c:v>
                </c:pt>
                <c:pt idx="223">
                  <c:v>10.467289302601863</c:v>
                </c:pt>
                <c:pt idx="224">
                  <c:v>10.467289302601863</c:v>
                </c:pt>
                <c:pt idx="225">
                  <c:v>10.467289302601863</c:v>
                </c:pt>
                <c:pt idx="226">
                  <c:v>10.467289302601863</c:v>
                </c:pt>
                <c:pt idx="227">
                  <c:v>10.467289302601863</c:v>
                </c:pt>
                <c:pt idx="228">
                  <c:v>10.467289302601863</c:v>
                </c:pt>
                <c:pt idx="229">
                  <c:v>10.467289302601863</c:v>
                </c:pt>
                <c:pt idx="230">
                  <c:v>10.467289302601863</c:v>
                </c:pt>
                <c:pt idx="231">
                  <c:v>10.467289302601863</c:v>
                </c:pt>
                <c:pt idx="232">
                  <c:v>10.467289302601863</c:v>
                </c:pt>
                <c:pt idx="233">
                  <c:v>10.467289302601863</c:v>
                </c:pt>
                <c:pt idx="234">
                  <c:v>10.467289302601863</c:v>
                </c:pt>
                <c:pt idx="235">
                  <c:v>10.467289302601863</c:v>
                </c:pt>
                <c:pt idx="236">
                  <c:v>10.467289302601863</c:v>
                </c:pt>
                <c:pt idx="237">
                  <c:v>10.467289302601863</c:v>
                </c:pt>
                <c:pt idx="238">
                  <c:v>10.467289302601863</c:v>
                </c:pt>
                <c:pt idx="239">
                  <c:v>10.467289302601863</c:v>
                </c:pt>
                <c:pt idx="240">
                  <c:v>10.467289302601863</c:v>
                </c:pt>
                <c:pt idx="241">
                  <c:v>10.467289302601863</c:v>
                </c:pt>
                <c:pt idx="242">
                  <c:v>10.467289302601863</c:v>
                </c:pt>
                <c:pt idx="243">
                  <c:v>10.467289302601863</c:v>
                </c:pt>
                <c:pt idx="244">
                  <c:v>10.467289302601863</c:v>
                </c:pt>
                <c:pt idx="245">
                  <c:v>10.467289302601863</c:v>
                </c:pt>
                <c:pt idx="246">
                  <c:v>10.467289302601863</c:v>
                </c:pt>
                <c:pt idx="247">
                  <c:v>10.467289302601863</c:v>
                </c:pt>
                <c:pt idx="248">
                  <c:v>10.467289302601863</c:v>
                </c:pt>
                <c:pt idx="249">
                  <c:v>10.467289302601863</c:v>
                </c:pt>
                <c:pt idx="250">
                  <c:v>10.467289302601863</c:v>
                </c:pt>
                <c:pt idx="251">
                  <c:v>10.467289302601863</c:v>
                </c:pt>
                <c:pt idx="252">
                  <c:v>10.467289302601863</c:v>
                </c:pt>
                <c:pt idx="253">
                  <c:v>10.467289302601863</c:v>
                </c:pt>
                <c:pt idx="254">
                  <c:v>10.467289302601863</c:v>
                </c:pt>
                <c:pt idx="255">
                  <c:v>10.467289302601863</c:v>
                </c:pt>
                <c:pt idx="256">
                  <c:v>10.467289302601863</c:v>
                </c:pt>
                <c:pt idx="257">
                  <c:v>10.467289302601863</c:v>
                </c:pt>
                <c:pt idx="258">
                  <c:v>10.467289302601863</c:v>
                </c:pt>
                <c:pt idx="259">
                  <c:v>10.467289302601863</c:v>
                </c:pt>
                <c:pt idx="260">
                  <c:v>10.467289302601863</c:v>
                </c:pt>
                <c:pt idx="261">
                  <c:v>10.467289302601863</c:v>
                </c:pt>
                <c:pt idx="262">
                  <c:v>10.467289302601863</c:v>
                </c:pt>
                <c:pt idx="263">
                  <c:v>10.467289302601863</c:v>
                </c:pt>
                <c:pt idx="264">
                  <c:v>10.467289302601863</c:v>
                </c:pt>
                <c:pt idx="265">
                  <c:v>10.467289302601863</c:v>
                </c:pt>
                <c:pt idx="266">
                  <c:v>10.467289302601863</c:v>
                </c:pt>
                <c:pt idx="267">
                  <c:v>10.467289302601863</c:v>
                </c:pt>
                <c:pt idx="268">
                  <c:v>10.467289302601863</c:v>
                </c:pt>
                <c:pt idx="269">
                  <c:v>10.467289302601863</c:v>
                </c:pt>
                <c:pt idx="270">
                  <c:v>10.467289302601863</c:v>
                </c:pt>
                <c:pt idx="271">
                  <c:v>10.467289302601863</c:v>
                </c:pt>
                <c:pt idx="272">
                  <c:v>10.467289302601863</c:v>
                </c:pt>
                <c:pt idx="273">
                  <c:v>10.467289302601863</c:v>
                </c:pt>
                <c:pt idx="274">
                  <c:v>10.467289302601863</c:v>
                </c:pt>
                <c:pt idx="275">
                  <c:v>10.467289302601863</c:v>
                </c:pt>
                <c:pt idx="276">
                  <c:v>10.467289302601863</c:v>
                </c:pt>
                <c:pt idx="277">
                  <c:v>10.467289302601863</c:v>
                </c:pt>
                <c:pt idx="278">
                  <c:v>10.467289302601863</c:v>
                </c:pt>
                <c:pt idx="279">
                  <c:v>10.467289302601863</c:v>
                </c:pt>
                <c:pt idx="280">
                  <c:v>10.467289302601863</c:v>
                </c:pt>
                <c:pt idx="281">
                  <c:v>10.467289302601863</c:v>
                </c:pt>
                <c:pt idx="282">
                  <c:v>10.467289302601863</c:v>
                </c:pt>
                <c:pt idx="283">
                  <c:v>10.467289302601863</c:v>
                </c:pt>
                <c:pt idx="284">
                  <c:v>10.467289302601863</c:v>
                </c:pt>
                <c:pt idx="285">
                  <c:v>10.467289302601863</c:v>
                </c:pt>
                <c:pt idx="286">
                  <c:v>10.467289302601863</c:v>
                </c:pt>
                <c:pt idx="287">
                  <c:v>10.467289302601863</c:v>
                </c:pt>
                <c:pt idx="288">
                  <c:v>10.467289302601863</c:v>
                </c:pt>
                <c:pt idx="289">
                  <c:v>10.467289302601863</c:v>
                </c:pt>
                <c:pt idx="290">
                  <c:v>10.467289302601863</c:v>
                </c:pt>
                <c:pt idx="291">
                  <c:v>10.467289302601863</c:v>
                </c:pt>
                <c:pt idx="292">
                  <c:v>10.467289302601863</c:v>
                </c:pt>
                <c:pt idx="293">
                  <c:v>10.467289302601863</c:v>
                </c:pt>
                <c:pt idx="294">
                  <c:v>10.467289302601863</c:v>
                </c:pt>
                <c:pt idx="295">
                  <c:v>10.467289302601863</c:v>
                </c:pt>
                <c:pt idx="296">
                  <c:v>10.467289302601863</c:v>
                </c:pt>
                <c:pt idx="297">
                  <c:v>10.467289302601863</c:v>
                </c:pt>
                <c:pt idx="298">
                  <c:v>10.467289302601863</c:v>
                </c:pt>
                <c:pt idx="299">
                  <c:v>10.467289302601863</c:v>
                </c:pt>
                <c:pt idx="300">
                  <c:v>10.467289302601863</c:v>
                </c:pt>
                <c:pt idx="301">
                  <c:v>10.467289302601863</c:v>
                </c:pt>
                <c:pt idx="302">
                  <c:v>10.467289302601863</c:v>
                </c:pt>
                <c:pt idx="303">
                  <c:v>10.467289302601863</c:v>
                </c:pt>
                <c:pt idx="304">
                  <c:v>10.467289302601863</c:v>
                </c:pt>
                <c:pt idx="305">
                  <c:v>10.467289302601863</c:v>
                </c:pt>
                <c:pt idx="306">
                  <c:v>10.467289302601863</c:v>
                </c:pt>
                <c:pt idx="307">
                  <c:v>10.467289302601863</c:v>
                </c:pt>
                <c:pt idx="308">
                  <c:v>10.467289302601863</c:v>
                </c:pt>
                <c:pt idx="309">
                  <c:v>10.467289302601863</c:v>
                </c:pt>
                <c:pt idx="310">
                  <c:v>10.467289302601863</c:v>
                </c:pt>
                <c:pt idx="311">
                  <c:v>10.467289302601863</c:v>
                </c:pt>
                <c:pt idx="312">
                  <c:v>10.467289302601863</c:v>
                </c:pt>
                <c:pt idx="313">
                  <c:v>10.467289302601863</c:v>
                </c:pt>
                <c:pt idx="314">
                  <c:v>10.467289302601863</c:v>
                </c:pt>
                <c:pt idx="315">
                  <c:v>10.467289302601863</c:v>
                </c:pt>
                <c:pt idx="316">
                  <c:v>10.467289302601863</c:v>
                </c:pt>
                <c:pt idx="317">
                  <c:v>10.467289302601863</c:v>
                </c:pt>
                <c:pt idx="318">
                  <c:v>10.467289302601863</c:v>
                </c:pt>
                <c:pt idx="319">
                  <c:v>10.467289302601863</c:v>
                </c:pt>
                <c:pt idx="320">
                  <c:v>10.467289302601863</c:v>
                </c:pt>
                <c:pt idx="321">
                  <c:v>10.467289302601863</c:v>
                </c:pt>
                <c:pt idx="322">
                  <c:v>10.467289302601863</c:v>
                </c:pt>
                <c:pt idx="323">
                  <c:v>10.467289302601863</c:v>
                </c:pt>
                <c:pt idx="324">
                  <c:v>10.467289302601863</c:v>
                </c:pt>
                <c:pt idx="325">
                  <c:v>10.467289302601863</c:v>
                </c:pt>
                <c:pt idx="326">
                  <c:v>10.467289302601863</c:v>
                </c:pt>
                <c:pt idx="327">
                  <c:v>10.467289302601863</c:v>
                </c:pt>
                <c:pt idx="328">
                  <c:v>10.467289302601863</c:v>
                </c:pt>
                <c:pt idx="329">
                  <c:v>10.467289302601863</c:v>
                </c:pt>
                <c:pt idx="330">
                  <c:v>10.467289302601863</c:v>
                </c:pt>
                <c:pt idx="331">
                  <c:v>10.467289302601863</c:v>
                </c:pt>
                <c:pt idx="332">
                  <c:v>10.467289302601863</c:v>
                </c:pt>
                <c:pt idx="333">
                  <c:v>10.467289302601863</c:v>
                </c:pt>
                <c:pt idx="334">
                  <c:v>10.467289302601863</c:v>
                </c:pt>
                <c:pt idx="335">
                  <c:v>10.467289302601863</c:v>
                </c:pt>
                <c:pt idx="336">
                  <c:v>10.467289302601863</c:v>
                </c:pt>
                <c:pt idx="337">
                  <c:v>10.467289302601863</c:v>
                </c:pt>
                <c:pt idx="338">
                  <c:v>10.467289302601863</c:v>
                </c:pt>
                <c:pt idx="339">
                  <c:v>10.467289302601863</c:v>
                </c:pt>
                <c:pt idx="340">
                  <c:v>10.467289302601863</c:v>
                </c:pt>
                <c:pt idx="341">
                  <c:v>10.467289302601863</c:v>
                </c:pt>
                <c:pt idx="342">
                  <c:v>10.467289302601863</c:v>
                </c:pt>
                <c:pt idx="343">
                  <c:v>10.467289302601863</c:v>
                </c:pt>
                <c:pt idx="344">
                  <c:v>10.467289302601863</c:v>
                </c:pt>
                <c:pt idx="345">
                  <c:v>10.467289302601863</c:v>
                </c:pt>
                <c:pt idx="346">
                  <c:v>10.467289302601863</c:v>
                </c:pt>
                <c:pt idx="347">
                  <c:v>10.467289302601863</c:v>
                </c:pt>
                <c:pt idx="348">
                  <c:v>10.467289302601863</c:v>
                </c:pt>
                <c:pt idx="349">
                  <c:v>10.467289302601863</c:v>
                </c:pt>
                <c:pt idx="350">
                  <c:v>10.467289302601863</c:v>
                </c:pt>
                <c:pt idx="351">
                  <c:v>10.467289302601863</c:v>
                </c:pt>
                <c:pt idx="352">
                  <c:v>10.467289302601863</c:v>
                </c:pt>
                <c:pt idx="353">
                  <c:v>10.467289302601863</c:v>
                </c:pt>
                <c:pt idx="354">
                  <c:v>10.467289302601863</c:v>
                </c:pt>
                <c:pt idx="355">
                  <c:v>10.467289302601863</c:v>
                </c:pt>
                <c:pt idx="356">
                  <c:v>10.467289302601863</c:v>
                </c:pt>
                <c:pt idx="357">
                  <c:v>10.467289302601863</c:v>
                </c:pt>
                <c:pt idx="358">
                  <c:v>10.467289302601863</c:v>
                </c:pt>
                <c:pt idx="359">
                  <c:v>10.467289302601863</c:v>
                </c:pt>
                <c:pt idx="360">
                  <c:v>10.467289302601863</c:v>
                </c:pt>
                <c:pt idx="361">
                  <c:v>10.467289302601863</c:v>
                </c:pt>
                <c:pt idx="362">
                  <c:v>10.467289302601863</c:v>
                </c:pt>
                <c:pt idx="363">
                  <c:v>10.467289302601863</c:v>
                </c:pt>
                <c:pt idx="364">
                  <c:v>10.467289302601863</c:v>
                </c:pt>
                <c:pt idx="365">
                  <c:v>10.467289302601863</c:v>
                </c:pt>
                <c:pt idx="366">
                  <c:v>10.467289302601863</c:v>
                </c:pt>
                <c:pt idx="367">
                  <c:v>10.467289302601863</c:v>
                </c:pt>
                <c:pt idx="368">
                  <c:v>10.467289302601863</c:v>
                </c:pt>
                <c:pt idx="369">
                  <c:v>10.467289302601863</c:v>
                </c:pt>
                <c:pt idx="370">
                  <c:v>10.467289302601863</c:v>
                </c:pt>
                <c:pt idx="371">
                  <c:v>10.467289302601863</c:v>
                </c:pt>
                <c:pt idx="372">
                  <c:v>10.467289302601863</c:v>
                </c:pt>
                <c:pt idx="373">
                  <c:v>10.467289302601863</c:v>
                </c:pt>
                <c:pt idx="374">
                  <c:v>10.467289302601863</c:v>
                </c:pt>
                <c:pt idx="375">
                  <c:v>10.467289302601863</c:v>
                </c:pt>
                <c:pt idx="376">
                  <c:v>10.467289302601863</c:v>
                </c:pt>
                <c:pt idx="377">
                  <c:v>10.467289302601863</c:v>
                </c:pt>
                <c:pt idx="378">
                  <c:v>10.467289302601863</c:v>
                </c:pt>
                <c:pt idx="379">
                  <c:v>10.467289302601863</c:v>
                </c:pt>
                <c:pt idx="380">
                  <c:v>10.467289302601863</c:v>
                </c:pt>
                <c:pt idx="381">
                  <c:v>10.467289302601863</c:v>
                </c:pt>
                <c:pt idx="382">
                  <c:v>10.467289302601863</c:v>
                </c:pt>
                <c:pt idx="383">
                  <c:v>10.467289302601863</c:v>
                </c:pt>
                <c:pt idx="384">
                  <c:v>10.467289302601863</c:v>
                </c:pt>
                <c:pt idx="385">
                  <c:v>10.467289302601863</c:v>
                </c:pt>
                <c:pt idx="386">
                  <c:v>10.467289302601863</c:v>
                </c:pt>
                <c:pt idx="387">
                  <c:v>10.467289302601863</c:v>
                </c:pt>
                <c:pt idx="388">
                  <c:v>10.467289302601863</c:v>
                </c:pt>
                <c:pt idx="389">
                  <c:v>10.467289302601863</c:v>
                </c:pt>
                <c:pt idx="390">
                  <c:v>10.467289302601863</c:v>
                </c:pt>
                <c:pt idx="391">
                  <c:v>10.467289302601863</c:v>
                </c:pt>
                <c:pt idx="392">
                  <c:v>10.467289302601863</c:v>
                </c:pt>
                <c:pt idx="393">
                  <c:v>10.467289302601863</c:v>
                </c:pt>
                <c:pt idx="394">
                  <c:v>10.467289302601863</c:v>
                </c:pt>
                <c:pt idx="395">
                  <c:v>10.467289302601863</c:v>
                </c:pt>
                <c:pt idx="396">
                  <c:v>10.467289302601863</c:v>
                </c:pt>
                <c:pt idx="397">
                  <c:v>10.467289302601863</c:v>
                </c:pt>
                <c:pt idx="398">
                  <c:v>10.467289302601863</c:v>
                </c:pt>
                <c:pt idx="399">
                  <c:v>10.467289302601863</c:v>
                </c:pt>
                <c:pt idx="400">
                  <c:v>10.467289302601863</c:v>
                </c:pt>
                <c:pt idx="401">
                  <c:v>10.467289302601863</c:v>
                </c:pt>
                <c:pt idx="402">
                  <c:v>10.467289302601863</c:v>
                </c:pt>
                <c:pt idx="403">
                  <c:v>10.467289302601863</c:v>
                </c:pt>
                <c:pt idx="404">
                  <c:v>10.467289302601863</c:v>
                </c:pt>
                <c:pt idx="405">
                  <c:v>10.467289302601863</c:v>
                </c:pt>
                <c:pt idx="406">
                  <c:v>10.467289302601863</c:v>
                </c:pt>
                <c:pt idx="407">
                  <c:v>10.467289302601863</c:v>
                </c:pt>
                <c:pt idx="408">
                  <c:v>10.467289302601863</c:v>
                </c:pt>
                <c:pt idx="409">
                  <c:v>10.467289302601863</c:v>
                </c:pt>
                <c:pt idx="410">
                  <c:v>10.467289302601863</c:v>
                </c:pt>
                <c:pt idx="411">
                  <c:v>10.467289302601863</c:v>
                </c:pt>
                <c:pt idx="412">
                  <c:v>10.467289302601863</c:v>
                </c:pt>
                <c:pt idx="413">
                  <c:v>10.467289302601863</c:v>
                </c:pt>
                <c:pt idx="414">
                  <c:v>10.467289302601863</c:v>
                </c:pt>
                <c:pt idx="415">
                  <c:v>10.467289302601863</c:v>
                </c:pt>
                <c:pt idx="416">
                  <c:v>10.467289302601863</c:v>
                </c:pt>
                <c:pt idx="417">
                  <c:v>10.467289302601863</c:v>
                </c:pt>
                <c:pt idx="418">
                  <c:v>10.467289302601863</c:v>
                </c:pt>
                <c:pt idx="419">
                  <c:v>10.467289302601863</c:v>
                </c:pt>
                <c:pt idx="420">
                  <c:v>10.467289302601863</c:v>
                </c:pt>
                <c:pt idx="421">
                  <c:v>10.467289302601863</c:v>
                </c:pt>
                <c:pt idx="422">
                  <c:v>10.467289302601863</c:v>
                </c:pt>
                <c:pt idx="423">
                  <c:v>10.467289302601863</c:v>
                </c:pt>
                <c:pt idx="424">
                  <c:v>10.467289302601863</c:v>
                </c:pt>
                <c:pt idx="425">
                  <c:v>10.467289302601863</c:v>
                </c:pt>
                <c:pt idx="426">
                  <c:v>10.467289302601863</c:v>
                </c:pt>
                <c:pt idx="427">
                  <c:v>10.467289302601863</c:v>
                </c:pt>
                <c:pt idx="428">
                  <c:v>10.467289302601863</c:v>
                </c:pt>
                <c:pt idx="429">
                  <c:v>10.467289302601863</c:v>
                </c:pt>
                <c:pt idx="430">
                  <c:v>10.467289302601863</c:v>
                </c:pt>
                <c:pt idx="431">
                  <c:v>10.467289302601863</c:v>
                </c:pt>
                <c:pt idx="432">
                  <c:v>10.467289302601863</c:v>
                </c:pt>
                <c:pt idx="433">
                  <c:v>10.467289302601863</c:v>
                </c:pt>
                <c:pt idx="434">
                  <c:v>10.467289302601863</c:v>
                </c:pt>
                <c:pt idx="435">
                  <c:v>10.467289302601863</c:v>
                </c:pt>
                <c:pt idx="436">
                  <c:v>10.467289302601863</c:v>
                </c:pt>
                <c:pt idx="437">
                  <c:v>10.467289302601863</c:v>
                </c:pt>
                <c:pt idx="438">
                  <c:v>10.467289302601863</c:v>
                </c:pt>
                <c:pt idx="439">
                  <c:v>10.467289302601863</c:v>
                </c:pt>
                <c:pt idx="440">
                  <c:v>10.467289302601863</c:v>
                </c:pt>
                <c:pt idx="441">
                  <c:v>10.467289302601863</c:v>
                </c:pt>
                <c:pt idx="442">
                  <c:v>10.467289302601863</c:v>
                </c:pt>
                <c:pt idx="443">
                  <c:v>10.467289302601863</c:v>
                </c:pt>
                <c:pt idx="444">
                  <c:v>10.467289302601863</c:v>
                </c:pt>
                <c:pt idx="445">
                  <c:v>10.467289302601863</c:v>
                </c:pt>
                <c:pt idx="446">
                  <c:v>10.467289302601863</c:v>
                </c:pt>
                <c:pt idx="447">
                  <c:v>10.467289302601863</c:v>
                </c:pt>
                <c:pt idx="448">
                  <c:v>10.467289302601863</c:v>
                </c:pt>
                <c:pt idx="449">
                  <c:v>10.467289302601863</c:v>
                </c:pt>
                <c:pt idx="450">
                  <c:v>10.467289302601863</c:v>
                </c:pt>
                <c:pt idx="451">
                  <c:v>10.467289302601863</c:v>
                </c:pt>
                <c:pt idx="452">
                  <c:v>10.467289302601863</c:v>
                </c:pt>
                <c:pt idx="453">
                  <c:v>10.467289302601863</c:v>
                </c:pt>
                <c:pt idx="454">
                  <c:v>10.467289302601863</c:v>
                </c:pt>
                <c:pt idx="455">
                  <c:v>10.467289302601863</c:v>
                </c:pt>
                <c:pt idx="456">
                  <c:v>10.467289302601863</c:v>
                </c:pt>
                <c:pt idx="457">
                  <c:v>10.467289302601863</c:v>
                </c:pt>
                <c:pt idx="458">
                  <c:v>10.467289302601863</c:v>
                </c:pt>
                <c:pt idx="459">
                  <c:v>10.467289302601863</c:v>
                </c:pt>
                <c:pt idx="460">
                  <c:v>10.467289302601863</c:v>
                </c:pt>
                <c:pt idx="461">
                  <c:v>10.467289302601863</c:v>
                </c:pt>
                <c:pt idx="462">
                  <c:v>10.467289302601863</c:v>
                </c:pt>
                <c:pt idx="463">
                  <c:v>10.467289302601863</c:v>
                </c:pt>
                <c:pt idx="464">
                  <c:v>10.467289302601863</c:v>
                </c:pt>
                <c:pt idx="465">
                  <c:v>10.467289302601863</c:v>
                </c:pt>
                <c:pt idx="466">
                  <c:v>10.467289302601863</c:v>
                </c:pt>
                <c:pt idx="467">
                  <c:v>10.467289302601863</c:v>
                </c:pt>
                <c:pt idx="468">
                  <c:v>10.467289302601863</c:v>
                </c:pt>
                <c:pt idx="469">
                  <c:v>10.467289302601863</c:v>
                </c:pt>
                <c:pt idx="470">
                  <c:v>10.467289302601863</c:v>
                </c:pt>
                <c:pt idx="471">
                  <c:v>10.467289302601863</c:v>
                </c:pt>
                <c:pt idx="472">
                  <c:v>10.467289302601863</c:v>
                </c:pt>
                <c:pt idx="473">
                  <c:v>10.467289302601863</c:v>
                </c:pt>
                <c:pt idx="474">
                  <c:v>10.467289302601863</c:v>
                </c:pt>
                <c:pt idx="475">
                  <c:v>10.467289302601863</c:v>
                </c:pt>
                <c:pt idx="476">
                  <c:v>10.467289302601863</c:v>
                </c:pt>
                <c:pt idx="477">
                  <c:v>10.467289302601863</c:v>
                </c:pt>
                <c:pt idx="478">
                  <c:v>10.467289302601863</c:v>
                </c:pt>
                <c:pt idx="479">
                  <c:v>10.467289302601863</c:v>
                </c:pt>
                <c:pt idx="480">
                  <c:v>10.467289302601863</c:v>
                </c:pt>
                <c:pt idx="481">
                  <c:v>10.467289302601863</c:v>
                </c:pt>
                <c:pt idx="482">
                  <c:v>10.467289302601863</c:v>
                </c:pt>
                <c:pt idx="483">
                  <c:v>10.467289302601863</c:v>
                </c:pt>
                <c:pt idx="484">
                  <c:v>10.467289302601863</c:v>
                </c:pt>
                <c:pt idx="485">
                  <c:v>10.467289302601863</c:v>
                </c:pt>
                <c:pt idx="486">
                  <c:v>10.467289302601863</c:v>
                </c:pt>
                <c:pt idx="487">
                  <c:v>10.467289302601863</c:v>
                </c:pt>
                <c:pt idx="488">
                  <c:v>10.467289302601863</c:v>
                </c:pt>
                <c:pt idx="489">
                  <c:v>10.467289302601863</c:v>
                </c:pt>
                <c:pt idx="490">
                  <c:v>10.467289302601863</c:v>
                </c:pt>
                <c:pt idx="491">
                  <c:v>10.467289302601863</c:v>
                </c:pt>
                <c:pt idx="492">
                  <c:v>10.467289302601863</c:v>
                </c:pt>
                <c:pt idx="493">
                  <c:v>10.467289302601863</c:v>
                </c:pt>
                <c:pt idx="494">
                  <c:v>10.467289302601863</c:v>
                </c:pt>
                <c:pt idx="495">
                  <c:v>10.467289302601863</c:v>
                </c:pt>
                <c:pt idx="496">
                  <c:v>10.467289302601863</c:v>
                </c:pt>
                <c:pt idx="497">
                  <c:v>10.467289302601863</c:v>
                </c:pt>
                <c:pt idx="498">
                  <c:v>10.467289302601863</c:v>
                </c:pt>
                <c:pt idx="499">
                  <c:v>10.467289302601863</c:v>
                </c:pt>
                <c:pt idx="500">
                  <c:v>10.467289302601863</c:v>
                </c:pt>
                <c:pt idx="501">
                  <c:v>10.467289302601863</c:v>
                </c:pt>
                <c:pt idx="502">
                  <c:v>10.467289302601863</c:v>
                </c:pt>
                <c:pt idx="503">
                  <c:v>10.467289302601863</c:v>
                </c:pt>
                <c:pt idx="504">
                  <c:v>10.467289302601863</c:v>
                </c:pt>
                <c:pt idx="505">
                  <c:v>10.467289302601863</c:v>
                </c:pt>
                <c:pt idx="506">
                  <c:v>10.467289302601863</c:v>
                </c:pt>
                <c:pt idx="507">
                  <c:v>10.467289302601863</c:v>
                </c:pt>
                <c:pt idx="508">
                  <c:v>10.467289302601863</c:v>
                </c:pt>
                <c:pt idx="509">
                  <c:v>10.467289302601863</c:v>
                </c:pt>
                <c:pt idx="510">
                  <c:v>10.467289302601863</c:v>
                </c:pt>
                <c:pt idx="511">
                  <c:v>10.467289302601863</c:v>
                </c:pt>
                <c:pt idx="512">
                  <c:v>10.467289302601863</c:v>
                </c:pt>
                <c:pt idx="513">
                  <c:v>10.467289302601863</c:v>
                </c:pt>
                <c:pt idx="514">
                  <c:v>10.467289302601863</c:v>
                </c:pt>
                <c:pt idx="515">
                  <c:v>10.467289302601863</c:v>
                </c:pt>
                <c:pt idx="516">
                  <c:v>10.467289302601863</c:v>
                </c:pt>
                <c:pt idx="517">
                  <c:v>10.467289302601863</c:v>
                </c:pt>
                <c:pt idx="518">
                  <c:v>10.467289302601863</c:v>
                </c:pt>
                <c:pt idx="519">
                  <c:v>10.467289302601863</c:v>
                </c:pt>
                <c:pt idx="520">
                  <c:v>10.467289302601863</c:v>
                </c:pt>
                <c:pt idx="521">
                  <c:v>10.467289302601863</c:v>
                </c:pt>
                <c:pt idx="522">
                  <c:v>10.467289302601863</c:v>
                </c:pt>
                <c:pt idx="523">
                  <c:v>10.467289302601863</c:v>
                </c:pt>
                <c:pt idx="524">
                  <c:v>10.467289302601863</c:v>
                </c:pt>
                <c:pt idx="525">
                  <c:v>10.467289302601863</c:v>
                </c:pt>
                <c:pt idx="526">
                  <c:v>10.467289302601863</c:v>
                </c:pt>
                <c:pt idx="527">
                  <c:v>10.467289302601863</c:v>
                </c:pt>
                <c:pt idx="528">
                  <c:v>10.467289302601863</c:v>
                </c:pt>
                <c:pt idx="529">
                  <c:v>10.467289302601863</c:v>
                </c:pt>
                <c:pt idx="530">
                  <c:v>10.467289302601863</c:v>
                </c:pt>
                <c:pt idx="531">
                  <c:v>10.467289302601863</c:v>
                </c:pt>
                <c:pt idx="532">
                  <c:v>10.467289302601863</c:v>
                </c:pt>
                <c:pt idx="533">
                  <c:v>10.467289302601863</c:v>
                </c:pt>
                <c:pt idx="534">
                  <c:v>10.467289302601863</c:v>
                </c:pt>
                <c:pt idx="535">
                  <c:v>10.467289302601863</c:v>
                </c:pt>
                <c:pt idx="536">
                  <c:v>10.467289302601863</c:v>
                </c:pt>
                <c:pt idx="537">
                  <c:v>10.467289302601863</c:v>
                </c:pt>
                <c:pt idx="538">
                  <c:v>10.467289302601863</c:v>
                </c:pt>
                <c:pt idx="539">
                  <c:v>10.467289302601863</c:v>
                </c:pt>
                <c:pt idx="540">
                  <c:v>10.467289302601863</c:v>
                </c:pt>
                <c:pt idx="541">
                  <c:v>10.467289302601863</c:v>
                </c:pt>
                <c:pt idx="542">
                  <c:v>10.467289302601863</c:v>
                </c:pt>
                <c:pt idx="543">
                  <c:v>10.467289302601863</c:v>
                </c:pt>
                <c:pt idx="544">
                  <c:v>10.467289302601863</c:v>
                </c:pt>
                <c:pt idx="545">
                  <c:v>10.467289302601863</c:v>
                </c:pt>
                <c:pt idx="546">
                  <c:v>10.467289302601863</c:v>
                </c:pt>
                <c:pt idx="547">
                  <c:v>10.467289302601863</c:v>
                </c:pt>
                <c:pt idx="548">
                  <c:v>10.467289302601863</c:v>
                </c:pt>
                <c:pt idx="549">
                  <c:v>10.467289302601863</c:v>
                </c:pt>
                <c:pt idx="550">
                  <c:v>10.467289302601863</c:v>
                </c:pt>
                <c:pt idx="551">
                  <c:v>10.467289302601863</c:v>
                </c:pt>
                <c:pt idx="552">
                  <c:v>10.467289302601863</c:v>
                </c:pt>
                <c:pt idx="553">
                  <c:v>10.467289302601863</c:v>
                </c:pt>
                <c:pt idx="554">
                  <c:v>10.467289302601863</c:v>
                </c:pt>
                <c:pt idx="555">
                  <c:v>10.467289302601863</c:v>
                </c:pt>
                <c:pt idx="556">
                  <c:v>10.467289302601863</c:v>
                </c:pt>
                <c:pt idx="557">
                  <c:v>10.467289302601863</c:v>
                </c:pt>
                <c:pt idx="558">
                  <c:v>10.467289302601863</c:v>
                </c:pt>
                <c:pt idx="559">
                  <c:v>10.467289302601863</c:v>
                </c:pt>
                <c:pt idx="560">
                  <c:v>10.467289302601863</c:v>
                </c:pt>
                <c:pt idx="561">
                  <c:v>10.467289302601863</c:v>
                </c:pt>
                <c:pt idx="562">
                  <c:v>10.467289302601863</c:v>
                </c:pt>
                <c:pt idx="563">
                  <c:v>10.467289302601863</c:v>
                </c:pt>
                <c:pt idx="564">
                  <c:v>10.467289302601863</c:v>
                </c:pt>
                <c:pt idx="565">
                  <c:v>10.467289302601863</c:v>
                </c:pt>
                <c:pt idx="566">
                  <c:v>10.467289302601863</c:v>
                </c:pt>
                <c:pt idx="567">
                  <c:v>10.467289302601863</c:v>
                </c:pt>
                <c:pt idx="568">
                  <c:v>10.467289302601863</c:v>
                </c:pt>
                <c:pt idx="569">
                  <c:v>10.467289302601863</c:v>
                </c:pt>
                <c:pt idx="570">
                  <c:v>10.467289302601863</c:v>
                </c:pt>
                <c:pt idx="571">
                  <c:v>10.467289302601863</c:v>
                </c:pt>
                <c:pt idx="572">
                  <c:v>10.467289302601863</c:v>
                </c:pt>
                <c:pt idx="573">
                  <c:v>10.467289302601863</c:v>
                </c:pt>
                <c:pt idx="574">
                  <c:v>10.467289302601863</c:v>
                </c:pt>
                <c:pt idx="575">
                  <c:v>10.467289302601863</c:v>
                </c:pt>
                <c:pt idx="576">
                  <c:v>10.467289302601863</c:v>
                </c:pt>
                <c:pt idx="577">
                  <c:v>10.467289302601863</c:v>
                </c:pt>
                <c:pt idx="578">
                  <c:v>10.467289302601863</c:v>
                </c:pt>
                <c:pt idx="579">
                  <c:v>10.467289302601863</c:v>
                </c:pt>
                <c:pt idx="580">
                  <c:v>10.467289302601863</c:v>
                </c:pt>
                <c:pt idx="581">
                  <c:v>10.467289302601863</c:v>
                </c:pt>
                <c:pt idx="582">
                  <c:v>10.467289302601863</c:v>
                </c:pt>
                <c:pt idx="583">
                  <c:v>10.467289302601863</c:v>
                </c:pt>
                <c:pt idx="584">
                  <c:v>10.467289302601863</c:v>
                </c:pt>
                <c:pt idx="585">
                  <c:v>10.467289302601863</c:v>
                </c:pt>
                <c:pt idx="586">
                  <c:v>10.467289302601863</c:v>
                </c:pt>
                <c:pt idx="587">
                  <c:v>10.467289302601863</c:v>
                </c:pt>
                <c:pt idx="588">
                  <c:v>10.467289302601863</c:v>
                </c:pt>
                <c:pt idx="589">
                  <c:v>10.467289302601863</c:v>
                </c:pt>
                <c:pt idx="590">
                  <c:v>10.467289302601863</c:v>
                </c:pt>
                <c:pt idx="591">
                  <c:v>10.467289302601863</c:v>
                </c:pt>
                <c:pt idx="592">
                  <c:v>10.467289302601863</c:v>
                </c:pt>
                <c:pt idx="593">
                  <c:v>10.467289302601863</c:v>
                </c:pt>
                <c:pt idx="594">
                  <c:v>10.467289302601863</c:v>
                </c:pt>
                <c:pt idx="595">
                  <c:v>10.467289302601863</c:v>
                </c:pt>
                <c:pt idx="596">
                  <c:v>10.467289302601863</c:v>
                </c:pt>
                <c:pt idx="597">
                  <c:v>10.467289302601863</c:v>
                </c:pt>
                <c:pt idx="598">
                  <c:v>10.467289302601863</c:v>
                </c:pt>
                <c:pt idx="599">
                  <c:v>10.467289302601863</c:v>
                </c:pt>
                <c:pt idx="600">
                  <c:v>10.467289302601863</c:v>
                </c:pt>
                <c:pt idx="601">
                  <c:v>10.467289302601863</c:v>
                </c:pt>
                <c:pt idx="602">
                  <c:v>10.467289302601863</c:v>
                </c:pt>
                <c:pt idx="603">
                  <c:v>10.467289302601863</c:v>
                </c:pt>
                <c:pt idx="604">
                  <c:v>10.467289302601863</c:v>
                </c:pt>
                <c:pt idx="605">
                  <c:v>10.467289302601863</c:v>
                </c:pt>
                <c:pt idx="606">
                  <c:v>10.467289302601863</c:v>
                </c:pt>
                <c:pt idx="607">
                  <c:v>10.467289302601863</c:v>
                </c:pt>
                <c:pt idx="608">
                  <c:v>10.467289302601863</c:v>
                </c:pt>
                <c:pt idx="609">
                  <c:v>10.467289302601863</c:v>
                </c:pt>
                <c:pt idx="610">
                  <c:v>10.467289302601863</c:v>
                </c:pt>
                <c:pt idx="611">
                  <c:v>10.467289302601863</c:v>
                </c:pt>
                <c:pt idx="612">
                  <c:v>10.467289302601863</c:v>
                </c:pt>
                <c:pt idx="613">
                  <c:v>10.467289302601863</c:v>
                </c:pt>
                <c:pt idx="614">
                  <c:v>10.467289302601863</c:v>
                </c:pt>
                <c:pt idx="615">
                  <c:v>10.467289302601863</c:v>
                </c:pt>
                <c:pt idx="616">
                  <c:v>10.467289302601863</c:v>
                </c:pt>
                <c:pt idx="617">
                  <c:v>10.467289302601863</c:v>
                </c:pt>
                <c:pt idx="618">
                  <c:v>10.467289302601863</c:v>
                </c:pt>
                <c:pt idx="619">
                  <c:v>10.467289302601863</c:v>
                </c:pt>
                <c:pt idx="620">
                  <c:v>10.467289302601863</c:v>
                </c:pt>
                <c:pt idx="621">
                  <c:v>10.467289302601863</c:v>
                </c:pt>
                <c:pt idx="622">
                  <c:v>10.467289302601863</c:v>
                </c:pt>
                <c:pt idx="623">
                  <c:v>10.467289302601863</c:v>
                </c:pt>
                <c:pt idx="624">
                  <c:v>10.467289302601863</c:v>
                </c:pt>
                <c:pt idx="625">
                  <c:v>10.467289302601863</c:v>
                </c:pt>
                <c:pt idx="626">
                  <c:v>10.467289302601863</c:v>
                </c:pt>
                <c:pt idx="627">
                  <c:v>10.467289302601863</c:v>
                </c:pt>
                <c:pt idx="628">
                  <c:v>10.467289302601863</c:v>
                </c:pt>
                <c:pt idx="629">
                  <c:v>10.467289302601863</c:v>
                </c:pt>
                <c:pt idx="630">
                  <c:v>10.467289302601863</c:v>
                </c:pt>
                <c:pt idx="631">
                  <c:v>10.467289302601863</c:v>
                </c:pt>
                <c:pt idx="632">
                  <c:v>10.467289302601863</c:v>
                </c:pt>
                <c:pt idx="633">
                  <c:v>10.467289302601863</c:v>
                </c:pt>
                <c:pt idx="634">
                  <c:v>10.467289302601863</c:v>
                </c:pt>
                <c:pt idx="635">
                  <c:v>10.467289302601863</c:v>
                </c:pt>
                <c:pt idx="636">
                  <c:v>10.467289302601863</c:v>
                </c:pt>
                <c:pt idx="637">
                  <c:v>10.467289302601863</c:v>
                </c:pt>
                <c:pt idx="638">
                  <c:v>10.467289302601863</c:v>
                </c:pt>
                <c:pt idx="639">
                  <c:v>10.467289302601863</c:v>
                </c:pt>
                <c:pt idx="640">
                  <c:v>10.467289302601863</c:v>
                </c:pt>
                <c:pt idx="641">
                  <c:v>10.467289302601863</c:v>
                </c:pt>
                <c:pt idx="642">
                  <c:v>10.467289302601863</c:v>
                </c:pt>
                <c:pt idx="643">
                  <c:v>10.467289302601863</c:v>
                </c:pt>
                <c:pt idx="644">
                  <c:v>10.467289302601863</c:v>
                </c:pt>
                <c:pt idx="645">
                  <c:v>10.467289302601863</c:v>
                </c:pt>
                <c:pt idx="646">
                  <c:v>10.467289302601863</c:v>
                </c:pt>
                <c:pt idx="647">
                  <c:v>10.467289302601863</c:v>
                </c:pt>
                <c:pt idx="648">
                  <c:v>10.467289302601863</c:v>
                </c:pt>
                <c:pt idx="649">
                  <c:v>10.467289302601863</c:v>
                </c:pt>
                <c:pt idx="650">
                  <c:v>10.467289302601863</c:v>
                </c:pt>
                <c:pt idx="651">
                  <c:v>10.467289302601863</c:v>
                </c:pt>
                <c:pt idx="652">
                  <c:v>10.467289302601863</c:v>
                </c:pt>
                <c:pt idx="653">
                  <c:v>10.467289302601863</c:v>
                </c:pt>
                <c:pt idx="654">
                  <c:v>10.467289302601863</c:v>
                </c:pt>
                <c:pt idx="655">
                  <c:v>10.467289302601863</c:v>
                </c:pt>
                <c:pt idx="656">
                  <c:v>10.467289302601863</c:v>
                </c:pt>
                <c:pt idx="657">
                  <c:v>10.467289302601863</c:v>
                </c:pt>
                <c:pt idx="658">
                  <c:v>10.467289302601863</c:v>
                </c:pt>
                <c:pt idx="659">
                  <c:v>10.467289302601863</c:v>
                </c:pt>
                <c:pt idx="660">
                  <c:v>10.467289302601863</c:v>
                </c:pt>
                <c:pt idx="661">
                  <c:v>10.467289302601863</c:v>
                </c:pt>
                <c:pt idx="662">
                  <c:v>10.467289302601863</c:v>
                </c:pt>
                <c:pt idx="663">
                  <c:v>10.467289302601863</c:v>
                </c:pt>
                <c:pt idx="664">
                  <c:v>10.467289302601863</c:v>
                </c:pt>
                <c:pt idx="665">
                  <c:v>10.467289302601863</c:v>
                </c:pt>
                <c:pt idx="666">
                  <c:v>10.467289302601863</c:v>
                </c:pt>
                <c:pt idx="667">
                  <c:v>10.467289302601863</c:v>
                </c:pt>
                <c:pt idx="668">
                  <c:v>10.467289302601863</c:v>
                </c:pt>
                <c:pt idx="669">
                  <c:v>10.467289302601863</c:v>
                </c:pt>
                <c:pt idx="670">
                  <c:v>10.467289302601863</c:v>
                </c:pt>
                <c:pt idx="671">
                  <c:v>10.467289302601863</c:v>
                </c:pt>
                <c:pt idx="672">
                  <c:v>10.467289302601863</c:v>
                </c:pt>
                <c:pt idx="673">
                  <c:v>10.467289302601863</c:v>
                </c:pt>
                <c:pt idx="674">
                  <c:v>10.467289302601863</c:v>
                </c:pt>
                <c:pt idx="675">
                  <c:v>10.467289302601863</c:v>
                </c:pt>
                <c:pt idx="676">
                  <c:v>10.467289302601863</c:v>
                </c:pt>
                <c:pt idx="677">
                  <c:v>10.467289302601863</c:v>
                </c:pt>
                <c:pt idx="678">
                  <c:v>10.467289302601863</c:v>
                </c:pt>
                <c:pt idx="679">
                  <c:v>10.467289302601863</c:v>
                </c:pt>
                <c:pt idx="680">
                  <c:v>10.467289302601863</c:v>
                </c:pt>
                <c:pt idx="681">
                  <c:v>10.467289302601863</c:v>
                </c:pt>
                <c:pt idx="682">
                  <c:v>10.467289302601863</c:v>
                </c:pt>
                <c:pt idx="683">
                  <c:v>10.467289302601863</c:v>
                </c:pt>
                <c:pt idx="684">
                  <c:v>10.467289302601863</c:v>
                </c:pt>
                <c:pt idx="685">
                  <c:v>10.467289302601863</c:v>
                </c:pt>
                <c:pt idx="686">
                  <c:v>10.467289302601863</c:v>
                </c:pt>
                <c:pt idx="687">
                  <c:v>10.467289302601863</c:v>
                </c:pt>
                <c:pt idx="688">
                  <c:v>10.467289302601863</c:v>
                </c:pt>
                <c:pt idx="689">
                  <c:v>10.467289302601863</c:v>
                </c:pt>
                <c:pt idx="690">
                  <c:v>10.467289302601863</c:v>
                </c:pt>
                <c:pt idx="691">
                  <c:v>10.467289302601863</c:v>
                </c:pt>
                <c:pt idx="692">
                  <c:v>10.467289302601863</c:v>
                </c:pt>
                <c:pt idx="693">
                  <c:v>10.467289302601863</c:v>
                </c:pt>
                <c:pt idx="694">
                  <c:v>10.467289302601863</c:v>
                </c:pt>
                <c:pt idx="695">
                  <c:v>10.467289302601863</c:v>
                </c:pt>
                <c:pt idx="696">
                  <c:v>10.467289302601863</c:v>
                </c:pt>
                <c:pt idx="697">
                  <c:v>10.467289302601863</c:v>
                </c:pt>
                <c:pt idx="698">
                  <c:v>10.467289302601863</c:v>
                </c:pt>
                <c:pt idx="699">
                  <c:v>10.467289302601863</c:v>
                </c:pt>
                <c:pt idx="700">
                  <c:v>10.467289302601863</c:v>
                </c:pt>
                <c:pt idx="701">
                  <c:v>10.467289302601863</c:v>
                </c:pt>
                <c:pt idx="702">
                  <c:v>10.467289302601863</c:v>
                </c:pt>
                <c:pt idx="703">
                  <c:v>10.467289302601863</c:v>
                </c:pt>
                <c:pt idx="704">
                  <c:v>10.467289302601863</c:v>
                </c:pt>
                <c:pt idx="705">
                  <c:v>10.467289302601863</c:v>
                </c:pt>
                <c:pt idx="706">
                  <c:v>10.467289302601863</c:v>
                </c:pt>
                <c:pt idx="707">
                  <c:v>10.467289302601863</c:v>
                </c:pt>
                <c:pt idx="708">
                  <c:v>10.467289302601863</c:v>
                </c:pt>
                <c:pt idx="709">
                  <c:v>10.467289302601863</c:v>
                </c:pt>
                <c:pt idx="710">
                  <c:v>10.467289302601863</c:v>
                </c:pt>
                <c:pt idx="711">
                  <c:v>10.467289302601863</c:v>
                </c:pt>
                <c:pt idx="712">
                  <c:v>10.467289302601863</c:v>
                </c:pt>
                <c:pt idx="713">
                  <c:v>10.467289302601863</c:v>
                </c:pt>
                <c:pt idx="714">
                  <c:v>10.467289302601863</c:v>
                </c:pt>
                <c:pt idx="715">
                  <c:v>10.467289302601863</c:v>
                </c:pt>
                <c:pt idx="716">
                  <c:v>10.467289302601863</c:v>
                </c:pt>
                <c:pt idx="717">
                  <c:v>10.467289302601863</c:v>
                </c:pt>
                <c:pt idx="718">
                  <c:v>10.467289302601863</c:v>
                </c:pt>
                <c:pt idx="719">
                  <c:v>10.467289302601863</c:v>
                </c:pt>
                <c:pt idx="720">
                  <c:v>10.467289302601863</c:v>
                </c:pt>
                <c:pt idx="721">
                  <c:v>10.467289302601863</c:v>
                </c:pt>
                <c:pt idx="722">
                  <c:v>10.467289302601863</c:v>
                </c:pt>
                <c:pt idx="723">
                  <c:v>10.467289302601863</c:v>
                </c:pt>
                <c:pt idx="724">
                  <c:v>10.467289302601863</c:v>
                </c:pt>
                <c:pt idx="725">
                  <c:v>10.467289302601863</c:v>
                </c:pt>
                <c:pt idx="726">
                  <c:v>10.467289302601863</c:v>
                </c:pt>
                <c:pt idx="727">
                  <c:v>10.467289302601863</c:v>
                </c:pt>
                <c:pt idx="728">
                  <c:v>10.467289302601863</c:v>
                </c:pt>
                <c:pt idx="729">
                  <c:v>10.467289302601863</c:v>
                </c:pt>
                <c:pt idx="730">
                  <c:v>10.467289302601863</c:v>
                </c:pt>
                <c:pt idx="731">
                  <c:v>10.467289302601863</c:v>
                </c:pt>
                <c:pt idx="732">
                  <c:v>10.467289302601863</c:v>
                </c:pt>
                <c:pt idx="733">
                  <c:v>10.467289302601863</c:v>
                </c:pt>
                <c:pt idx="734">
                  <c:v>10.467289302601863</c:v>
                </c:pt>
                <c:pt idx="735">
                  <c:v>10.467289302601863</c:v>
                </c:pt>
                <c:pt idx="736">
                  <c:v>10.467289302601863</c:v>
                </c:pt>
                <c:pt idx="737">
                  <c:v>10.467289302601863</c:v>
                </c:pt>
                <c:pt idx="738">
                  <c:v>10.467289302601863</c:v>
                </c:pt>
                <c:pt idx="739">
                  <c:v>10.467289302601863</c:v>
                </c:pt>
                <c:pt idx="740">
                  <c:v>10.467289302601863</c:v>
                </c:pt>
                <c:pt idx="741">
                  <c:v>10.467289302601863</c:v>
                </c:pt>
                <c:pt idx="742">
                  <c:v>10.467289302601863</c:v>
                </c:pt>
                <c:pt idx="743">
                  <c:v>10.467289302601863</c:v>
                </c:pt>
                <c:pt idx="744">
                  <c:v>10.467289302601863</c:v>
                </c:pt>
                <c:pt idx="745">
                  <c:v>10.467289302601863</c:v>
                </c:pt>
                <c:pt idx="746">
                  <c:v>10.467289302601863</c:v>
                </c:pt>
                <c:pt idx="747">
                  <c:v>10.467289302601863</c:v>
                </c:pt>
                <c:pt idx="748">
                  <c:v>10.467289302601863</c:v>
                </c:pt>
                <c:pt idx="749">
                  <c:v>10.467289302601863</c:v>
                </c:pt>
                <c:pt idx="750">
                  <c:v>10.467289302601863</c:v>
                </c:pt>
                <c:pt idx="751">
                  <c:v>10.467289302601863</c:v>
                </c:pt>
                <c:pt idx="752">
                  <c:v>10.467289302601863</c:v>
                </c:pt>
                <c:pt idx="753">
                  <c:v>10.467289302601863</c:v>
                </c:pt>
                <c:pt idx="754">
                  <c:v>10.467289302601863</c:v>
                </c:pt>
                <c:pt idx="755">
                  <c:v>10.467289302601863</c:v>
                </c:pt>
                <c:pt idx="756">
                  <c:v>10.467289302601863</c:v>
                </c:pt>
                <c:pt idx="757">
                  <c:v>10.467289302601863</c:v>
                </c:pt>
                <c:pt idx="758">
                  <c:v>10.467289302601863</c:v>
                </c:pt>
                <c:pt idx="759">
                  <c:v>10.467289302601863</c:v>
                </c:pt>
                <c:pt idx="760">
                  <c:v>10.467289302601863</c:v>
                </c:pt>
                <c:pt idx="761">
                  <c:v>10.467289302601863</c:v>
                </c:pt>
                <c:pt idx="762">
                  <c:v>10.467289302601863</c:v>
                </c:pt>
                <c:pt idx="763">
                  <c:v>10.467289302601863</c:v>
                </c:pt>
                <c:pt idx="764">
                  <c:v>10.467289302601863</c:v>
                </c:pt>
                <c:pt idx="765">
                  <c:v>10.467289302601863</c:v>
                </c:pt>
                <c:pt idx="766">
                  <c:v>10.467289302601863</c:v>
                </c:pt>
                <c:pt idx="767">
                  <c:v>10.467289302601863</c:v>
                </c:pt>
                <c:pt idx="768">
                  <c:v>10.467289302601863</c:v>
                </c:pt>
                <c:pt idx="769">
                  <c:v>10.467289302601863</c:v>
                </c:pt>
                <c:pt idx="770">
                  <c:v>10.467289302601863</c:v>
                </c:pt>
                <c:pt idx="771">
                  <c:v>10.467289302601863</c:v>
                </c:pt>
                <c:pt idx="772">
                  <c:v>10.467289302601863</c:v>
                </c:pt>
                <c:pt idx="773">
                  <c:v>10.467289302601863</c:v>
                </c:pt>
                <c:pt idx="774">
                  <c:v>10.467289302601863</c:v>
                </c:pt>
                <c:pt idx="775">
                  <c:v>10.467289302601863</c:v>
                </c:pt>
                <c:pt idx="776">
                  <c:v>10.467289302601863</c:v>
                </c:pt>
                <c:pt idx="777">
                  <c:v>10.467289302601863</c:v>
                </c:pt>
                <c:pt idx="778">
                  <c:v>10.467289302601863</c:v>
                </c:pt>
                <c:pt idx="779">
                  <c:v>10.467289302601863</c:v>
                </c:pt>
                <c:pt idx="780">
                  <c:v>10.467289302601863</c:v>
                </c:pt>
                <c:pt idx="781">
                  <c:v>10.467289302601863</c:v>
                </c:pt>
                <c:pt idx="782">
                  <c:v>10.467289302601863</c:v>
                </c:pt>
                <c:pt idx="783">
                  <c:v>10.467289302601863</c:v>
                </c:pt>
                <c:pt idx="784">
                  <c:v>10.467289302601863</c:v>
                </c:pt>
                <c:pt idx="785">
                  <c:v>10.467289302601863</c:v>
                </c:pt>
                <c:pt idx="786">
                  <c:v>10.467289302601863</c:v>
                </c:pt>
                <c:pt idx="787">
                  <c:v>10.467289302601863</c:v>
                </c:pt>
                <c:pt idx="788">
                  <c:v>10.467289302601863</c:v>
                </c:pt>
                <c:pt idx="789">
                  <c:v>10.467289302601863</c:v>
                </c:pt>
                <c:pt idx="790">
                  <c:v>10.467289302601863</c:v>
                </c:pt>
                <c:pt idx="791">
                  <c:v>10.467289302601863</c:v>
                </c:pt>
                <c:pt idx="792">
                  <c:v>10.467289302601863</c:v>
                </c:pt>
                <c:pt idx="793">
                  <c:v>10.467289302601863</c:v>
                </c:pt>
                <c:pt idx="794">
                  <c:v>10.467289302601863</c:v>
                </c:pt>
                <c:pt idx="795">
                  <c:v>10.467289302601863</c:v>
                </c:pt>
                <c:pt idx="796">
                  <c:v>10.467289302601863</c:v>
                </c:pt>
                <c:pt idx="797">
                  <c:v>10.467289302601863</c:v>
                </c:pt>
                <c:pt idx="798">
                  <c:v>10.467289302601863</c:v>
                </c:pt>
                <c:pt idx="799">
                  <c:v>10.467289302601863</c:v>
                </c:pt>
                <c:pt idx="800">
                  <c:v>10.467289302601863</c:v>
                </c:pt>
                <c:pt idx="801">
                  <c:v>10.467289302601863</c:v>
                </c:pt>
                <c:pt idx="802">
                  <c:v>10.467289302601863</c:v>
                </c:pt>
                <c:pt idx="803">
                  <c:v>10.467289302601863</c:v>
                </c:pt>
                <c:pt idx="804">
                  <c:v>10.467289302601863</c:v>
                </c:pt>
                <c:pt idx="805">
                  <c:v>10.467289302601863</c:v>
                </c:pt>
                <c:pt idx="806">
                  <c:v>10.467289302601863</c:v>
                </c:pt>
                <c:pt idx="807">
                  <c:v>10.467289302601863</c:v>
                </c:pt>
                <c:pt idx="808">
                  <c:v>10.467289302601863</c:v>
                </c:pt>
                <c:pt idx="809">
                  <c:v>10.467289302601863</c:v>
                </c:pt>
                <c:pt idx="810">
                  <c:v>10.467289302601863</c:v>
                </c:pt>
                <c:pt idx="811">
                  <c:v>10.467289302601863</c:v>
                </c:pt>
                <c:pt idx="812">
                  <c:v>10.467289302601863</c:v>
                </c:pt>
                <c:pt idx="813">
                  <c:v>10.467289302601863</c:v>
                </c:pt>
                <c:pt idx="814">
                  <c:v>10.467289302601863</c:v>
                </c:pt>
                <c:pt idx="815">
                  <c:v>10.467289302601863</c:v>
                </c:pt>
                <c:pt idx="816">
                  <c:v>10.467289302601863</c:v>
                </c:pt>
                <c:pt idx="817">
                  <c:v>10.467289302601863</c:v>
                </c:pt>
                <c:pt idx="818">
                  <c:v>10.467289302601863</c:v>
                </c:pt>
                <c:pt idx="819">
                  <c:v>10.467289302601863</c:v>
                </c:pt>
                <c:pt idx="820">
                  <c:v>10.467289302601863</c:v>
                </c:pt>
                <c:pt idx="821">
                  <c:v>10.467289302601863</c:v>
                </c:pt>
                <c:pt idx="822">
                  <c:v>10.467289302601863</c:v>
                </c:pt>
                <c:pt idx="823">
                  <c:v>10.467289302601863</c:v>
                </c:pt>
                <c:pt idx="824">
                  <c:v>10.467289302601863</c:v>
                </c:pt>
                <c:pt idx="825">
                  <c:v>10.467289302601863</c:v>
                </c:pt>
                <c:pt idx="826">
                  <c:v>10.467289302601863</c:v>
                </c:pt>
                <c:pt idx="827">
                  <c:v>10.467289302601863</c:v>
                </c:pt>
                <c:pt idx="828">
                  <c:v>10.467289302601863</c:v>
                </c:pt>
                <c:pt idx="829">
                  <c:v>10.467289302601863</c:v>
                </c:pt>
                <c:pt idx="830">
                  <c:v>10.467289302601863</c:v>
                </c:pt>
                <c:pt idx="831">
                  <c:v>10.467289302601863</c:v>
                </c:pt>
                <c:pt idx="832">
                  <c:v>10.467289302601863</c:v>
                </c:pt>
                <c:pt idx="833">
                  <c:v>10.467289302601863</c:v>
                </c:pt>
                <c:pt idx="834">
                  <c:v>10.467289302601863</c:v>
                </c:pt>
                <c:pt idx="835">
                  <c:v>10.467289302601863</c:v>
                </c:pt>
                <c:pt idx="836">
                  <c:v>10.467289302601863</c:v>
                </c:pt>
                <c:pt idx="837">
                  <c:v>10.467289302601863</c:v>
                </c:pt>
                <c:pt idx="838">
                  <c:v>10.467289302601863</c:v>
                </c:pt>
                <c:pt idx="839">
                  <c:v>10.467289302601863</c:v>
                </c:pt>
                <c:pt idx="840">
                  <c:v>10.467289302601863</c:v>
                </c:pt>
                <c:pt idx="841">
                  <c:v>10.467289302601863</c:v>
                </c:pt>
                <c:pt idx="842">
                  <c:v>10.467289302601863</c:v>
                </c:pt>
                <c:pt idx="843">
                  <c:v>10.467289302601863</c:v>
                </c:pt>
                <c:pt idx="844">
                  <c:v>10.467289302601863</c:v>
                </c:pt>
                <c:pt idx="845">
                  <c:v>10.467289302601863</c:v>
                </c:pt>
                <c:pt idx="846">
                  <c:v>10.467289302601863</c:v>
                </c:pt>
                <c:pt idx="847">
                  <c:v>10.467289302601863</c:v>
                </c:pt>
                <c:pt idx="848">
                  <c:v>10.467289302601863</c:v>
                </c:pt>
                <c:pt idx="849">
                  <c:v>10.467289302601863</c:v>
                </c:pt>
                <c:pt idx="850">
                  <c:v>10.467289302601863</c:v>
                </c:pt>
                <c:pt idx="851">
                  <c:v>10.467289302601863</c:v>
                </c:pt>
                <c:pt idx="852">
                  <c:v>10.467289302601863</c:v>
                </c:pt>
                <c:pt idx="853">
                  <c:v>10.467289302601863</c:v>
                </c:pt>
                <c:pt idx="854">
                  <c:v>10.467289302601863</c:v>
                </c:pt>
                <c:pt idx="855">
                  <c:v>10.467289302601863</c:v>
                </c:pt>
                <c:pt idx="856">
                  <c:v>10.467289302601863</c:v>
                </c:pt>
                <c:pt idx="857">
                  <c:v>10.467289302601863</c:v>
                </c:pt>
                <c:pt idx="858">
                  <c:v>10.467289302601863</c:v>
                </c:pt>
                <c:pt idx="859">
                  <c:v>10.467289302601863</c:v>
                </c:pt>
                <c:pt idx="860">
                  <c:v>10.467289302601863</c:v>
                </c:pt>
                <c:pt idx="861">
                  <c:v>10.467289302601863</c:v>
                </c:pt>
                <c:pt idx="862">
                  <c:v>10.467289302601863</c:v>
                </c:pt>
                <c:pt idx="863">
                  <c:v>10.467289302601863</c:v>
                </c:pt>
                <c:pt idx="864">
                  <c:v>10.467289302601863</c:v>
                </c:pt>
                <c:pt idx="865">
                  <c:v>10.467289302601863</c:v>
                </c:pt>
                <c:pt idx="866">
                  <c:v>10.467289302601863</c:v>
                </c:pt>
                <c:pt idx="867">
                  <c:v>10.467289302601863</c:v>
                </c:pt>
                <c:pt idx="868">
                  <c:v>10.467289302601863</c:v>
                </c:pt>
                <c:pt idx="869">
                  <c:v>10.467289302601863</c:v>
                </c:pt>
                <c:pt idx="870">
                  <c:v>10.467289302601863</c:v>
                </c:pt>
                <c:pt idx="871">
                  <c:v>10.467289302601863</c:v>
                </c:pt>
                <c:pt idx="872">
                  <c:v>10.467289302601863</c:v>
                </c:pt>
                <c:pt idx="873">
                  <c:v>10.467289302601863</c:v>
                </c:pt>
                <c:pt idx="874">
                  <c:v>10.467289302601863</c:v>
                </c:pt>
                <c:pt idx="875">
                  <c:v>10.467289302601863</c:v>
                </c:pt>
                <c:pt idx="876">
                  <c:v>10.467289302601863</c:v>
                </c:pt>
                <c:pt idx="877">
                  <c:v>10.467289302601863</c:v>
                </c:pt>
                <c:pt idx="878">
                  <c:v>10.467289302601863</c:v>
                </c:pt>
                <c:pt idx="879">
                  <c:v>10.467289302601863</c:v>
                </c:pt>
                <c:pt idx="880">
                  <c:v>10.467289302601863</c:v>
                </c:pt>
                <c:pt idx="881">
                  <c:v>10.467289302601863</c:v>
                </c:pt>
                <c:pt idx="882">
                  <c:v>10.467289302601863</c:v>
                </c:pt>
                <c:pt idx="883">
                  <c:v>10.467289302601863</c:v>
                </c:pt>
                <c:pt idx="884">
                  <c:v>10.467289302601863</c:v>
                </c:pt>
                <c:pt idx="885">
                  <c:v>10.467289302601863</c:v>
                </c:pt>
                <c:pt idx="886">
                  <c:v>10.467289302601863</c:v>
                </c:pt>
                <c:pt idx="887">
                  <c:v>10.467289302601863</c:v>
                </c:pt>
                <c:pt idx="888">
                  <c:v>10.467289302601863</c:v>
                </c:pt>
                <c:pt idx="889">
                  <c:v>10.467289302601863</c:v>
                </c:pt>
                <c:pt idx="890">
                  <c:v>10.467289302601863</c:v>
                </c:pt>
                <c:pt idx="891">
                  <c:v>10.467289302601863</c:v>
                </c:pt>
              </c:numCache>
            </c:numRef>
          </c:val>
          <c:smooth val="0"/>
          <c:extLst>
            <c:ext xmlns:c16="http://schemas.microsoft.com/office/drawing/2014/chart" uri="{C3380CC4-5D6E-409C-BE32-E72D297353CC}">
              <c16:uniqueId val="{00000005-484C-4F9E-91BA-8A726FFABB09}"/>
            </c:ext>
          </c:extLst>
        </c:ser>
        <c:dLbls>
          <c:showLegendKey val="0"/>
          <c:showVal val="0"/>
          <c:showCatName val="0"/>
          <c:showSerName val="0"/>
          <c:showPercent val="0"/>
          <c:showBubbleSize val="0"/>
        </c:dLbls>
        <c:marker val="1"/>
        <c:smooth val="0"/>
        <c:axId val="922392832"/>
        <c:axId val="923154688"/>
      </c:lineChart>
      <c:lineChart>
        <c:grouping val="standard"/>
        <c:varyColors val="0"/>
        <c:ser>
          <c:idx val="6"/>
          <c:order val="6"/>
          <c:tx>
            <c:strRef>
              <c:f>EMU!$AD$7</c:f>
              <c:strCache>
                <c:ptCount val="1"/>
                <c:pt idx="0">
                  <c:v>EMU (rhs)</c:v>
                </c:pt>
              </c:strCache>
            </c:strRef>
          </c:tx>
          <c:spPr>
            <a:ln w="19050" cap="rnd" cmpd="sng" algn="ctr">
              <a:solidFill>
                <a:srgbClr val="B0B0B0"/>
              </a:solidFill>
              <a:prstDash val="solid"/>
              <a:round/>
              <a:headEnd type="none" w="med" len="med"/>
              <a:tailEnd type="none" w="med" len="med"/>
            </a:ln>
            <a:effectLst/>
          </c:spPr>
          <c:marker>
            <c:symbol val="none"/>
          </c:marker>
          <c:dPt>
            <c:idx val="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0-82FC-421B-A80E-67ACC5454550}"/>
              </c:ext>
            </c:extLst>
          </c:dPt>
          <c:dPt>
            <c:idx val="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1-82FC-421B-A80E-67ACC5454550}"/>
              </c:ext>
            </c:extLst>
          </c:dPt>
          <c:dPt>
            <c:idx val="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2-82FC-421B-A80E-67ACC5454550}"/>
              </c:ext>
            </c:extLst>
          </c:dPt>
          <c:dPt>
            <c:idx val="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3-82FC-421B-A80E-67ACC5454550}"/>
              </c:ext>
            </c:extLst>
          </c:dPt>
          <c:dPt>
            <c:idx val="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4-82FC-421B-A80E-67ACC5454550}"/>
              </c:ext>
            </c:extLst>
          </c:dPt>
          <c:dPt>
            <c:idx val="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5-82FC-421B-A80E-67ACC5454550}"/>
              </c:ext>
            </c:extLst>
          </c:dPt>
          <c:dPt>
            <c:idx val="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6-82FC-421B-A80E-67ACC5454550}"/>
              </c:ext>
            </c:extLst>
          </c:dPt>
          <c:dPt>
            <c:idx val="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7-82FC-421B-A80E-67ACC5454550}"/>
              </c:ext>
            </c:extLst>
          </c:dPt>
          <c:dPt>
            <c:idx val="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8-82FC-421B-A80E-67ACC5454550}"/>
              </c:ext>
            </c:extLst>
          </c:dPt>
          <c:dPt>
            <c:idx val="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9-82FC-421B-A80E-67ACC5454550}"/>
              </c:ext>
            </c:extLst>
          </c:dPt>
          <c:dPt>
            <c:idx val="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A-82FC-421B-A80E-67ACC5454550}"/>
              </c:ext>
            </c:extLst>
          </c:dPt>
          <c:dPt>
            <c:idx val="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B-82FC-421B-A80E-67ACC5454550}"/>
              </c:ext>
            </c:extLst>
          </c:dPt>
          <c:dPt>
            <c:idx val="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C-82FC-421B-A80E-67ACC5454550}"/>
              </c:ext>
            </c:extLst>
          </c:dPt>
          <c:dPt>
            <c:idx val="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D-82FC-421B-A80E-67ACC5454550}"/>
              </c:ext>
            </c:extLst>
          </c:dPt>
          <c:dPt>
            <c:idx val="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E-82FC-421B-A80E-67ACC5454550}"/>
              </c:ext>
            </c:extLst>
          </c:dPt>
          <c:dPt>
            <c:idx val="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0F-82FC-421B-A80E-67ACC5454550}"/>
              </c:ext>
            </c:extLst>
          </c:dPt>
          <c:dPt>
            <c:idx val="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0-82FC-421B-A80E-67ACC5454550}"/>
              </c:ext>
            </c:extLst>
          </c:dPt>
          <c:dPt>
            <c:idx val="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1-82FC-421B-A80E-67ACC5454550}"/>
              </c:ext>
            </c:extLst>
          </c:dPt>
          <c:dPt>
            <c:idx val="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2-82FC-421B-A80E-67ACC5454550}"/>
              </c:ext>
            </c:extLst>
          </c:dPt>
          <c:dPt>
            <c:idx val="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3-82FC-421B-A80E-67ACC5454550}"/>
              </c:ext>
            </c:extLst>
          </c:dPt>
          <c:dPt>
            <c:idx val="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4-82FC-421B-A80E-67ACC5454550}"/>
              </c:ext>
            </c:extLst>
          </c:dPt>
          <c:dPt>
            <c:idx val="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5-82FC-421B-A80E-67ACC5454550}"/>
              </c:ext>
            </c:extLst>
          </c:dPt>
          <c:dPt>
            <c:idx val="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6-82FC-421B-A80E-67ACC5454550}"/>
              </c:ext>
            </c:extLst>
          </c:dPt>
          <c:dPt>
            <c:idx val="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7-82FC-421B-A80E-67ACC5454550}"/>
              </c:ext>
            </c:extLst>
          </c:dPt>
          <c:dPt>
            <c:idx val="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8-82FC-421B-A80E-67ACC5454550}"/>
              </c:ext>
            </c:extLst>
          </c:dPt>
          <c:dPt>
            <c:idx val="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9-82FC-421B-A80E-67ACC5454550}"/>
              </c:ext>
            </c:extLst>
          </c:dPt>
          <c:dPt>
            <c:idx val="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A-82FC-421B-A80E-67ACC5454550}"/>
              </c:ext>
            </c:extLst>
          </c:dPt>
          <c:dPt>
            <c:idx val="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B-82FC-421B-A80E-67ACC5454550}"/>
              </c:ext>
            </c:extLst>
          </c:dPt>
          <c:dPt>
            <c:idx val="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C-82FC-421B-A80E-67ACC5454550}"/>
              </c:ext>
            </c:extLst>
          </c:dPt>
          <c:dPt>
            <c:idx val="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D-82FC-421B-A80E-67ACC5454550}"/>
              </c:ext>
            </c:extLst>
          </c:dPt>
          <c:dPt>
            <c:idx val="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E-82FC-421B-A80E-67ACC5454550}"/>
              </c:ext>
            </c:extLst>
          </c:dPt>
          <c:dPt>
            <c:idx val="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1F-82FC-421B-A80E-67ACC5454550}"/>
              </c:ext>
            </c:extLst>
          </c:dPt>
          <c:dPt>
            <c:idx val="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0-82FC-421B-A80E-67ACC5454550}"/>
              </c:ext>
            </c:extLst>
          </c:dPt>
          <c:dPt>
            <c:idx val="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1-82FC-421B-A80E-67ACC5454550}"/>
              </c:ext>
            </c:extLst>
          </c:dPt>
          <c:dPt>
            <c:idx val="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2-82FC-421B-A80E-67ACC5454550}"/>
              </c:ext>
            </c:extLst>
          </c:dPt>
          <c:dPt>
            <c:idx val="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3-82FC-421B-A80E-67ACC5454550}"/>
              </c:ext>
            </c:extLst>
          </c:dPt>
          <c:dPt>
            <c:idx val="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4-82FC-421B-A80E-67ACC5454550}"/>
              </c:ext>
            </c:extLst>
          </c:dPt>
          <c:dPt>
            <c:idx val="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5-82FC-421B-A80E-67ACC5454550}"/>
              </c:ext>
            </c:extLst>
          </c:dPt>
          <c:dPt>
            <c:idx val="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6-82FC-421B-A80E-67ACC5454550}"/>
              </c:ext>
            </c:extLst>
          </c:dPt>
          <c:dPt>
            <c:idx val="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7-82FC-421B-A80E-67ACC5454550}"/>
              </c:ext>
            </c:extLst>
          </c:dPt>
          <c:dPt>
            <c:idx val="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8-82FC-421B-A80E-67ACC5454550}"/>
              </c:ext>
            </c:extLst>
          </c:dPt>
          <c:dPt>
            <c:idx val="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9-82FC-421B-A80E-67ACC5454550}"/>
              </c:ext>
            </c:extLst>
          </c:dPt>
          <c:dPt>
            <c:idx val="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A-82FC-421B-A80E-67ACC5454550}"/>
              </c:ext>
            </c:extLst>
          </c:dPt>
          <c:dPt>
            <c:idx val="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B-82FC-421B-A80E-67ACC5454550}"/>
              </c:ext>
            </c:extLst>
          </c:dPt>
          <c:dPt>
            <c:idx val="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C-82FC-421B-A80E-67ACC5454550}"/>
              </c:ext>
            </c:extLst>
          </c:dPt>
          <c:dPt>
            <c:idx val="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D-82FC-421B-A80E-67ACC5454550}"/>
              </c:ext>
            </c:extLst>
          </c:dPt>
          <c:dPt>
            <c:idx val="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E-82FC-421B-A80E-67ACC5454550}"/>
              </c:ext>
            </c:extLst>
          </c:dPt>
          <c:dPt>
            <c:idx val="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2F-82FC-421B-A80E-67ACC5454550}"/>
              </c:ext>
            </c:extLst>
          </c:dPt>
          <c:dPt>
            <c:idx val="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0-82FC-421B-A80E-67ACC5454550}"/>
              </c:ext>
            </c:extLst>
          </c:dPt>
          <c:dPt>
            <c:idx val="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1-82FC-421B-A80E-67ACC5454550}"/>
              </c:ext>
            </c:extLst>
          </c:dPt>
          <c:dPt>
            <c:idx val="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2-82FC-421B-A80E-67ACC5454550}"/>
              </c:ext>
            </c:extLst>
          </c:dPt>
          <c:dPt>
            <c:idx val="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3-82FC-421B-A80E-67ACC5454550}"/>
              </c:ext>
            </c:extLst>
          </c:dPt>
          <c:dPt>
            <c:idx val="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4-82FC-421B-A80E-67ACC5454550}"/>
              </c:ext>
            </c:extLst>
          </c:dPt>
          <c:dPt>
            <c:idx val="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5-82FC-421B-A80E-67ACC5454550}"/>
              </c:ext>
            </c:extLst>
          </c:dPt>
          <c:dPt>
            <c:idx val="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6-82FC-421B-A80E-67ACC5454550}"/>
              </c:ext>
            </c:extLst>
          </c:dPt>
          <c:dPt>
            <c:idx val="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7-82FC-421B-A80E-67ACC5454550}"/>
              </c:ext>
            </c:extLst>
          </c:dPt>
          <c:dPt>
            <c:idx val="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8-82FC-421B-A80E-67ACC5454550}"/>
              </c:ext>
            </c:extLst>
          </c:dPt>
          <c:dPt>
            <c:idx val="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9-82FC-421B-A80E-67ACC5454550}"/>
              </c:ext>
            </c:extLst>
          </c:dPt>
          <c:dPt>
            <c:idx val="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A-82FC-421B-A80E-67ACC5454550}"/>
              </c:ext>
            </c:extLst>
          </c:dPt>
          <c:dPt>
            <c:idx val="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B-82FC-421B-A80E-67ACC5454550}"/>
              </c:ext>
            </c:extLst>
          </c:dPt>
          <c:dPt>
            <c:idx val="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C-82FC-421B-A80E-67ACC5454550}"/>
              </c:ext>
            </c:extLst>
          </c:dPt>
          <c:dPt>
            <c:idx val="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D-82FC-421B-A80E-67ACC5454550}"/>
              </c:ext>
            </c:extLst>
          </c:dPt>
          <c:dPt>
            <c:idx val="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E-82FC-421B-A80E-67ACC5454550}"/>
              </c:ext>
            </c:extLst>
          </c:dPt>
          <c:dPt>
            <c:idx val="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3F-82FC-421B-A80E-67ACC5454550}"/>
              </c:ext>
            </c:extLst>
          </c:dPt>
          <c:dPt>
            <c:idx val="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0-82FC-421B-A80E-67ACC5454550}"/>
              </c:ext>
            </c:extLst>
          </c:dPt>
          <c:dPt>
            <c:idx val="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1-82FC-421B-A80E-67ACC5454550}"/>
              </c:ext>
            </c:extLst>
          </c:dPt>
          <c:dPt>
            <c:idx val="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2-82FC-421B-A80E-67ACC5454550}"/>
              </c:ext>
            </c:extLst>
          </c:dPt>
          <c:dPt>
            <c:idx val="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3-82FC-421B-A80E-67ACC5454550}"/>
              </c:ext>
            </c:extLst>
          </c:dPt>
          <c:dPt>
            <c:idx val="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4-82FC-421B-A80E-67ACC5454550}"/>
              </c:ext>
            </c:extLst>
          </c:dPt>
          <c:dPt>
            <c:idx val="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5-82FC-421B-A80E-67ACC5454550}"/>
              </c:ext>
            </c:extLst>
          </c:dPt>
          <c:dPt>
            <c:idx val="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6-82FC-421B-A80E-67ACC5454550}"/>
              </c:ext>
            </c:extLst>
          </c:dPt>
          <c:dPt>
            <c:idx val="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7-82FC-421B-A80E-67ACC5454550}"/>
              </c:ext>
            </c:extLst>
          </c:dPt>
          <c:dPt>
            <c:idx val="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8-82FC-421B-A80E-67ACC5454550}"/>
              </c:ext>
            </c:extLst>
          </c:dPt>
          <c:dPt>
            <c:idx val="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9-82FC-421B-A80E-67ACC5454550}"/>
              </c:ext>
            </c:extLst>
          </c:dPt>
          <c:dPt>
            <c:idx val="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A-82FC-421B-A80E-67ACC5454550}"/>
              </c:ext>
            </c:extLst>
          </c:dPt>
          <c:dPt>
            <c:idx val="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B-82FC-421B-A80E-67ACC5454550}"/>
              </c:ext>
            </c:extLst>
          </c:dPt>
          <c:dPt>
            <c:idx val="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C-82FC-421B-A80E-67ACC5454550}"/>
              </c:ext>
            </c:extLst>
          </c:dPt>
          <c:dPt>
            <c:idx val="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D-82FC-421B-A80E-67ACC5454550}"/>
              </c:ext>
            </c:extLst>
          </c:dPt>
          <c:dPt>
            <c:idx val="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E-82FC-421B-A80E-67ACC5454550}"/>
              </c:ext>
            </c:extLst>
          </c:dPt>
          <c:dPt>
            <c:idx val="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4F-82FC-421B-A80E-67ACC5454550}"/>
              </c:ext>
            </c:extLst>
          </c:dPt>
          <c:dPt>
            <c:idx val="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0-82FC-421B-A80E-67ACC5454550}"/>
              </c:ext>
            </c:extLst>
          </c:dPt>
          <c:dPt>
            <c:idx val="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1-82FC-421B-A80E-67ACC5454550}"/>
              </c:ext>
            </c:extLst>
          </c:dPt>
          <c:dPt>
            <c:idx val="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2-82FC-421B-A80E-67ACC5454550}"/>
              </c:ext>
            </c:extLst>
          </c:dPt>
          <c:dPt>
            <c:idx val="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3-82FC-421B-A80E-67ACC5454550}"/>
              </c:ext>
            </c:extLst>
          </c:dPt>
          <c:dPt>
            <c:idx val="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4-82FC-421B-A80E-67ACC5454550}"/>
              </c:ext>
            </c:extLst>
          </c:dPt>
          <c:dPt>
            <c:idx val="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5-82FC-421B-A80E-67ACC5454550}"/>
              </c:ext>
            </c:extLst>
          </c:dPt>
          <c:dPt>
            <c:idx val="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6-82FC-421B-A80E-67ACC5454550}"/>
              </c:ext>
            </c:extLst>
          </c:dPt>
          <c:dPt>
            <c:idx val="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7-82FC-421B-A80E-67ACC5454550}"/>
              </c:ext>
            </c:extLst>
          </c:dPt>
          <c:dPt>
            <c:idx val="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8-82FC-421B-A80E-67ACC5454550}"/>
              </c:ext>
            </c:extLst>
          </c:dPt>
          <c:dPt>
            <c:idx val="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9-82FC-421B-A80E-67ACC5454550}"/>
              </c:ext>
            </c:extLst>
          </c:dPt>
          <c:dPt>
            <c:idx val="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A-82FC-421B-A80E-67ACC5454550}"/>
              </c:ext>
            </c:extLst>
          </c:dPt>
          <c:dPt>
            <c:idx val="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B-82FC-421B-A80E-67ACC5454550}"/>
              </c:ext>
            </c:extLst>
          </c:dPt>
          <c:dPt>
            <c:idx val="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C-82FC-421B-A80E-67ACC5454550}"/>
              </c:ext>
            </c:extLst>
          </c:dPt>
          <c:dPt>
            <c:idx val="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D-82FC-421B-A80E-67ACC5454550}"/>
              </c:ext>
            </c:extLst>
          </c:dPt>
          <c:dPt>
            <c:idx val="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E-82FC-421B-A80E-67ACC5454550}"/>
              </c:ext>
            </c:extLst>
          </c:dPt>
          <c:dPt>
            <c:idx val="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5F-82FC-421B-A80E-67ACC5454550}"/>
              </c:ext>
            </c:extLst>
          </c:dPt>
          <c:dPt>
            <c:idx val="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0-82FC-421B-A80E-67ACC5454550}"/>
              </c:ext>
            </c:extLst>
          </c:dPt>
          <c:dPt>
            <c:idx val="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1-82FC-421B-A80E-67ACC5454550}"/>
              </c:ext>
            </c:extLst>
          </c:dPt>
          <c:dPt>
            <c:idx val="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2-82FC-421B-A80E-67ACC5454550}"/>
              </c:ext>
            </c:extLst>
          </c:dPt>
          <c:dPt>
            <c:idx val="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3-82FC-421B-A80E-67ACC5454550}"/>
              </c:ext>
            </c:extLst>
          </c:dPt>
          <c:dPt>
            <c:idx val="1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4-82FC-421B-A80E-67ACC5454550}"/>
              </c:ext>
            </c:extLst>
          </c:dPt>
          <c:dPt>
            <c:idx val="1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5-82FC-421B-A80E-67ACC5454550}"/>
              </c:ext>
            </c:extLst>
          </c:dPt>
          <c:dPt>
            <c:idx val="1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6-82FC-421B-A80E-67ACC5454550}"/>
              </c:ext>
            </c:extLst>
          </c:dPt>
          <c:dPt>
            <c:idx val="1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7-82FC-421B-A80E-67ACC5454550}"/>
              </c:ext>
            </c:extLst>
          </c:dPt>
          <c:dPt>
            <c:idx val="1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8-82FC-421B-A80E-67ACC5454550}"/>
              </c:ext>
            </c:extLst>
          </c:dPt>
          <c:dPt>
            <c:idx val="1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9-82FC-421B-A80E-67ACC5454550}"/>
              </c:ext>
            </c:extLst>
          </c:dPt>
          <c:dPt>
            <c:idx val="1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A-82FC-421B-A80E-67ACC5454550}"/>
              </c:ext>
            </c:extLst>
          </c:dPt>
          <c:dPt>
            <c:idx val="1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B-82FC-421B-A80E-67ACC5454550}"/>
              </c:ext>
            </c:extLst>
          </c:dPt>
          <c:dPt>
            <c:idx val="1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C-82FC-421B-A80E-67ACC5454550}"/>
              </c:ext>
            </c:extLst>
          </c:dPt>
          <c:dPt>
            <c:idx val="1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D-82FC-421B-A80E-67ACC5454550}"/>
              </c:ext>
            </c:extLst>
          </c:dPt>
          <c:dPt>
            <c:idx val="1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E-82FC-421B-A80E-67ACC5454550}"/>
              </c:ext>
            </c:extLst>
          </c:dPt>
          <c:dPt>
            <c:idx val="1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6F-82FC-421B-A80E-67ACC5454550}"/>
              </c:ext>
            </c:extLst>
          </c:dPt>
          <c:dPt>
            <c:idx val="1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0-82FC-421B-A80E-67ACC5454550}"/>
              </c:ext>
            </c:extLst>
          </c:dPt>
          <c:dPt>
            <c:idx val="1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1-82FC-421B-A80E-67ACC5454550}"/>
              </c:ext>
            </c:extLst>
          </c:dPt>
          <c:dPt>
            <c:idx val="1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2-82FC-421B-A80E-67ACC5454550}"/>
              </c:ext>
            </c:extLst>
          </c:dPt>
          <c:dPt>
            <c:idx val="1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3-82FC-421B-A80E-67ACC5454550}"/>
              </c:ext>
            </c:extLst>
          </c:dPt>
          <c:dPt>
            <c:idx val="1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4-82FC-421B-A80E-67ACC5454550}"/>
              </c:ext>
            </c:extLst>
          </c:dPt>
          <c:dPt>
            <c:idx val="1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5-82FC-421B-A80E-67ACC5454550}"/>
              </c:ext>
            </c:extLst>
          </c:dPt>
          <c:dPt>
            <c:idx val="1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6-82FC-421B-A80E-67ACC5454550}"/>
              </c:ext>
            </c:extLst>
          </c:dPt>
          <c:dPt>
            <c:idx val="1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7-82FC-421B-A80E-67ACC5454550}"/>
              </c:ext>
            </c:extLst>
          </c:dPt>
          <c:dPt>
            <c:idx val="1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8-82FC-421B-A80E-67ACC5454550}"/>
              </c:ext>
            </c:extLst>
          </c:dPt>
          <c:dPt>
            <c:idx val="1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9-82FC-421B-A80E-67ACC5454550}"/>
              </c:ext>
            </c:extLst>
          </c:dPt>
          <c:dPt>
            <c:idx val="1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A-82FC-421B-A80E-67ACC5454550}"/>
              </c:ext>
            </c:extLst>
          </c:dPt>
          <c:dPt>
            <c:idx val="1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B-82FC-421B-A80E-67ACC5454550}"/>
              </c:ext>
            </c:extLst>
          </c:dPt>
          <c:dPt>
            <c:idx val="1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C-82FC-421B-A80E-67ACC5454550}"/>
              </c:ext>
            </c:extLst>
          </c:dPt>
          <c:dPt>
            <c:idx val="1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D-82FC-421B-A80E-67ACC5454550}"/>
              </c:ext>
            </c:extLst>
          </c:dPt>
          <c:dPt>
            <c:idx val="1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E-82FC-421B-A80E-67ACC5454550}"/>
              </c:ext>
            </c:extLst>
          </c:dPt>
          <c:dPt>
            <c:idx val="1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7F-82FC-421B-A80E-67ACC5454550}"/>
              </c:ext>
            </c:extLst>
          </c:dPt>
          <c:dPt>
            <c:idx val="1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0-82FC-421B-A80E-67ACC5454550}"/>
              </c:ext>
            </c:extLst>
          </c:dPt>
          <c:dPt>
            <c:idx val="1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1-82FC-421B-A80E-67ACC5454550}"/>
              </c:ext>
            </c:extLst>
          </c:dPt>
          <c:dPt>
            <c:idx val="1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2-82FC-421B-A80E-67ACC5454550}"/>
              </c:ext>
            </c:extLst>
          </c:dPt>
          <c:dPt>
            <c:idx val="1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3-82FC-421B-A80E-67ACC5454550}"/>
              </c:ext>
            </c:extLst>
          </c:dPt>
          <c:dPt>
            <c:idx val="1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4-82FC-421B-A80E-67ACC5454550}"/>
              </c:ext>
            </c:extLst>
          </c:dPt>
          <c:dPt>
            <c:idx val="1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5-82FC-421B-A80E-67ACC5454550}"/>
              </c:ext>
            </c:extLst>
          </c:dPt>
          <c:dPt>
            <c:idx val="1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6-82FC-421B-A80E-67ACC5454550}"/>
              </c:ext>
            </c:extLst>
          </c:dPt>
          <c:dPt>
            <c:idx val="1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7-82FC-421B-A80E-67ACC5454550}"/>
              </c:ext>
            </c:extLst>
          </c:dPt>
          <c:dPt>
            <c:idx val="1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8-82FC-421B-A80E-67ACC5454550}"/>
              </c:ext>
            </c:extLst>
          </c:dPt>
          <c:dPt>
            <c:idx val="1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9-82FC-421B-A80E-67ACC5454550}"/>
              </c:ext>
            </c:extLst>
          </c:dPt>
          <c:dPt>
            <c:idx val="1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A-82FC-421B-A80E-67ACC5454550}"/>
              </c:ext>
            </c:extLst>
          </c:dPt>
          <c:dPt>
            <c:idx val="1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B-82FC-421B-A80E-67ACC5454550}"/>
              </c:ext>
            </c:extLst>
          </c:dPt>
          <c:dPt>
            <c:idx val="1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C-82FC-421B-A80E-67ACC5454550}"/>
              </c:ext>
            </c:extLst>
          </c:dPt>
          <c:dPt>
            <c:idx val="1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D-82FC-421B-A80E-67ACC5454550}"/>
              </c:ext>
            </c:extLst>
          </c:dPt>
          <c:dPt>
            <c:idx val="1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E-82FC-421B-A80E-67ACC5454550}"/>
              </c:ext>
            </c:extLst>
          </c:dPt>
          <c:dPt>
            <c:idx val="1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8F-82FC-421B-A80E-67ACC5454550}"/>
              </c:ext>
            </c:extLst>
          </c:dPt>
          <c:dPt>
            <c:idx val="1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0-82FC-421B-A80E-67ACC5454550}"/>
              </c:ext>
            </c:extLst>
          </c:dPt>
          <c:dPt>
            <c:idx val="1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1-82FC-421B-A80E-67ACC5454550}"/>
              </c:ext>
            </c:extLst>
          </c:dPt>
          <c:dPt>
            <c:idx val="1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2-82FC-421B-A80E-67ACC5454550}"/>
              </c:ext>
            </c:extLst>
          </c:dPt>
          <c:dPt>
            <c:idx val="1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3-82FC-421B-A80E-67ACC5454550}"/>
              </c:ext>
            </c:extLst>
          </c:dPt>
          <c:dPt>
            <c:idx val="1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4-82FC-421B-A80E-67ACC5454550}"/>
              </c:ext>
            </c:extLst>
          </c:dPt>
          <c:dPt>
            <c:idx val="1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5-82FC-421B-A80E-67ACC5454550}"/>
              </c:ext>
            </c:extLst>
          </c:dPt>
          <c:dPt>
            <c:idx val="1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6-82FC-421B-A80E-67ACC5454550}"/>
              </c:ext>
            </c:extLst>
          </c:dPt>
          <c:dPt>
            <c:idx val="1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7-82FC-421B-A80E-67ACC5454550}"/>
              </c:ext>
            </c:extLst>
          </c:dPt>
          <c:dPt>
            <c:idx val="1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8-82FC-421B-A80E-67ACC5454550}"/>
              </c:ext>
            </c:extLst>
          </c:dPt>
          <c:dPt>
            <c:idx val="1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9-82FC-421B-A80E-67ACC5454550}"/>
              </c:ext>
            </c:extLst>
          </c:dPt>
          <c:dPt>
            <c:idx val="1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A-82FC-421B-A80E-67ACC5454550}"/>
              </c:ext>
            </c:extLst>
          </c:dPt>
          <c:dPt>
            <c:idx val="1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B-82FC-421B-A80E-67ACC5454550}"/>
              </c:ext>
            </c:extLst>
          </c:dPt>
          <c:dPt>
            <c:idx val="1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C-82FC-421B-A80E-67ACC5454550}"/>
              </c:ext>
            </c:extLst>
          </c:dPt>
          <c:dPt>
            <c:idx val="1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D-82FC-421B-A80E-67ACC5454550}"/>
              </c:ext>
            </c:extLst>
          </c:dPt>
          <c:dPt>
            <c:idx val="1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E-82FC-421B-A80E-67ACC5454550}"/>
              </c:ext>
            </c:extLst>
          </c:dPt>
          <c:dPt>
            <c:idx val="1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9F-82FC-421B-A80E-67ACC5454550}"/>
              </c:ext>
            </c:extLst>
          </c:dPt>
          <c:dPt>
            <c:idx val="1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0-82FC-421B-A80E-67ACC5454550}"/>
              </c:ext>
            </c:extLst>
          </c:dPt>
          <c:dPt>
            <c:idx val="1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1-82FC-421B-A80E-67ACC5454550}"/>
              </c:ext>
            </c:extLst>
          </c:dPt>
          <c:dPt>
            <c:idx val="1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2-82FC-421B-A80E-67ACC5454550}"/>
              </c:ext>
            </c:extLst>
          </c:dPt>
          <c:dPt>
            <c:idx val="1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3-82FC-421B-A80E-67ACC5454550}"/>
              </c:ext>
            </c:extLst>
          </c:dPt>
          <c:dPt>
            <c:idx val="1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4-82FC-421B-A80E-67ACC5454550}"/>
              </c:ext>
            </c:extLst>
          </c:dPt>
          <c:dPt>
            <c:idx val="1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5-82FC-421B-A80E-67ACC5454550}"/>
              </c:ext>
            </c:extLst>
          </c:dPt>
          <c:dPt>
            <c:idx val="1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6-82FC-421B-A80E-67ACC5454550}"/>
              </c:ext>
            </c:extLst>
          </c:dPt>
          <c:dPt>
            <c:idx val="1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7-82FC-421B-A80E-67ACC5454550}"/>
              </c:ext>
            </c:extLst>
          </c:dPt>
          <c:dPt>
            <c:idx val="1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8-82FC-421B-A80E-67ACC5454550}"/>
              </c:ext>
            </c:extLst>
          </c:dPt>
          <c:dPt>
            <c:idx val="1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9-82FC-421B-A80E-67ACC5454550}"/>
              </c:ext>
            </c:extLst>
          </c:dPt>
          <c:dPt>
            <c:idx val="1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A-82FC-421B-A80E-67ACC5454550}"/>
              </c:ext>
            </c:extLst>
          </c:dPt>
          <c:dPt>
            <c:idx val="1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B-82FC-421B-A80E-67ACC5454550}"/>
              </c:ext>
            </c:extLst>
          </c:dPt>
          <c:dPt>
            <c:idx val="1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C-82FC-421B-A80E-67ACC5454550}"/>
              </c:ext>
            </c:extLst>
          </c:dPt>
          <c:dPt>
            <c:idx val="1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D-82FC-421B-A80E-67ACC5454550}"/>
              </c:ext>
            </c:extLst>
          </c:dPt>
          <c:dPt>
            <c:idx val="1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E-82FC-421B-A80E-67ACC5454550}"/>
              </c:ext>
            </c:extLst>
          </c:dPt>
          <c:dPt>
            <c:idx val="1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AF-82FC-421B-A80E-67ACC5454550}"/>
              </c:ext>
            </c:extLst>
          </c:dPt>
          <c:dPt>
            <c:idx val="1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0-82FC-421B-A80E-67ACC5454550}"/>
              </c:ext>
            </c:extLst>
          </c:dPt>
          <c:dPt>
            <c:idx val="1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1-82FC-421B-A80E-67ACC5454550}"/>
              </c:ext>
            </c:extLst>
          </c:dPt>
          <c:dPt>
            <c:idx val="1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2-82FC-421B-A80E-67ACC5454550}"/>
              </c:ext>
            </c:extLst>
          </c:dPt>
          <c:dPt>
            <c:idx val="1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3-82FC-421B-A80E-67ACC5454550}"/>
              </c:ext>
            </c:extLst>
          </c:dPt>
          <c:dPt>
            <c:idx val="1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4-82FC-421B-A80E-67ACC5454550}"/>
              </c:ext>
            </c:extLst>
          </c:dPt>
          <c:dPt>
            <c:idx val="1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5-82FC-421B-A80E-67ACC5454550}"/>
              </c:ext>
            </c:extLst>
          </c:dPt>
          <c:dPt>
            <c:idx val="1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6-82FC-421B-A80E-67ACC5454550}"/>
              </c:ext>
            </c:extLst>
          </c:dPt>
          <c:dPt>
            <c:idx val="1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7-82FC-421B-A80E-67ACC5454550}"/>
              </c:ext>
            </c:extLst>
          </c:dPt>
          <c:dPt>
            <c:idx val="1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8-82FC-421B-A80E-67ACC5454550}"/>
              </c:ext>
            </c:extLst>
          </c:dPt>
          <c:dPt>
            <c:idx val="1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9-82FC-421B-A80E-67ACC5454550}"/>
              </c:ext>
            </c:extLst>
          </c:dPt>
          <c:dPt>
            <c:idx val="1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A-82FC-421B-A80E-67ACC5454550}"/>
              </c:ext>
            </c:extLst>
          </c:dPt>
          <c:dPt>
            <c:idx val="1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B-82FC-421B-A80E-67ACC5454550}"/>
              </c:ext>
            </c:extLst>
          </c:dPt>
          <c:dPt>
            <c:idx val="1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C-82FC-421B-A80E-67ACC5454550}"/>
              </c:ext>
            </c:extLst>
          </c:dPt>
          <c:dPt>
            <c:idx val="1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D-82FC-421B-A80E-67ACC5454550}"/>
              </c:ext>
            </c:extLst>
          </c:dPt>
          <c:dPt>
            <c:idx val="1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E-82FC-421B-A80E-67ACC5454550}"/>
              </c:ext>
            </c:extLst>
          </c:dPt>
          <c:dPt>
            <c:idx val="1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BF-82FC-421B-A80E-67ACC5454550}"/>
              </c:ext>
            </c:extLst>
          </c:dPt>
          <c:dPt>
            <c:idx val="1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0-82FC-421B-A80E-67ACC5454550}"/>
              </c:ext>
            </c:extLst>
          </c:dPt>
          <c:dPt>
            <c:idx val="1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1-82FC-421B-A80E-67ACC5454550}"/>
              </c:ext>
            </c:extLst>
          </c:dPt>
          <c:dPt>
            <c:idx val="1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2-82FC-421B-A80E-67ACC5454550}"/>
              </c:ext>
            </c:extLst>
          </c:dPt>
          <c:dPt>
            <c:idx val="1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3-82FC-421B-A80E-67ACC5454550}"/>
              </c:ext>
            </c:extLst>
          </c:dPt>
          <c:dPt>
            <c:idx val="1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4-82FC-421B-A80E-67ACC5454550}"/>
              </c:ext>
            </c:extLst>
          </c:dPt>
          <c:dPt>
            <c:idx val="1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5-82FC-421B-A80E-67ACC5454550}"/>
              </c:ext>
            </c:extLst>
          </c:dPt>
          <c:dPt>
            <c:idx val="1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6-82FC-421B-A80E-67ACC5454550}"/>
              </c:ext>
            </c:extLst>
          </c:dPt>
          <c:dPt>
            <c:idx val="1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7-82FC-421B-A80E-67ACC5454550}"/>
              </c:ext>
            </c:extLst>
          </c:dPt>
          <c:dPt>
            <c:idx val="2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8-82FC-421B-A80E-67ACC5454550}"/>
              </c:ext>
            </c:extLst>
          </c:dPt>
          <c:dPt>
            <c:idx val="2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9-82FC-421B-A80E-67ACC5454550}"/>
              </c:ext>
            </c:extLst>
          </c:dPt>
          <c:dPt>
            <c:idx val="2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A-82FC-421B-A80E-67ACC5454550}"/>
              </c:ext>
            </c:extLst>
          </c:dPt>
          <c:dPt>
            <c:idx val="2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B-82FC-421B-A80E-67ACC5454550}"/>
              </c:ext>
            </c:extLst>
          </c:dPt>
          <c:dPt>
            <c:idx val="2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C-82FC-421B-A80E-67ACC5454550}"/>
              </c:ext>
            </c:extLst>
          </c:dPt>
          <c:dPt>
            <c:idx val="2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D-82FC-421B-A80E-67ACC5454550}"/>
              </c:ext>
            </c:extLst>
          </c:dPt>
          <c:dPt>
            <c:idx val="2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E-82FC-421B-A80E-67ACC5454550}"/>
              </c:ext>
            </c:extLst>
          </c:dPt>
          <c:dPt>
            <c:idx val="2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CF-82FC-421B-A80E-67ACC5454550}"/>
              </c:ext>
            </c:extLst>
          </c:dPt>
          <c:dPt>
            <c:idx val="2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0-82FC-421B-A80E-67ACC5454550}"/>
              </c:ext>
            </c:extLst>
          </c:dPt>
          <c:dPt>
            <c:idx val="2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1-82FC-421B-A80E-67ACC5454550}"/>
              </c:ext>
            </c:extLst>
          </c:dPt>
          <c:dPt>
            <c:idx val="2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2-82FC-421B-A80E-67ACC5454550}"/>
              </c:ext>
            </c:extLst>
          </c:dPt>
          <c:dPt>
            <c:idx val="2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3-82FC-421B-A80E-67ACC5454550}"/>
              </c:ext>
            </c:extLst>
          </c:dPt>
          <c:dPt>
            <c:idx val="2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4-82FC-421B-A80E-67ACC5454550}"/>
              </c:ext>
            </c:extLst>
          </c:dPt>
          <c:dPt>
            <c:idx val="2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5-82FC-421B-A80E-67ACC5454550}"/>
              </c:ext>
            </c:extLst>
          </c:dPt>
          <c:dPt>
            <c:idx val="2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6-82FC-421B-A80E-67ACC5454550}"/>
              </c:ext>
            </c:extLst>
          </c:dPt>
          <c:dPt>
            <c:idx val="2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7-82FC-421B-A80E-67ACC5454550}"/>
              </c:ext>
            </c:extLst>
          </c:dPt>
          <c:dPt>
            <c:idx val="2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8-82FC-421B-A80E-67ACC5454550}"/>
              </c:ext>
            </c:extLst>
          </c:dPt>
          <c:dPt>
            <c:idx val="2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9-82FC-421B-A80E-67ACC5454550}"/>
              </c:ext>
            </c:extLst>
          </c:dPt>
          <c:dPt>
            <c:idx val="2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A-82FC-421B-A80E-67ACC5454550}"/>
              </c:ext>
            </c:extLst>
          </c:dPt>
          <c:dPt>
            <c:idx val="2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B-82FC-421B-A80E-67ACC5454550}"/>
              </c:ext>
            </c:extLst>
          </c:dPt>
          <c:dPt>
            <c:idx val="2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C-82FC-421B-A80E-67ACC5454550}"/>
              </c:ext>
            </c:extLst>
          </c:dPt>
          <c:dPt>
            <c:idx val="2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D-82FC-421B-A80E-67ACC5454550}"/>
              </c:ext>
            </c:extLst>
          </c:dPt>
          <c:dPt>
            <c:idx val="2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E-82FC-421B-A80E-67ACC5454550}"/>
              </c:ext>
            </c:extLst>
          </c:dPt>
          <c:dPt>
            <c:idx val="2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DF-82FC-421B-A80E-67ACC5454550}"/>
              </c:ext>
            </c:extLst>
          </c:dPt>
          <c:dPt>
            <c:idx val="2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0-82FC-421B-A80E-67ACC5454550}"/>
              </c:ext>
            </c:extLst>
          </c:dPt>
          <c:dPt>
            <c:idx val="2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1-82FC-421B-A80E-67ACC5454550}"/>
              </c:ext>
            </c:extLst>
          </c:dPt>
          <c:dPt>
            <c:idx val="2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2-82FC-421B-A80E-67ACC5454550}"/>
              </c:ext>
            </c:extLst>
          </c:dPt>
          <c:dPt>
            <c:idx val="2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3-82FC-421B-A80E-67ACC5454550}"/>
              </c:ext>
            </c:extLst>
          </c:dPt>
          <c:dPt>
            <c:idx val="2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4-82FC-421B-A80E-67ACC5454550}"/>
              </c:ext>
            </c:extLst>
          </c:dPt>
          <c:dPt>
            <c:idx val="2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5-82FC-421B-A80E-67ACC5454550}"/>
              </c:ext>
            </c:extLst>
          </c:dPt>
          <c:dPt>
            <c:idx val="2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6-82FC-421B-A80E-67ACC5454550}"/>
              </c:ext>
            </c:extLst>
          </c:dPt>
          <c:dPt>
            <c:idx val="2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7-82FC-421B-A80E-67ACC5454550}"/>
              </c:ext>
            </c:extLst>
          </c:dPt>
          <c:dPt>
            <c:idx val="2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8-82FC-421B-A80E-67ACC5454550}"/>
              </c:ext>
            </c:extLst>
          </c:dPt>
          <c:dPt>
            <c:idx val="2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9-82FC-421B-A80E-67ACC5454550}"/>
              </c:ext>
            </c:extLst>
          </c:dPt>
          <c:dPt>
            <c:idx val="2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A-82FC-421B-A80E-67ACC5454550}"/>
              </c:ext>
            </c:extLst>
          </c:dPt>
          <c:dPt>
            <c:idx val="2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B-82FC-421B-A80E-67ACC5454550}"/>
              </c:ext>
            </c:extLst>
          </c:dPt>
          <c:dPt>
            <c:idx val="2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C-82FC-421B-A80E-67ACC5454550}"/>
              </c:ext>
            </c:extLst>
          </c:dPt>
          <c:dPt>
            <c:idx val="2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D-82FC-421B-A80E-67ACC5454550}"/>
              </c:ext>
            </c:extLst>
          </c:dPt>
          <c:dPt>
            <c:idx val="2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E-82FC-421B-A80E-67ACC5454550}"/>
              </c:ext>
            </c:extLst>
          </c:dPt>
          <c:dPt>
            <c:idx val="2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EF-82FC-421B-A80E-67ACC5454550}"/>
              </c:ext>
            </c:extLst>
          </c:dPt>
          <c:dPt>
            <c:idx val="2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0-82FC-421B-A80E-67ACC5454550}"/>
              </c:ext>
            </c:extLst>
          </c:dPt>
          <c:dPt>
            <c:idx val="2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1-82FC-421B-A80E-67ACC5454550}"/>
              </c:ext>
            </c:extLst>
          </c:dPt>
          <c:dPt>
            <c:idx val="2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2-82FC-421B-A80E-67ACC5454550}"/>
              </c:ext>
            </c:extLst>
          </c:dPt>
          <c:dPt>
            <c:idx val="2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3-82FC-421B-A80E-67ACC5454550}"/>
              </c:ext>
            </c:extLst>
          </c:dPt>
          <c:dPt>
            <c:idx val="2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4-82FC-421B-A80E-67ACC5454550}"/>
              </c:ext>
            </c:extLst>
          </c:dPt>
          <c:dPt>
            <c:idx val="2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5-82FC-421B-A80E-67ACC5454550}"/>
              </c:ext>
            </c:extLst>
          </c:dPt>
          <c:dPt>
            <c:idx val="2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6-82FC-421B-A80E-67ACC5454550}"/>
              </c:ext>
            </c:extLst>
          </c:dPt>
          <c:dPt>
            <c:idx val="2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7-82FC-421B-A80E-67ACC5454550}"/>
              </c:ext>
            </c:extLst>
          </c:dPt>
          <c:dPt>
            <c:idx val="2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8-82FC-421B-A80E-67ACC5454550}"/>
              </c:ext>
            </c:extLst>
          </c:dPt>
          <c:dPt>
            <c:idx val="2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9-82FC-421B-A80E-67ACC5454550}"/>
              </c:ext>
            </c:extLst>
          </c:dPt>
          <c:dPt>
            <c:idx val="2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A-82FC-421B-A80E-67ACC5454550}"/>
              </c:ext>
            </c:extLst>
          </c:dPt>
          <c:dPt>
            <c:idx val="2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B-82FC-421B-A80E-67ACC5454550}"/>
              </c:ext>
            </c:extLst>
          </c:dPt>
          <c:dPt>
            <c:idx val="2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C-82FC-421B-A80E-67ACC5454550}"/>
              </c:ext>
            </c:extLst>
          </c:dPt>
          <c:dPt>
            <c:idx val="2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D-82FC-421B-A80E-67ACC5454550}"/>
              </c:ext>
            </c:extLst>
          </c:dPt>
          <c:dPt>
            <c:idx val="2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E-82FC-421B-A80E-67ACC5454550}"/>
              </c:ext>
            </c:extLst>
          </c:dPt>
          <c:dPt>
            <c:idx val="2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0FF-82FC-421B-A80E-67ACC5454550}"/>
              </c:ext>
            </c:extLst>
          </c:dPt>
          <c:dPt>
            <c:idx val="2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0-82FC-421B-A80E-67ACC5454550}"/>
              </c:ext>
            </c:extLst>
          </c:dPt>
          <c:dPt>
            <c:idx val="2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1-82FC-421B-A80E-67ACC5454550}"/>
              </c:ext>
            </c:extLst>
          </c:dPt>
          <c:dPt>
            <c:idx val="2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2-82FC-421B-A80E-67ACC5454550}"/>
              </c:ext>
            </c:extLst>
          </c:dPt>
          <c:dPt>
            <c:idx val="2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3-82FC-421B-A80E-67ACC5454550}"/>
              </c:ext>
            </c:extLst>
          </c:dPt>
          <c:dPt>
            <c:idx val="2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4-82FC-421B-A80E-67ACC5454550}"/>
              </c:ext>
            </c:extLst>
          </c:dPt>
          <c:dPt>
            <c:idx val="2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5-82FC-421B-A80E-67ACC5454550}"/>
              </c:ext>
            </c:extLst>
          </c:dPt>
          <c:dPt>
            <c:idx val="2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6-82FC-421B-A80E-67ACC5454550}"/>
              </c:ext>
            </c:extLst>
          </c:dPt>
          <c:dPt>
            <c:idx val="2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7-82FC-421B-A80E-67ACC5454550}"/>
              </c:ext>
            </c:extLst>
          </c:dPt>
          <c:dPt>
            <c:idx val="2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8-82FC-421B-A80E-67ACC5454550}"/>
              </c:ext>
            </c:extLst>
          </c:dPt>
          <c:dPt>
            <c:idx val="2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9-82FC-421B-A80E-67ACC5454550}"/>
              </c:ext>
            </c:extLst>
          </c:dPt>
          <c:dPt>
            <c:idx val="2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A-82FC-421B-A80E-67ACC5454550}"/>
              </c:ext>
            </c:extLst>
          </c:dPt>
          <c:dPt>
            <c:idx val="2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B-82FC-421B-A80E-67ACC5454550}"/>
              </c:ext>
            </c:extLst>
          </c:dPt>
          <c:dPt>
            <c:idx val="2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C-82FC-421B-A80E-67ACC5454550}"/>
              </c:ext>
            </c:extLst>
          </c:dPt>
          <c:dPt>
            <c:idx val="2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D-82FC-421B-A80E-67ACC5454550}"/>
              </c:ext>
            </c:extLst>
          </c:dPt>
          <c:dPt>
            <c:idx val="2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E-82FC-421B-A80E-67ACC5454550}"/>
              </c:ext>
            </c:extLst>
          </c:dPt>
          <c:dPt>
            <c:idx val="2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0F-82FC-421B-A80E-67ACC5454550}"/>
              </c:ext>
            </c:extLst>
          </c:dPt>
          <c:dPt>
            <c:idx val="2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0-82FC-421B-A80E-67ACC5454550}"/>
              </c:ext>
            </c:extLst>
          </c:dPt>
          <c:dPt>
            <c:idx val="2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1-82FC-421B-A80E-67ACC5454550}"/>
              </c:ext>
            </c:extLst>
          </c:dPt>
          <c:dPt>
            <c:idx val="2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2-82FC-421B-A80E-67ACC5454550}"/>
              </c:ext>
            </c:extLst>
          </c:dPt>
          <c:dPt>
            <c:idx val="2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3-82FC-421B-A80E-67ACC5454550}"/>
              </c:ext>
            </c:extLst>
          </c:dPt>
          <c:dPt>
            <c:idx val="2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4-82FC-421B-A80E-67ACC5454550}"/>
              </c:ext>
            </c:extLst>
          </c:dPt>
          <c:dPt>
            <c:idx val="2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5-82FC-421B-A80E-67ACC5454550}"/>
              </c:ext>
            </c:extLst>
          </c:dPt>
          <c:dPt>
            <c:idx val="2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6-82FC-421B-A80E-67ACC5454550}"/>
              </c:ext>
            </c:extLst>
          </c:dPt>
          <c:dPt>
            <c:idx val="2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7-82FC-421B-A80E-67ACC5454550}"/>
              </c:ext>
            </c:extLst>
          </c:dPt>
          <c:dPt>
            <c:idx val="2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8-82FC-421B-A80E-67ACC5454550}"/>
              </c:ext>
            </c:extLst>
          </c:dPt>
          <c:dPt>
            <c:idx val="2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9-82FC-421B-A80E-67ACC5454550}"/>
              </c:ext>
            </c:extLst>
          </c:dPt>
          <c:dPt>
            <c:idx val="2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A-82FC-421B-A80E-67ACC5454550}"/>
              </c:ext>
            </c:extLst>
          </c:dPt>
          <c:dPt>
            <c:idx val="2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B-82FC-421B-A80E-67ACC5454550}"/>
              </c:ext>
            </c:extLst>
          </c:dPt>
          <c:dPt>
            <c:idx val="2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C-82FC-421B-A80E-67ACC5454550}"/>
              </c:ext>
            </c:extLst>
          </c:dPt>
          <c:dPt>
            <c:idx val="2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D-82FC-421B-A80E-67ACC5454550}"/>
              </c:ext>
            </c:extLst>
          </c:dPt>
          <c:dPt>
            <c:idx val="2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E-82FC-421B-A80E-67ACC5454550}"/>
              </c:ext>
            </c:extLst>
          </c:dPt>
          <c:dPt>
            <c:idx val="2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1F-82FC-421B-A80E-67ACC5454550}"/>
              </c:ext>
            </c:extLst>
          </c:dPt>
          <c:dPt>
            <c:idx val="2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0-82FC-421B-A80E-67ACC5454550}"/>
              </c:ext>
            </c:extLst>
          </c:dPt>
          <c:dPt>
            <c:idx val="2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1-82FC-421B-A80E-67ACC5454550}"/>
              </c:ext>
            </c:extLst>
          </c:dPt>
          <c:dPt>
            <c:idx val="2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2-82FC-421B-A80E-67ACC5454550}"/>
              </c:ext>
            </c:extLst>
          </c:dPt>
          <c:dPt>
            <c:idx val="2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3-82FC-421B-A80E-67ACC5454550}"/>
              </c:ext>
            </c:extLst>
          </c:dPt>
          <c:dPt>
            <c:idx val="2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4-82FC-421B-A80E-67ACC5454550}"/>
              </c:ext>
            </c:extLst>
          </c:dPt>
          <c:dPt>
            <c:idx val="2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5-82FC-421B-A80E-67ACC5454550}"/>
              </c:ext>
            </c:extLst>
          </c:dPt>
          <c:dPt>
            <c:idx val="2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6-82FC-421B-A80E-67ACC5454550}"/>
              </c:ext>
            </c:extLst>
          </c:dPt>
          <c:dPt>
            <c:idx val="2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7-82FC-421B-A80E-67ACC5454550}"/>
              </c:ext>
            </c:extLst>
          </c:dPt>
          <c:dPt>
            <c:idx val="2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8-82FC-421B-A80E-67ACC5454550}"/>
              </c:ext>
            </c:extLst>
          </c:dPt>
          <c:dPt>
            <c:idx val="2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9-82FC-421B-A80E-67ACC5454550}"/>
              </c:ext>
            </c:extLst>
          </c:dPt>
          <c:dPt>
            <c:idx val="2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A-82FC-421B-A80E-67ACC5454550}"/>
              </c:ext>
            </c:extLst>
          </c:dPt>
          <c:dPt>
            <c:idx val="2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B-82FC-421B-A80E-67ACC5454550}"/>
              </c:ext>
            </c:extLst>
          </c:dPt>
          <c:dPt>
            <c:idx val="3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C-82FC-421B-A80E-67ACC5454550}"/>
              </c:ext>
            </c:extLst>
          </c:dPt>
          <c:dPt>
            <c:idx val="3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D-82FC-421B-A80E-67ACC5454550}"/>
              </c:ext>
            </c:extLst>
          </c:dPt>
          <c:dPt>
            <c:idx val="3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E-82FC-421B-A80E-67ACC5454550}"/>
              </c:ext>
            </c:extLst>
          </c:dPt>
          <c:dPt>
            <c:idx val="3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2F-82FC-421B-A80E-67ACC5454550}"/>
              </c:ext>
            </c:extLst>
          </c:dPt>
          <c:dPt>
            <c:idx val="3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0-82FC-421B-A80E-67ACC5454550}"/>
              </c:ext>
            </c:extLst>
          </c:dPt>
          <c:dPt>
            <c:idx val="3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1-82FC-421B-A80E-67ACC5454550}"/>
              </c:ext>
            </c:extLst>
          </c:dPt>
          <c:dPt>
            <c:idx val="3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2-82FC-421B-A80E-67ACC5454550}"/>
              </c:ext>
            </c:extLst>
          </c:dPt>
          <c:dPt>
            <c:idx val="3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3-82FC-421B-A80E-67ACC5454550}"/>
              </c:ext>
            </c:extLst>
          </c:dPt>
          <c:dPt>
            <c:idx val="3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4-82FC-421B-A80E-67ACC5454550}"/>
              </c:ext>
            </c:extLst>
          </c:dPt>
          <c:dPt>
            <c:idx val="3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5-82FC-421B-A80E-67ACC5454550}"/>
              </c:ext>
            </c:extLst>
          </c:dPt>
          <c:dPt>
            <c:idx val="3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6-82FC-421B-A80E-67ACC5454550}"/>
              </c:ext>
            </c:extLst>
          </c:dPt>
          <c:dPt>
            <c:idx val="3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7-82FC-421B-A80E-67ACC5454550}"/>
              </c:ext>
            </c:extLst>
          </c:dPt>
          <c:dPt>
            <c:idx val="3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8-82FC-421B-A80E-67ACC5454550}"/>
              </c:ext>
            </c:extLst>
          </c:dPt>
          <c:dPt>
            <c:idx val="3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9-82FC-421B-A80E-67ACC5454550}"/>
              </c:ext>
            </c:extLst>
          </c:dPt>
          <c:dPt>
            <c:idx val="3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A-82FC-421B-A80E-67ACC5454550}"/>
              </c:ext>
            </c:extLst>
          </c:dPt>
          <c:dPt>
            <c:idx val="3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B-82FC-421B-A80E-67ACC5454550}"/>
              </c:ext>
            </c:extLst>
          </c:dPt>
          <c:dPt>
            <c:idx val="3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C-82FC-421B-A80E-67ACC5454550}"/>
              </c:ext>
            </c:extLst>
          </c:dPt>
          <c:dPt>
            <c:idx val="3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D-82FC-421B-A80E-67ACC5454550}"/>
              </c:ext>
            </c:extLst>
          </c:dPt>
          <c:dPt>
            <c:idx val="3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E-82FC-421B-A80E-67ACC5454550}"/>
              </c:ext>
            </c:extLst>
          </c:dPt>
          <c:dPt>
            <c:idx val="3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3F-82FC-421B-A80E-67ACC5454550}"/>
              </c:ext>
            </c:extLst>
          </c:dPt>
          <c:dPt>
            <c:idx val="3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0-82FC-421B-A80E-67ACC5454550}"/>
              </c:ext>
            </c:extLst>
          </c:dPt>
          <c:dPt>
            <c:idx val="3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1-82FC-421B-A80E-67ACC5454550}"/>
              </c:ext>
            </c:extLst>
          </c:dPt>
          <c:dPt>
            <c:idx val="3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2-82FC-421B-A80E-67ACC5454550}"/>
              </c:ext>
            </c:extLst>
          </c:dPt>
          <c:dPt>
            <c:idx val="3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3-82FC-421B-A80E-67ACC5454550}"/>
              </c:ext>
            </c:extLst>
          </c:dPt>
          <c:dPt>
            <c:idx val="3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4-82FC-421B-A80E-67ACC5454550}"/>
              </c:ext>
            </c:extLst>
          </c:dPt>
          <c:dPt>
            <c:idx val="3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5-82FC-421B-A80E-67ACC5454550}"/>
              </c:ext>
            </c:extLst>
          </c:dPt>
          <c:dPt>
            <c:idx val="3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6-82FC-421B-A80E-67ACC5454550}"/>
              </c:ext>
            </c:extLst>
          </c:dPt>
          <c:dPt>
            <c:idx val="3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7-82FC-421B-A80E-67ACC5454550}"/>
              </c:ext>
            </c:extLst>
          </c:dPt>
          <c:dPt>
            <c:idx val="3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8-82FC-421B-A80E-67ACC5454550}"/>
              </c:ext>
            </c:extLst>
          </c:dPt>
          <c:dPt>
            <c:idx val="3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9-82FC-421B-A80E-67ACC5454550}"/>
              </c:ext>
            </c:extLst>
          </c:dPt>
          <c:dPt>
            <c:idx val="3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A-82FC-421B-A80E-67ACC5454550}"/>
              </c:ext>
            </c:extLst>
          </c:dPt>
          <c:dPt>
            <c:idx val="3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B-82FC-421B-A80E-67ACC5454550}"/>
              </c:ext>
            </c:extLst>
          </c:dPt>
          <c:dPt>
            <c:idx val="3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C-82FC-421B-A80E-67ACC5454550}"/>
              </c:ext>
            </c:extLst>
          </c:dPt>
          <c:dPt>
            <c:idx val="3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D-82FC-421B-A80E-67ACC5454550}"/>
              </c:ext>
            </c:extLst>
          </c:dPt>
          <c:dPt>
            <c:idx val="3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E-82FC-421B-A80E-67ACC5454550}"/>
              </c:ext>
            </c:extLst>
          </c:dPt>
          <c:dPt>
            <c:idx val="3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4F-82FC-421B-A80E-67ACC5454550}"/>
              </c:ext>
            </c:extLst>
          </c:dPt>
          <c:dPt>
            <c:idx val="3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0-82FC-421B-A80E-67ACC5454550}"/>
              </c:ext>
            </c:extLst>
          </c:dPt>
          <c:dPt>
            <c:idx val="3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1-82FC-421B-A80E-67ACC5454550}"/>
              </c:ext>
            </c:extLst>
          </c:dPt>
          <c:dPt>
            <c:idx val="3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2-82FC-421B-A80E-67ACC5454550}"/>
              </c:ext>
            </c:extLst>
          </c:dPt>
          <c:dPt>
            <c:idx val="3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3-82FC-421B-A80E-67ACC5454550}"/>
              </c:ext>
            </c:extLst>
          </c:dPt>
          <c:dPt>
            <c:idx val="3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4-82FC-421B-A80E-67ACC5454550}"/>
              </c:ext>
            </c:extLst>
          </c:dPt>
          <c:dPt>
            <c:idx val="3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5-82FC-421B-A80E-67ACC5454550}"/>
              </c:ext>
            </c:extLst>
          </c:dPt>
          <c:dPt>
            <c:idx val="3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6-82FC-421B-A80E-67ACC5454550}"/>
              </c:ext>
            </c:extLst>
          </c:dPt>
          <c:dPt>
            <c:idx val="3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7-82FC-421B-A80E-67ACC5454550}"/>
              </c:ext>
            </c:extLst>
          </c:dPt>
          <c:dPt>
            <c:idx val="3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8-82FC-421B-A80E-67ACC5454550}"/>
              </c:ext>
            </c:extLst>
          </c:dPt>
          <c:dPt>
            <c:idx val="3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9-82FC-421B-A80E-67ACC5454550}"/>
              </c:ext>
            </c:extLst>
          </c:dPt>
          <c:dPt>
            <c:idx val="3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A-82FC-421B-A80E-67ACC5454550}"/>
              </c:ext>
            </c:extLst>
          </c:dPt>
          <c:dPt>
            <c:idx val="3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B-82FC-421B-A80E-67ACC5454550}"/>
              </c:ext>
            </c:extLst>
          </c:dPt>
          <c:dPt>
            <c:idx val="3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C-82FC-421B-A80E-67ACC5454550}"/>
              </c:ext>
            </c:extLst>
          </c:dPt>
          <c:dPt>
            <c:idx val="3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D-82FC-421B-A80E-67ACC5454550}"/>
              </c:ext>
            </c:extLst>
          </c:dPt>
          <c:dPt>
            <c:idx val="3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E-82FC-421B-A80E-67ACC5454550}"/>
              </c:ext>
            </c:extLst>
          </c:dPt>
          <c:dPt>
            <c:idx val="3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5F-82FC-421B-A80E-67ACC5454550}"/>
              </c:ext>
            </c:extLst>
          </c:dPt>
          <c:dPt>
            <c:idx val="3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0-82FC-421B-A80E-67ACC5454550}"/>
              </c:ext>
            </c:extLst>
          </c:dPt>
          <c:dPt>
            <c:idx val="3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1-82FC-421B-A80E-67ACC5454550}"/>
              </c:ext>
            </c:extLst>
          </c:dPt>
          <c:dPt>
            <c:idx val="3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2-82FC-421B-A80E-67ACC5454550}"/>
              </c:ext>
            </c:extLst>
          </c:dPt>
          <c:dPt>
            <c:idx val="3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3-82FC-421B-A80E-67ACC5454550}"/>
              </c:ext>
            </c:extLst>
          </c:dPt>
          <c:dPt>
            <c:idx val="3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4-82FC-421B-A80E-67ACC5454550}"/>
              </c:ext>
            </c:extLst>
          </c:dPt>
          <c:dPt>
            <c:idx val="3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5-82FC-421B-A80E-67ACC5454550}"/>
              </c:ext>
            </c:extLst>
          </c:dPt>
          <c:dPt>
            <c:idx val="3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6-82FC-421B-A80E-67ACC5454550}"/>
              </c:ext>
            </c:extLst>
          </c:dPt>
          <c:dPt>
            <c:idx val="3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7-82FC-421B-A80E-67ACC5454550}"/>
              </c:ext>
            </c:extLst>
          </c:dPt>
          <c:dPt>
            <c:idx val="3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8-82FC-421B-A80E-67ACC5454550}"/>
              </c:ext>
            </c:extLst>
          </c:dPt>
          <c:dPt>
            <c:idx val="3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9-82FC-421B-A80E-67ACC5454550}"/>
              </c:ext>
            </c:extLst>
          </c:dPt>
          <c:dPt>
            <c:idx val="3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A-82FC-421B-A80E-67ACC5454550}"/>
              </c:ext>
            </c:extLst>
          </c:dPt>
          <c:dPt>
            <c:idx val="3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B-82FC-421B-A80E-67ACC5454550}"/>
              </c:ext>
            </c:extLst>
          </c:dPt>
          <c:dPt>
            <c:idx val="3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C-82FC-421B-A80E-67ACC5454550}"/>
              </c:ext>
            </c:extLst>
          </c:dPt>
          <c:dPt>
            <c:idx val="3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D-82FC-421B-A80E-67ACC5454550}"/>
              </c:ext>
            </c:extLst>
          </c:dPt>
          <c:dPt>
            <c:idx val="3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E-82FC-421B-A80E-67ACC5454550}"/>
              </c:ext>
            </c:extLst>
          </c:dPt>
          <c:dPt>
            <c:idx val="3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6F-82FC-421B-A80E-67ACC5454550}"/>
              </c:ext>
            </c:extLst>
          </c:dPt>
          <c:dPt>
            <c:idx val="3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0-82FC-421B-A80E-67ACC5454550}"/>
              </c:ext>
            </c:extLst>
          </c:dPt>
          <c:dPt>
            <c:idx val="3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1-82FC-421B-A80E-67ACC5454550}"/>
              </c:ext>
            </c:extLst>
          </c:dPt>
          <c:dPt>
            <c:idx val="3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2-82FC-421B-A80E-67ACC5454550}"/>
              </c:ext>
            </c:extLst>
          </c:dPt>
          <c:dPt>
            <c:idx val="3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3-82FC-421B-A80E-67ACC5454550}"/>
              </c:ext>
            </c:extLst>
          </c:dPt>
          <c:dPt>
            <c:idx val="3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4-82FC-421B-A80E-67ACC5454550}"/>
              </c:ext>
            </c:extLst>
          </c:dPt>
          <c:dPt>
            <c:idx val="3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5-82FC-421B-A80E-67ACC5454550}"/>
              </c:ext>
            </c:extLst>
          </c:dPt>
          <c:dPt>
            <c:idx val="3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6-82FC-421B-A80E-67ACC5454550}"/>
              </c:ext>
            </c:extLst>
          </c:dPt>
          <c:dPt>
            <c:idx val="3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7-82FC-421B-A80E-67ACC5454550}"/>
              </c:ext>
            </c:extLst>
          </c:dPt>
          <c:dPt>
            <c:idx val="3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8-82FC-421B-A80E-67ACC5454550}"/>
              </c:ext>
            </c:extLst>
          </c:dPt>
          <c:dPt>
            <c:idx val="3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9-82FC-421B-A80E-67ACC5454550}"/>
              </c:ext>
            </c:extLst>
          </c:dPt>
          <c:dPt>
            <c:idx val="3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A-82FC-421B-A80E-67ACC5454550}"/>
              </c:ext>
            </c:extLst>
          </c:dPt>
          <c:dPt>
            <c:idx val="3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B-82FC-421B-A80E-67ACC5454550}"/>
              </c:ext>
            </c:extLst>
          </c:dPt>
          <c:dPt>
            <c:idx val="3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C-82FC-421B-A80E-67ACC5454550}"/>
              </c:ext>
            </c:extLst>
          </c:dPt>
          <c:dPt>
            <c:idx val="3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D-82FC-421B-A80E-67ACC5454550}"/>
              </c:ext>
            </c:extLst>
          </c:dPt>
          <c:dPt>
            <c:idx val="3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E-82FC-421B-A80E-67ACC5454550}"/>
              </c:ext>
            </c:extLst>
          </c:dPt>
          <c:dPt>
            <c:idx val="3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7F-82FC-421B-A80E-67ACC5454550}"/>
              </c:ext>
            </c:extLst>
          </c:dPt>
          <c:dPt>
            <c:idx val="3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0-82FC-421B-A80E-67ACC5454550}"/>
              </c:ext>
            </c:extLst>
          </c:dPt>
          <c:dPt>
            <c:idx val="3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1-82FC-421B-A80E-67ACC5454550}"/>
              </c:ext>
            </c:extLst>
          </c:dPt>
          <c:dPt>
            <c:idx val="3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2-82FC-421B-A80E-67ACC5454550}"/>
              </c:ext>
            </c:extLst>
          </c:dPt>
          <c:dPt>
            <c:idx val="3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3-82FC-421B-A80E-67ACC5454550}"/>
              </c:ext>
            </c:extLst>
          </c:dPt>
          <c:dPt>
            <c:idx val="3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4-82FC-421B-A80E-67ACC5454550}"/>
              </c:ext>
            </c:extLst>
          </c:dPt>
          <c:dPt>
            <c:idx val="3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5-82FC-421B-A80E-67ACC5454550}"/>
              </c:ext>
            </c:extLst>
          </c:dPt>
          <c:dPt>
            <c:idx val="3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6-82FC-421B-A80E-67ACC5454550}"/>
              </c:ext>
            </c:extLst>
          </c:dPt>
          <c:dPt>
            <c:idx val="3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7-82FC-421B-A80E-67ACC5454550}"/>
              </c:ext>
            </c:extLst>
          </c:dPt>
          <c:dPt>
            <c:idx val="3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8-82FC-421B-A80E-67ACC5454550}"/>
              </c:ext>
            </c:extLst>
          </c:dPt>
          <c:dPt>
            <c:idx val="3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9-82FC-421B-A80E-67ACC5454550}"/>
              </c:ext>
            </c:extLst>
          </c:dPt>
          <c:dPt>
            <c:idx val="3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A-82FC-421B-A80E-67ACC5454550}"/>
              </c:ext>
            </c:extLst>
          </c:dPt>
          <c:dPt>
            <c:idx val="3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B-82FC-421B-A80E-67ACC5454550}"/>
              </c:ext>
            </c:extLst>
          </c:dPt>
          <c:dPt>
            <c:idx val="3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C-82FC-421B-A80E-67ACC5454550}"/>
              </c:ext>
            </c:extLst>
          </c:dPt>
          <c:dPt>
            <c:idx val="3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D-82FC-421B-A80E-67ACC5454550}"/>
              </c:ext>
            </c:extLst>
          </c:dPt>
          <c:dPt>
            <c:idx val="3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E-82FC-421B-A80E-67ACC5454550}"/>
              </c:ext>
            </c:extLst>
          </c:dPt>
          <c:dPt>
            <c:idx val="3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8F-82FC-421B-A80E-67ACC5454550}"/>
              </c:ext>
            </c:extLst>
          </c:dPt>
          <c:dPt>
            <c:idx val="4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0-82FC-421B-A80E-67ACC5454550}"/>
              </c:ext>
            </c:extLst>
          </c:dPt>
          <c:dPt>
            <c:idx val="4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1-82FC-421B-A80E-67ACC5454550}"/>
              </c:ext>
            </c:extLst>
          </c:dPt>
          <c:dPt>
            <c:idx val="4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2-82FC-421B-A80E-67ACC5454550}"/>
              </c:ext>
            </c:extLst>
          </c:dPt>
          <c:dPt>
            <c:idx val="4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3-82FC-421B-A80E-67ACC5454550}"/>
              </c:ext>
            </c:extLst>
          </c:dPt>
          <c:dPt>
            <c:idx val="4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4-82FC-421B-A80E-67ACC5454550}"/>
              </c:ext>
            </c:extLst>
          </c:dPt>
          <c:dPt>
            <c:idx val="4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5-82FC-421B-A80E-67ACC5454550}"/>
              </c:ext>
            </c:extLst>
          </c:dPt>
          <c:dPt>
            <c:idx val="4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6-82FC-421B-A80E-67ACC5454550}"/>
              </c:ext>
            </c:extLst>
          </c:dPt>
          <c:dPt>
            <c:idx val="4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7-82FC-421B-A80E-67ACC5454550}"/>
              </c:ext>
            </c:extLst>
          </c:dPt>
          <c:dPt>
            <c:idx val="4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8-82FC-421B-A80E-67ACC5454550}"/>
              </c:ext>
            </c:extLst>
          </c:dPt>
          <c:dPt>
            <c:idx val="4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9-82FC-421B-A80E-67ACC5454550}"/>
              </c:ext>
            </c:extLst>
          </c:dPt>
          <c:dPt>
            <c:idx val="4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A-82FC-421B-A80E-67ACC5454550}"/>
              </c:ext>
            </c:extLst>
          </c:dPt>
          <c:dPt>
            <c:idx val="4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B-82FC-421B-A80E-67ACC5454550}"/>
              </c:ext>
            </c:extLst>
          </c:dPt>
          <c:dPt>
            <c:idx val="4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C-82FC-421B-A80E-67ACC5454550}"/>
              </c:ext>
            </c:extLst>
          </c:dPt>
          <c:dPt>
            <c:idx val="4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D-82FC-421B-A80E-67ACC5454550}"/>
              </c:ext>
            </c:extLst>
          </c:dPt>
          <c:dPt>
            <c:idx val="4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E-82FC-421B-A80E-67ACC5454550}"/>
              </c:ext>
            </c:extLst>
          </c:dPt>
          <c:dPt>
            <c:idx val="4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9F-82FC-421B-A80E-67ACC5454550}"/>
              </c:ext>
            </c:extLst>
          </c:dPt>
          <c:dPt>
            <c:idx val="4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0-82FC-421B-A80E-67ACC5454550}"/>
              </c:ext>
            </c:extLst>
          </c:dPt>
          <c:dPt>
            <c:idx val="4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1-82FC-421B-A80E-67ACC5454550}"/>
              </c:ext>
            </c:extLst>
          </c:dPt>
          <c:dPt>
            <c:idx val="4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2-82FC-421B-A80E-67ACC5454550}"/>
              </c:ext>
            </c:extLst>
          </c:dPt>
          <c:dPt>
            <c:idx val="4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3-82FC-421B-A80E-67ACC5454550}"/>
              </c:ext>
            </c:extLst>
          </c:dPt>
          <c:dPt>
            <c:idx val="4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4-82FC-421B-A80E-67ACC5454550}"/>
              </c:ext>
            </c:extLst>
          </c:dPt>
          <c:dPt>
            <c:idx val="4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5-82FC-421B-A80E-67ACC5454550}"/>
              </c:ext>
            </c:extLst>
          </c:dPt>
          <c:dPt>
            <c:idx val="4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6-82FC-421B-A80E-67ACC5454550}"/>
              </c:ext>
            </c:extLst>
          </c:dPt>
          <c:dPt>
            <c:idx val="4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7-82FC-421B-A80E-67ACC5454550}"/>
              </c:ext>
            </c:extLst>
          </c:dPt>
          <c:dPt>
            <c:idx val="4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8-82FC-421B-A80E-67ACC5454550}"/>
              </c:ext>
            </c:extLst>
          </c:dPt>
          <c:dPt>
            <c:idx val="4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9-82FC-421B-A80E-67ACC5454550}"/>
              </c:ext>
            </c:extLst>
          </c:dPt>
          <c:dPt>
            <c:idx val="4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A-82FC-421B-A80E-67ACC5454550}"/>
              </c:ext>
            </c:extLst>
          </c:dPt>
          <c:dPt>
            <c:idx val="4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B-82FC-421B-A80E-67ACC5454550}"/>
              </c:ext>
            </c:extLst>
          </c:dPt>
          <c:dPt>
            <c:idx val="4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C-82FC-421B-A80E-67ACC5454550}"/>
              </c:ext>
            </c:extLst>
          </c:dPt>
          <c:dPt>
            <c:idx val="4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D-82FC-421B-A80E-67ACC5454550}"/>
              </c:ext>
            </c:extLst>
          </c:dPt>
          <c:dPt>
            <c:idx val="4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E-82FC-421B-A80E-67ACC5454550}"/>
              </c:ext>
            </c:extLst>
          </c:dPt>
          <c:dPt>
            <c:idx val="4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AF-82FC-421B-A80E-67ACC5454550}"/>
              </c:ext>
            </c:extLst>
          </c:dPt>
          <c:dPt>
            <c:idx val="4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0-82FC-421B-A80E-67ACC5454550}"/>
              </c:ext>
            </c:extLst>
          </c:dPt>
          <c:dPt>
            <c:idx val="4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1-82FC-421B-A80E-67ACC5454550}"/>
              </c:ext>
            </c:extLst>
          </c:dPt>
          <c:dPt>
            <c:idx val="4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2-82FC-421B-A80E-67ACC5454550}"/>
              </c:ext>
            </c:extLst>
          </c:dPt>
          <c:dPt>
            <c:idx val="4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3-82FC-421B-A80E-67ACC5454550}"/>
              </c:ext>
            </c:extLst>
          </c:dPt>
          <c:dPt>
            <c:idx val="4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4-82FC-421B-A80E-67ACC5454550}"/>
              </c:ext>
            </c:extLst>
          </c:dPt>
          <c:dPt>
            <c:idx val="4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5-82FC-421B-A80E-67ACC5454550}"/>
              </c:ext>
            </c:extLst>
          </c:dPt>
          <c:dPt>
            <c:idx val="4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6-82FC-421B-A80E-67ACC5454550}"/>
              </c:ext>
            </c:extLst>
          </c:dPt>
          <c:dPt>
            <c:idx val="4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7-82FC-421B-A80E-67ACC5454550}"/>
              </c:ext>
            </c:extLst>
          </c:dPt>
          <c:dPt>
            <c:idx val="4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8-82FC-421B-A80E-67ACC5454550}"/>
              </c:ext>
            </c:extLst>
          </c:dPt>
          <c:dPt>
            <c:idx val="4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9-82FC-421B-A80E-67ACC5454550}"/>
              </c:ext>
            </c:extLst>
          </c:dPt>
          <c:dPt>
            <c:idx val="4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A-82FC-421B-A80E-67ACC5454550}"/>
              </c:ext>
            </c:extLst>
          </c:dPt>
          <c:dPt>
            <c:idx val="4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B-82FC-421B-A80E-67ACC5454550}"/>
              </c:ext>
            </c:extLst>
          </c:dPt>
          <c:dPt>
            <c:idx val="4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C-82FC-421B-A80E-67ACC5454550}"/>
              </c:ext>
            </c:extLst>
          </c:dPt>
          <c:dPt>
            <c:idx val="4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D-82FC-421B-A80E-67ACC5454550}"/>
              </c:ext>
            </c:extLst>
          </c:dPt>
          <c:dPt>
            <c:idx val="4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E-82FC-421B-A80E-67ACC5454550}"/>
              </c:ext>
            </c:extLst>
          </c:dPt>
          <c:dPt>
            <c:idx val="4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BF-82FC-421B-A80E-67ACC5454550}"/>
              </c:ext>
            </c:extLst>
          </c:dPt>
          <c:dPt>
            <c:idx val="4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0-82FC-421B-A80E-67ACC5454550}"/>
              </c:ext>
            </c:extLst>
          </c:dPt>
          <c:dPt>
            <c:idx val="4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1-82FC-421B-A80E-67ACC5454550}"/>
              </c:ext>
            </c:extLst>
          </c:dPt>
          <c:dPt>
            <c:idx val="4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2-82FC-421B-A80E-67ACC5454550}"/>
              </c:ext>
            </c:extLst>
          </c:dPt>
          <c:dPt>
            <c:idx val="4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3-82FC-421B-A80E-67ACC5454550}"/>
              </c:ext>
            </c:extLst>
          </c:dPt>
          <c:dPt>
            <c:idx val="4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4-82FC-421B-A80E-67ACC5454550}"/>
              </c:ext>
            </c:extLst>
          </c:dPt>
          <c:dPt>
            <c:idx val="4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5-82FC-421B-A80E-67ACC5454550}"/>
              </c:ext>
            </c:extLst>
          </c:dPt>
          <c:dPt>
            <c:idx val="4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6-82FC-421B-A80E-67ACC5454550}"/>
              </c:ext>
            </c:extLst>
          </c:dPt>
          <c:dPt>
            <c:idx val="4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7-82FC-421B-A80E-67ACC5454550}"/>
              </c:ext>
            </c:extLst>
          </c:dPt>
          <c:dPt>
            <c:idx val="4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8-82FC-421B-A80E-67ACC5454550}"/>
              </c:ext>
            </c:extLst>
          </c:dPt>
          <c:dPt>
            <c:idx val="4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9-82FC-421B-A80E-67ACC5454550}"/>
              </c:ext>
            </c:extLst>
          </c:dPt>
          <c:dPt>
            <c:idx val="4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A-82FC-421B-A80E-67ACC5454550}"/>
              </c:ext>
            </c:extLst>
          </c:dPt>
          <c:dPt>
            <c:idx val="4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B-82FC-421B-A80E-67ACC5454550}"/>
              </c:ext>
            </c:extLst>
          </c:dPt>
          <c:dPt>
            <c:idx val="4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C-82FC-421B-A80E-67ACC5454550}"/>
              </c:ext>
            </c:extLst>
          </c:dPt>
          <c:dPt>
            <c:idx val="4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D-82FC-421B-A80E-67ACC5454550}"/>
              </c:ext>
            </c:extLst>
          </c:dPt>
          <c:dPt>
            <c:idx val="4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E-82FC-421B-A80E-67ACC5454550}"/>
              </c:ext>
            </c:extLst>
          </c:dPt>
          <c:dPt>
            <c:idx val="4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CF-82FC-421B-A80E-67ACC5454550}"/>
              </c:ext>
            </c:extLst>
          </c:dPt>
          <c:dPt>
            <c:idx val="4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0-82FC-421B-A80E-67ACC5454550}"/>
              </c:ext>
            </c:extLst>
          </c:dPt>
          <c:dPt>
            <c:idx val="4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1-82FC-421B-A80E-67ACC5454550}"/>
              </c:ext>
            </c:extLst>
          </c:dPt>
          <c:dPt>
            <c:idx val="4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2-82FC-421B-A80E-67ACC5454550}"/>
              </c:ext>
            </c:extLst>
          </c:dPt>
          <c:dPt>
            <c:idx val="4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3-82FC-421B-A80E-67ACC5454550}"/>
              </c:ext>
            </c:extLst>
          </c:dPt>
          <c:dPt>
            <c:idx val="4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4-82FC-421B-A80E-67ACC5454550}"/>
              </c:ext>
            </c:extLst>
          </c:dPt>
          <c:dPt>
            <c:idx val="4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5-82FC-421B-A80E-67ACC5454550}"/>
              </c:ext>
            </c:extLst>
          </c:dPt>
          <c:dPt>
            <c:idx val="4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6-82FC-421B-A80E-67ACC5454550}"/>
              </c:ext>
            </c:extLst>
          </c:dPt>
          <c:dPt>
            <c:idx val="4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7-82FC-421B-A80E-67ACC5454550}"/>
              </c:ext>
            </c:extLst>
          </c:dPt>
          <c:dPt>
            <c:idx val="4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8-82FC-421B-A80E-67ACC5454550}"/>
              </c:ext>
            </c:extLst>
          </c:dPt>
          <c:dPt>
            <c:idx val="4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9-82FC-421B-A80E-67ACC5454550}"/>
              </c:ext>
            </c:extLst>
          </c:dPt>
          <c:dPt>
            <c:idx val="4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A-82FC-421B-A80E-67ACC5454550}"/>
              </c:ext>
            </c:extLst>
          </c:dPt>
          <c:dPt>
            <c:idx val="4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B-82FC-421B-A80E-67ACC5454550}"/>
              </c:ext>
            </c:extLst>
          </c:dPt>
          <c:dPt>
            <c:idx val="4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C-82FC-421B-A80E-67ACC5454550}"/>
              </c:ext>
            </c:extLst>
          </c:dPt>
          <c:dPt>
            <c:idx val="4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D-82FC-421B-A80E-67ACC5454550}"/>
              </c:ext>
            </c:extLst>
          </c:dPt>
          <c:dPt>
            <c:idx val="4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E-82FC-421B-A80E-67ACC5454550}"/>
              </c:ext>
            </c:extLst>
          </c:dPt>
          <c:dPt>
            <c:idx val="4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DF-82FC-421B-A80E-67ACC5454550}"/>
              </c:ext>
            </c:extLst>
          </c:dPt>
          <c:dPt>
            <c:idx val="4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0-82FC-421B-A80E-67ACC5454550}"/>
              </c:ext>
            </c:extLst>
          </c:dPt>
          <c:dPt>
            <c:idx val="4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1-82FC-421B-A80E-67ACC5454550}"/>
              </c:ext>
            </c:extLst>
          </c:dPt>
          <c:dPt>
            <c:idx val="4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2-82FC-421B-A80E-67ACC5454550}"/>
              </c:ext>
            </c:extLst>
          </c:dPt>
          <c:dPt>
            <c:idx val="4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3-82FC-421B-A80E-67ACC5454550}"/>
              </c:ext>
            </c:extLst>
          </c:dPt>
          <c:dPt>
            <c:idx val="4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4-82FC-421B-A80E-67ACC5454550}"/>
              </c:ext>
            </c:extLst>
          </c:dPt>
          <c:dPt>
            <c:idx val="4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5-82FC-421B-A80E-67ACC5454550}"/>
              </c:ext>
            </c:extLst>
          </c:dPt>
          <c:dPt>
            <c:idx val="4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6-82FC-421B-A80E-67ACC5454550}"/>
              </c:ext>
            </c:extLst>
          </c:dPt>
          <c:dPt>
            <c:idx val="4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7-82FC-421B-A80E-67ACC5454550}"/>
              </c:ext>
            </c:extLst>
          </c:dPt>
          <c:dPt>
            <c:idx val="4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8-82FC-421B-A80E-67ACC5454550}"/>
              </c:ext>
            </c:extLst>
          </c:dPt>
          <c:dPt>
            <c:idx val="4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9-82FC-421B-A80E-67ACC5454550}"/>
              </c:ext>
            </c:extLst>
          </c:dPt>
          <c:dPt>
            <c:idx val="4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A-82FC-421B-A80E-67ACC5454550}"/>
              </c:ext>
            </c:extLst>
          </c:dPt>
          <c:dPt>
            <c:idx val="4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B-82FC-421B-A80E-67ACC5454550}"/>
              </c:ext>
            </c:extLst>
          </c:dPt>
          <c:dPt>
            <c:idx val="4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C-82FC-421B-A80E-67ACC5454550}"/>
              </c:ext>
            </c:extLst>
          </c:dPt>
          <c:dPt>
            <c:idx val="4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D-82FC-421B-A80E-67ACC5454550}"/>
              </c:ext>
            </c:extLst>
          </c:dPt>
          <c:dPt>
            <c:idx val="4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E-82FC-421B-A80E-67ACC5454550}"/>
              </c:ext>
            </c:extLst>
          </c:dPt>
          <c:dPt>
            <c:idx val="4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EF-82FC-421B-A80E-67ACC5454550}"/>
              </c:ext>
            </c:extLst>
          </c:dPt>
          <c:dPt>
            <c:idx val="4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0-82FC-421B-A80E-67ACC5454550}"/>
              </c:ext>
            </c:extLst>
          </c:dPt>
          <c:dPt>
            <c:idx val="4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1-82FC-421B-A80E-67ACC5454550}"/>
              </c:ext>
            </c:extLst>
          </c:dPt>
          <c:dPt>
            <c:idx val="4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2-82FC-421B-A80E-67ACC5454550}"/>
              </c:ext>
            </c:extLst>
          </c:dPt>
          <c:dPt>
            <c:idx val="4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3-82FC-421B-A80E-67ACC5454550}"/>
              </c:ext>
            </c:extLst>
          </c:dPt>
          <c:dPt>
            <c:idx val="5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4-82FC-421B-A80E-67ACC5454550}"/>
              </c:ext>
            </c:extLst>
          </c:dPt>
          <c:dPt>
            <c:idx val="5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5-82FC-421B-A80E-67ACC5454550}"/>
              </c:ext>
            </c:extLst>
          </c:dPt>
          <c:dPt>
            <c:idx val="5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6-82FC-421B-A80E-67ACC5454550}"/>
              </c:ext>
            </c:extLst>
          </c:dPt>
          <c:dPt>
            <c:idx val="5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7-82FC-421B-A80E-67ACC5454550}"/>
              </c:ext>
            </c:extLst>
          </c:dPt>
          <c:dPt>
            <c:idx val="5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8-82FC-421B-A80E-67ACC5454550}"/>
              </c:ext>
            </c:extLst>
          </c:dPt>
          <c:dPt>
            <c:idx val="5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9-82FC-421B-A80E-67ACC5454550}"/>
              </c:ext>
            </c:extLst>
          </c:dPt>
          <c:dPt>
            <c:idx val="5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A-82FC-421B-A80E-67ACC5454550}"/>
              </c:ext>
            </c:extLst>
          </c:dPt>
          <c:dPt>
            <c:idx val="5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B-82FC-421B-A80E-67ACC5454550}"/>
              </c:ext>
            </c:extLst>
          </c:dPt>
          <c:dPt>
            <c:idx val="5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C-82FC-421B-A80E-67ACC5454550}"/>
              </c:ext>
            </c:extLst>
          </c:dPt>
          <c:dPt>
            <c:idx val="5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D-82FC-421B-A80E-67ACC5454550}"/>
              </c:ext>
            </c:extLst>
          </c:dPt>
          <c:dPt>
            <c:idx val="5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E-82FC-421B-A80E-67ACC5454550}"/>
              </c:ext>
            </c:extLst>
          </c:dPt>
          <c:dPt>
            <c:idx val="5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1FF-82FC-421B-A80E-67ACC5454550}"/>
              </c:ext>
            </c:extLst>
          </c:dPt>
          <c:dPt>
            <c:idx val="5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0-82FC-421B-A80E-67ACC5454550}"/>
              </c:ext>
            </c:extLst>
          </c:dPt>
          <c:dPt>
            <c:idx val="5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1-82FC-421B-A80E-67ACC5454550}"/>
              </c:ext>
            </c:extLst>
          </c:dPt>
          <c:dPt>
            <c:idx val="5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2-82FC-421B-A80E-67ACC5454550}"/>
              </c:ext>
            </c:extLst>
          </c:dPt>
          <c:dPt>
            <c:idx val="5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3-82FC-421B-A80E-67ACC5454550}"/>
              </c:ext>
            </c:extLst>
          </c:dPt>
          <c:dPt>
            <c:idx val="5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4-82FC-421B-A80E-67ACC5454550}"/>
              </c:ext>
            </c:extLst>
          </c:dPt>
          <c:dPt>
            <c:idx val="5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5-82FC-421B-A80E-67ACC5454550}"/>
              </c:ext>
            </c:extLst>
          </c:dPt>
          <c:dPt>
            <c:idx val="5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6-82FC-421B-A80E-67ACC5454550}"/>
              </c:ext>
            </c:extLst>
          </c:dPt>
          <c:dPt>
            <c:idx val="5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7-82FC-421B-A80E-67ACC5454550}"/>
              </c:ext>
            </c:extLst>
          </c:dPt>
          <c:dPt>
            <c:idx val="5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8-82FC-421B-A80E-67ACC5454550}"/>
              </c:ext>
            </c:extLst>
          </c:dPt>
          <c:dPt>
            <c:idx val="5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9-82FC-421B-A80E-67ACC5454550}"/>
              </c:ext>
            </c:extLst>
          </c:dPt>
          <c:dPt>
            <c:idx val="5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A-82FC-421B-A80E-67ACC5454550}"/>
              </c:ext>
            </c:extLst>
          </c:dPt>
          <c:dPt>
            <c:idx val="5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B-82FC-421B-A80E-67ACC5454550}"/>
              </c:ext>
            </c:extLst>
          </c:dPt>
          <c:dPt>
            <c:idx val="5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C-82FC-421B-A80E-67ACC5454550}"/>
              </c:ext>
            </c:extLst>
          </c:dPt>
          <c:dPt>
            <c:idx val="5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D-82FC-421B-A80E-67ACC5454550}"/>
              </c:ext>
            </c:extLst>
          </c:dPt>
          <c:dPt>
            <c:idx val="5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E-82FC-421B-A80E-67ACC5454550}"/>
              </c:ext>
            </c:extLst>
          </c:dPt>
          <c:dPt>
            <c:idx val="5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0F-82FC-421B-A80E-67ACC5454550}"/>
              </c:ext>
            </c:extLst>
          </c:dPt>
          <c:dPt>
            <c:idx val="5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0-82FC-421B-A80E-67ACC5454550}"/>
              </c:ext>
            </c:extLst>
          </c:dPt>
          <c:dPt>
            <c:idx val="5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1-82FC-421B-A80E-67ACC5454550}"/>
              </c:ext>
            </c:extLst>
          </c:dPt>
          <c:dPt>
            <c:idx val="5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2-82FC-421B-A80E-67ACC5454550}"/>
              </c:ext>
            </c:extLst>
          </c:dPt>
          <c:dPt>
            <c:idx val="5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3-82FC-421B-A80E-67ACC5454550}"/>
              </c:ext>
            </c:extLst>
          </c:dPt>
          <c:dPt>
            <c:idx val="5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4-82FC-421B-A80E-67ACC5454550}"/>
              </c:ext>
            </c:extLst>
          </c:dPt>
          <c:dPt>
            <c:idx val="5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5-82FC-421B-A80E-67ACC5454550}"/>
              </c:ext>
            </c:extLst>
          </c:dPt>
          <c:dPt>
            <c:idx val="5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6-82FC-421B-A80E-67ACC5454550}"/>
              </c:ext>
            </c:extLst>
          </c:dPt>
          <c:dPt>
            <c:idx val="5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7-82FC-421B-A80E-67ACC5454550}"/>
              </c:ext>
            </c:extLst>
          </c:dPt>
          <c:dPt>
            <c:idx val="5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8-82FC-421B-A80E-67ACC5454550}"/>
              </c:ext>
            </c:extLst>
          </c:dPt>
          <c:dPt>
            <c:idx val="5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9-82FC-421B-A80E-67ACC5454550}"/>
              </c:ext>
            </c:extLst>
          </c:dPt>
          <c:dPt>
            <c:idx val="5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A-82FC-421B-A80E-67ACC5454550}"/>
              </c:ext>
            </c:extLst>
          </c:dPt>
          <c:dPt>
            <c:idx val="5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B-82FC-421B-A80E-67ACC5454550}"/>
              </c:ext>
            </c:extLst>
          </c:dPt>
          <c:dPt>
            <c:idx val="5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C-82FC-421B-A80E-67ACC5454550}"/>
              </c:ext>
            </c:extLst>
          </c:dPt>
          <c:dPt>
            <c:idx val="5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D-82FC-421B-A80E-67ACC5454550}"/>
              </c:ext>
            </c:extLst>
          </c:dPt>
          <c:dPt>
            <c:idx val="5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E-82FC-421B-A80E-67ACC5454550}"/>
              </c:ext>
            </c:extLst>
          </c:dPt>
          <c:dPt>
            <c:idx val="5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1F-82FC-421B-A80E-67ACC5454550}"/>
              </c:ext>
            </c:extLst>
          </c:dPt>
          <c:dPt>
            <c:idx val="5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0-82FC-421B-A80E-67ACC5454550}"/>
              </c:ext>
            </c:extLst>
          </c:dPt>
          <c:dPt>
            <c:idx val="5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1-82FC-421B-A80E-67ACC5454550}"/>
              </c:ext>
            </c:extLst>
          </c:dPt>
          <c:dPt>
            <c:idx val="5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2-82FC-421B-A80E-67ACC5454550}"/>
              </c:ext>
            </c:extLst>
          </c:dPt>
          <c:dPt>
            <c:idx val="5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3-82FC-421B-A80E-67ACC5454550}"/>
              </c:ext>
            </c:extLst>
          </c:dPt>
          <c:dPt>
            <c:idx val="5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4-82FC-421B-A80E-67ACC5454550}"/>
              </c:ext>
            </c:extLst>
          </c:dPt>
          <c:dPt>
            <c:idx val="5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5-82FC-421B-A80E-67ACC5454550}"/>
              </c:ext>
            </c:extLst>
          </c:dPt>
          <c:dPt>
            <c:idx val="5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6-82FC-421B-A80E-67ACC5454550}"/>
              </c:ext>
            </c:extLst>
          </c:dPt>
          <c:dPt>
            <c:idx val="5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7-82FC-421B-A80E-67ACC5454550}"/>
              </c:ext>
            </c:extLst>
          </c:dPt>
          <c:dPt>
            <c:idx val="5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8-82FC-421B-A80E-67ACC5454550}"/>
              </c:ext>
            </c:extLst>
          </c:dPt>
          <c:dPt>
            <c:idx val="5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9-82FC-421B-A80E-67ACC5454550}"/>
              </c:ext>
            </c:extLst>
          </c:dPt>
          <c:dPt>
            <c:idx val="5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A-82FC-421B-A80E-67ACC5454550}"/>
              </c:ext>
            </c:extLst>
          </c:dPt>
          <c:dPt>
            <c:idx val="5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B-82FC-421B-A80E-67ACC5454550}"/>
              </c:ext>
            </c:extLst>
          </c:dPt>
          <c:dPt>
            <c:idx val="5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C-82FC-421B-A80E-67ACC5454550}"/>
              </c:ext>
            </c:extLst>
          </c:dPt>
          <c:dPt>
            <c:idx val="5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D-82FC-421B-A80E-67ACC5454550}"/>
              </c:ext>
            </c:extLst>
          </c:dPt>
          <c:dPt>
            <c:idx val="5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E-82FC-421B-A80E-67ACC5454550}"/>
              </c:ext>
            </c:extLst>
          </c:dPt>
          <c:dPt>
            <c:idx val="5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2F-82FC-421B-A80E-67ACC5454550}"/>
              </c:ext>
            </c:extLst>
          </c:dPt>
          <c:dPt>
            <c:idx val="5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0-82FC-421B-A80E-67ACC5454550}"/>
              </c:ext>
            </c:extLst>
          </c:dPt>
          <c:dPt>
            <c:idx val="5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1-82FC-421B-A80E-67ACC5454550}"/>
              </c:ext>
            </c:extLst>
          </c:dPt>
          <c:dPt>
            <c:idx val="5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2-82FC-421B-A80E-67ACC5454550}"/>
              </c:ext>
            </c:extLst>
          </c:dPt>
          <c:dPt>
            <c:idx val="5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3-82FC-421B-A80E-67ACC5454550}"/>
              </c:ext>
            </c:extLst>
          </c:dPt>
          <c:dPt>
            <c:idx val="5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4-82FC-421B-A80E-67ACC5454550}"/>
              </c:ext>
            </c:extLst>
          </c:dPt>
          <c:dPt>
            <c:idx val="5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5-82FC-421B-A80E-67ACC5454550}"/>
              </c:ext>
            </c:extLst>
          </c:dPt>
          <c:dPt>
            <c:idx val="5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6-82FC-421B-A80E-67ACC5454550}"/>
              </c:ext>
            </c:extLst>
          </c:dPt>
          <c:dPt>
            <c:idx val="5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7-82FC-421B-A80E-67ACC5454550}"/>
              </c:ext>
            </c:extLst>
          </c:dPt>
          <c:dPt>
            <c:idx val="5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8-82FC-421B-A80E-67ACC5454550}"/>
              </c:ext>
            </c:extLst>
          </c:dPt>
          <c:dPt>
            <c:idx val="5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9-82FC-421B-A80E-67ACC5454550}"/>
              </c:ext>
            </c:extLst>
          </c:dPt>
          <c:dPt>
            <c:idx val="5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A-82FC-421B-A80E-67ACC5454550}"/>
              </c:ext>
            </c:extLst>
          </c:dPt>
          <c:dPt>
            <c:idx val="5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B-82FC-421B-A80E-67ACC5454550}"/>
              </c:ext>
            </c:extLst>
          </c:dPt>
          <c:dPt>
            <c:idx val="5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C-82FC-421B-A80E-67ACC5454550}"/>
              </c:ext>
            </c:extLst>
          </c:dPt>
          <c:dPt>
            <c:idx val="5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D-82FC-421B-A80E-67ACC5454550}"/>
              </c:ext>
            </c:extLst>
          </c:dPt>
          <c:dPt>
            <c:idx val="5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E-82FC-421B-A80E-67ACC5454550}"/>
              </c:ext>
            </c:extLst>
          </c:dPt>
          <c:dPt>
            <c:idx val="5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3F-82FC-421B-A80E-67ACC5454550}"/>
              </c:ext>
            </c:extLst>
          </c:dPt>
          <c:dPt>
            <c:idx val="5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0-82FC-421B-A80E-67ACC5454550}"/>
              </c:ext>
            </c:extLst>
          </c:dPt>
          <c:dPt>
            <c:idx val="5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1-82FC-421B-A80E-67ACC5454550}"/>
              </c:ext>
            </c:extLst>
          </c:dPt>
          <c:dPt>
            <c:idx val="5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2-82FC-421B-A80E-67ACC5454550}"/>
              </c:ext>
            </c:extLst>
          </c:dPt>
          <c:dPt>
            <c:idx val="5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3-82FC-421B-A80E-67ACC5454550}"/>
              </c:ext>
            </c:extLst>
          </c:dPt>
          <c:dPt>
            <c:idx val="5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4-82FC-421B-A80E-67ACC5454550}"/>
              </c:ext>
            </c:extLst>
          </c:dPt>
          <c:dPt>
            <c:idx val="5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5-82FC-421B-A80E-67ACC5454550}"/>
              </c:ext>
            </c:extLst>
          </c:dPt>
          <c:dPt>
            <c:idx val="5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6-82FC-421B-A80E-67ACC5454550}"/>
              </c:ext>
            </c:extLst>
          </c:dPt>
          <c:dPt>
            <c:idx val="5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7-82FC-421B-A80E-67ACC5454550}"/>
              </c:ext>
            </c:extLst>
          </c:dPt>
          <c:dPt>
            <c:idx val="5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8-82FC-421B-A80E-67ACC5454550}"/>
              </c:ext>
            </c:extLst>
          </c:dPt>
          <c:dPt>
            <c:idx val="5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9-82FC-421B-A80E-67ACC5454550}"/>
              </c:ext>
            </c:extLst>
          </c:dPt>
          <c:dPt>
            <c:idx val="5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A-82FC-421B-A80E-67ACC5454550}"/>
              </c:ext>
            </c:extLst>
          </c:dPt>
          <c:dPt>
            <c:idx val="5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B-82FC-421B-A80E-67ACC5454550}"/>
              </c:ext>
            </c:extLst>
          </c:dPt>
          <c:dPt>
            <c:idx val="5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C-82FC-421B-A80E-67ACC5454550}"/>
              </c:ext>
            </c:extLst>
          </c:dPt>
          <c:dPt>
            <c:idx val="5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D-82FC-421B-A80E-67ACC5454550}"/>
              </c:ext>
            </c:extLst>
          </c:dPt>
          <c:dPt>
            <c:idx val="5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E-82FC-421B-A80E-67ACC5454550}"/>
              </c:ext>
            </c:extLst>
          </c:dPt>
          <c:dPt>
            <c:idx val="5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4F-82FC-421B-A80E-67ACC5454550}"/>
              </c:ext>
            </c:extLst>
          </c:dPt>
          <c:dPt>
            <c:idx val="5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0-82FC-421B-A80E-67ACC5454550}"/>
              </c:ext>
            </c:extLst>
          </c:dPt>
          <c:dPt>
            <c:idx val="5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1-82FC-421B-A80E-67ACC5454550}"/>
              </c:ext>
            </c:extLst>
          </c:dPt>
          <c:dPt>
            <c:idx val="5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2-82FC-421B-A80E-67ACC5454550}"/>
              </c:ext>
            </c:extLst>
          </c:dPt>
          <c:dPt>
            <c:idx val="5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3-82FC-421B-A80E-67ACC5454550}"/>
              </c:ext>
            </c:extLst>
          </c:dPt>
          <c:dPt>
            <c:idx val="5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4-82FC-421B-A80E-67ACC5454550}"/>
              </c:ext>
            </c:extLst>
          </c:dPt>
          <c:dPt>
            <c:idx val="5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5-82FC-421B-A80E-67ACC5454550}"/>
              </c:ext>
            </c:extLst>
          </c:dPt>
          <c:dPt>
            <c:idx val="5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6-82FC-421B-A80E-67ACC5454550}"/>
              </c:ext>
            </c:extLst>
          </c:dPt>
          <c:dPt>
            <c:idx val="5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7-82FC-421B-A80E-67ACC5454550}"/>
              </c:ext>
            </c:extLst>
          </c:dPt>
          <c:dPt>
            <c:idx val="6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8-82FC-421B-A80E-67ACC5454550}"/>
              </c:ext>
            </c:extLst>
          </c:dPt>
          <c:dPt>
            <c:idx val="6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9-82FC-421B-A80E-67ACC5454550}"/>
              </c:ext>
            </c:extLst>
          </c:dPt>
          <c:dPt>
            <c:idx val="6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A-82FC-421B-A80E-67ACC5454550}"/>
              </c:ext>
            </c:extLst>
          </c:dPt>
          <c:dPt>
            <c:idx val="6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B-82FC-421B-A80E-67ACC5454550}"/>
              </c:ext>
            </c:extLst>
          </c:dPt>
          <c:dPt>
            <c:idx val="6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C-82FC-421B-A80E-67ACC5454550}"/>
              </c:ext>
            </c:extLst>
          </c:dPt>
          <c:dPt>
            <c:idx val="6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D-82FC-421B-A80E-67ACC5454550}"/>
              </c:ext>
            </c:extLst>
          </c:dPt>
          <c:dPt>
            <c:idx val="6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E-82FC-421B-A80E-67ACC5454550}"/>
              </c:ext>
            </c:extLst>
          </c:dPt>
          <c:dPt>
            <c:idx val="6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5F-82FC-421B-A80E-67ACC5454550}"/>
              </c:ext>
            </c:extLst>
          </c:dPt>
          <c:dPt>
            <c:idx val="6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0-82FC-421B-A80E-67ACC5454550}"/>
              </c:ext>
            </c:extLst>
          </c:dPt>
          <c:dPt>
            <c:idx val="6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1-82FC-421B-A80E-67ACC5454550}"/>
              </c:ext>
            </c:extLst>
          </c:dPt>
          <c:dPt>
            <c:idx val="6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2-82FC-421B-A80E-67ACC5454550}"/>
              </c:ext>
            </c:extLst>
          </c:dPt>
          <c:dPt>
            <c:idx val="6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3-82FC-421B-A80E-67ACC5454550}"/>
              </c:ext>
            </c:extLst>
          </c:dPt>
          <c:dPt>
            <c:idx val="6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4-82FC-421B-A80E-67ACC5454550}"/>
              </c:ext>
            </c:extLst>
          </c:dPt>
          <c:dPt>
            <c:idx val="6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5-82FC-421B-A80E-67ACC5454550}"/>
              </c:ext>
            </c:extLst>
          </c:dPt>
          <c:dPt>
            <c:idx val="6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6-82FC-421B-A80E-67ACC5454550}"/>
              </c:ext>
            </c:extLst>
          </c:dPt>
          <c:dPt>
            <c:idx val="6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7-82FC-421B-A80E-67ACC5454550}"/>
              </c:ext>
            </c:extLst>
          </c:dPt>
          <c:dPt>
            <c:idx val="6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8-82FC-421B-A80E-67ACC5454550}"/>
              </c:ext>
            </c:extLst>
          </c:dPt>
          <c:dPt>
            <c:idx val="6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9-82FC-421B-A80E-67ACC5454550}"/>
              </c:ext>
            </c:extLst>
          </c:dPt>
          <c:dPt>
            <c:idx val="6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A-82FC-421B-A80E-67ACC5454550}"/>
              </c:ext>
            </c:extLst>
          </c:dPt>
          <c:dPt>
            <c:idx val="6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B-82FC-421B-A80E-67ACC5454550}"/>
              </c:ext>
            </c:extLst>
          </c:dPt>
          <c:dPt>
            <c:idx val="6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C-82FC-421B-A80E-67ACC5454550}"/>
              </c:ext>
            </c:extLst>
          </c:dPt>
          <c:dPt>
            <c:idx val="6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D-82FC-421B-A80E-67ACC5454550}"/>
              </c:ext>
            </c:extLst>
          </c:dPt>
          <c:dPt>
            <c:idx val="6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E-82FC-421B-A80E-67ACC5454550}"/>
              </c:ext>
            </c:extLst>
          </c:dPt>
          <c:dPt>
            <c:idx val="6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6F-82FC-421B-A80E-67ACC5454550}"/>
              </c:ext>
            </c:extLst>
          </c:dPt>
          <c:dPt>
            <c:idx val="6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0-82FC-421B-A80E-67ACC5454550}"/>
              </c:ext>
            </c:extLst>
          </c:dPt>
          <c:dPt>
            <c:idx val="6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1-82FC-421B-A80E-67ACC5454550}"/>
              </c:ext>
            </c:extLst>
          </c:dPt>
          <c:dPt>
            <c:idx val="6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2-82FC-421B-A80E-67ACC5454550}"/>
              </c:ext>
            </c:extLst>
          </c:dPt>
          <c:dPt>
            <c:idx val="6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3-82FC-421B-A80E-67ACC5454550}"/>
              </c:ext>
            </c:extLst>
          </c:dPt>
          <c:dPt>
            <c:idx val="6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4-82FC-421B-A80E-67ACC5454550}"/>
              </c:ext>
            </c:extLst>
          </c:dPt>
          <c:dPt>
            <c:idx val="6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5-82FC-421B-A80E-67ACC5454550}"/>
              </c:ext>
            </c:extLst>
          </c:dPt>
          <c:dPt>
            <c:idx val="6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6-82FC-421B-A80E-67ACC5454550}"/>
              </c:ext>
            </c:extLst>
          </c:dPt>
          <c:dPt>
            <c:idx val="6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7-82FC-421B-A80E-67ACC5454550}"/>
              </c:ext>
            </c:extLst>
          </c:dPt>
          <c:dPt>
            <c:idx val="6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8-82FC-421B-A80E-67ACC5454550}"/>
              </c:ext>
            </c:extLst>
          </c:dPt>
          <c:dPt>
            <c:idx val="6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9-82FC-421B-A80E-67ACC5454550}"/>
              </c:ext>
            </c:extLst>
          </c:dPt>
          <c:dPt>
            <c:idx val="6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A-82FC-421B-A80E-67ACC5454550}"/>
              </c:ext>
            </c:extLst>
          </c:dPt>
          <c:dPt>
            <c:idx val="6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B-82FC-421B-A80E-67ACC5454550}"/>
              </c:ext>
            </c:extLst>
          </c:dPt>
          <c:dPt>
            <c:idx val="6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C-82FC-421B-A80E-67ACC5454550}"/>
              </c:ext>
            </c:extLst>
          </c:dPt>
          <c:dPt>
            <c:idx val="6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D-82FC-421B-A80E-67ACC5454550}"/>
              </c:ext>
            </c:extLst>
          </c:dPt>
          <c:dPt>
            <c:idx val="6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E-82FC-421B-A80E-67ACC5454550}"/>
              </c:ext>
            </c:extLst>
          </c:dPt>
          <c:dPt>
            <c:idx val="6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7F-82FC-421B-A80E-67ACC5454550}"/>
              </c:ext>
            </c:extLst>
          </c:dPt>
          <c:dPt>
            <c:idx val="6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0-82FC-421B-A80E-67ACC5454550}"/>
              </c:ext>
            </c:extLst>
          </c:dPt>
          <c:dPt>
            <c:idx val="6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1-82FC-421B-A80E-67ACC5454550}"/>
              </c:ext>
            </c:extLst>
          </c:dPt>
          <c:dPt>
            <c:idx val="6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2-82FC-421B-A80E-67ACC5454550}"/>
              </c:ext>
            </c:extLst>
          </c:dPt>
          <c:dPt>
            <c:idx val="6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3-82FC-421B-A80E-67ACC5454550}"/>
              </c:ext>
            </c:extLst>
          </c:dPt>
          <c:dPt>
            <c:idx val="6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4-82FC-421B-A80E-67ACC5454550}"/>
              </c:ext>
            </c:extLst>
          </c:dPt>
          <c:dPt>
            <c:idx val="6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5-82FC-421B-A80E-67ACC5454550}"/>
              </c:ext>
            </c:extLst>
          </c:dPt>
          <c:dPt>
            <c:idx val="6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6-82FC-421B-A80E-67ACC5454550}"/>
              </c:ext>
            </c:extLst>
          </c:dPt>
          <c:dPt>
            <c:idx val="6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7-82FC-421B-A80E-67ACC5454550}"/>
              </c:ext>
            </c:extLst>
          </c:dPt>
          <c:dPt>
            <c:idx val="6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8-82FC-421B-A80E-67ACC5454550}"/>
              </c:ext>
            </c:extLst>
          </c:dPt>
          <c:dPt>
            <c:idx val="6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9-82FC-421B-A80E-67ACC5454550}"/>
              </c:ext>
            </c:extLst>
          </c:dPt>
          <c:dPt>
            <c:idx val="6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A-82FC-421B-A80E-67ACC5454550}"/>
              </c:ext>
            </c:extLst>
          </c:dPt>
          <c:dPt>
            <c:idx val="6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B-82FC-421B-A80E-67ACC5454550}"/>
              </c:ext>
            </c:extLst>
          </c:dPt>
          <c:dPt>
            <c:idx val="6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C-82FC-421B-A80E-67ACC5454550}"/>
              </c:ext>
            </c:extLst>
          </c:dPt>
          <c:dPt>
            <c:idx val="6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D-82FC-421B-A80E-67ACC5454550}"/>
              </c:ext>
            </c:extLst>
          </c:dPt>
          <c:dPt>
            <c:idx val="6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E-82FC-421B-A80E-67ACC5454550}"/>
              </c:ext>
            </c:extLst>
          </c:dPt>
          <c:dPt>
            <c:idx val="6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8F-82FC-421B-A80E-67ACC5454550}"/>
              </c:ext>
            </c:extLst>
          </c:dPt>
          <c:dPt>
            <c:idx val="6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0-82FC-421B-A80E-67ACC5454550}"/>
              </c:ext>
            </c:extLst>
          </c:dPt>
          <c:dPt>
            <c:idx val="6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1-82FC-421B-A80E-67ACC5454550}"/>
              </c:ext>
            </c:extLst>
          </c:dPt>
          <c:dPt>
            <c:idx val="6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2-82FC-421B-A80E-67ACC5454550}"/>
              </c:ext>
            </c:extLst>
          </c:dPt>
          <c:dPt>
            <c:idx val="6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3-82FC-421B-A80E-67ACC5454550}"/>
              </c:ext>
            </c:extLst>
          </c:dPt>
          <c:dPt>
            <c:idx val="6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4-82FC-421B-A80E-67ACC5454550}"/>
              </c:ext>
            </c:extLst>
          </c:dPt>
          <c:dPt>
            <c:idx val="6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5-82FC-421B-A80E-67ACC5454550}"/>
              </c:ext>
            </c:extLst>
          </c:dPt>
          <c:dPt>
            <c:idx val="6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6-82FC-421B-A80E-67ACC5454550}"/>
              </c:ext>
            </c:extLst>
          </c:dPt>
          <c:dPt>
            <c:idx val="6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7-82FC-421B-A80E-67ACC5454550}"/>
              </c:ext>
            </c:extLst>
          </c:dPt>
          <c:dPt>
            <c:idx val="6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8-82FC-421B-A80E-67ACC5454550}"/>
              </c:ext>
            </c:extLst>
          </c:dPt>
          <c:dPt>
            <c:idx val="6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9-82FC-421B-A80E-67ACC5454550}"/>
              </c:ext>
            </c:extLst>
          </c:dPt>
          <c:dPt>
            <c:idx val="6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A-82FC-421B-A80E-67ACC5454550}"/>
              </c:ext>
            </c:extLst>
          </c:dPt>
          <c:dPt>
            <c:idx val="6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B-82FC-421B-A80E-67ACC5454550}"/>
              </c:ext>
            </c:extLst>
          </c:dPt>
          <c:dPt>
            <c:idx val="6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C-82FC-421B-A80E-67ACC5454550}"/>
              </c:ext>
            </c:extLst>
          </c:dPt>
          <c:dPt>
            <c:idx val="6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D-82FC-421B-A80E-67ACC5454550}"/>
              </c:ext>
            </c:extLst>
          </c:dPt>
          <c:dPt>
            <c:idx val="6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E-82FC-421B-A80E-67ACC5454550}"/>
              </c:ext>
            </c:extLst>
          </c:dPt>
          <c:dPt>
            <c:idx val="6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9F-82FC-421B-A80E-67ACC5454550}"/>
              </c:ext>
            </c:extLst>
          </c:dPt>
          <c:dPt>
            <c:idx val="6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0-82FC-421B-A80E-67ACC5454550}"/>
              </c:ext>
            </c:extLst>
          </c:dPt>
          <c:dPt>
            <c:idx val="6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1-82FC-421B-A80E-67ACC5454550}"/>
              </c:ext>
            </c:extLst>
          </c:dPt>
          <c:dPt>
            <c:idx val="6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2-82FC-421B-A80E-67ACC5454550}"/>
              </c:ext>
            </c:extLst>
          </c:dPt>
          <c:dPt>
            <c:idx val="6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3-82FC-421B-A80E-67ACC5454550}"/>
              </c:ext>
            </c:extLst>
          </c:dPt>
          <c:dPt>
            <c:idx val="6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4-82FC-421B-A80E-67ACC5454550}"/>
              </c:ext>
            </c:extLst>
          </c:dPt>
          <c:dPt>
            <c:idx val="6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5-82FC-421B-A80E-67ACC5454550}"/>
              </c:ext>
            </c:extLst>
          </c:dPt>
          <c:dPt>
            <c:idx val="6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6-82FC-421B-A80E-67ACC5454550}"/>
              </c:ext>
            </c:extLst>
          </c:dPt>
          <c:dPt>
            <c:idx val="6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7-82FC-421B-A80E-67ACC5454550}"/>
              </c:ext>
            </c:extLst>
          </c:dPt>
          <c:dPt>
            <c:idx val="6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8-82FC-421B-A80E-67ACC5454550}"/>
              </c:ext>
            </c:extLst>
          </c:dPt>
          <c:dPt>
            <c:idx val="6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9-82FC-421B-A80E-67ACC5454550}"/>
              </c:ext>
            </c:extLst>
          </c:dPt>
          <c:dPt>
            <c:idx val="6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A-82FC-421B-A80E-67ACC5454550}"/>
              </c:ext>
            </c:extLst>
          </c:dPt>
          <c:dPt>
            <c:idx val="6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B-82FC-421B-A80E-67ACC5454550}"/>
              </c:ext>
            </c:extLst>
          </c:dPt>
          <c:dPt>
            <c:idx val="6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C-82FC-421B-A80E-67ACC5454550}"/>
              </c:ext>
            </c:extLst>
          </c:dPt>
          <c:dPt>
            <c:idx val="6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D-82FC-421B-A80E-67ACC5454550}"/>
              </c:ext>
            </c:extLst>
          </c:dPt>
          <c:dPt>
            <c:idx val="6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E-82FC-421B-A80E-67ACC5454550}"/>
              </c:ext>
            </c:extLst>
          </c:dPt>
          <c:dPt>
            <c:idx val="6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AF-82FC-421B-A80E-67ACC5454550}"/>
              </c:ext>
            </c:extLst>
          </c:dPt>
          <c:dPt>
            <c:idx val="6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0-82FC-421B-A80E-67ACC5454550}"/>
              </c:ext>
            </c:extLst>
          </c:dPt>
          <c:dPt>
            <c:idx val="6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1-82FC-421B-A80E-67ACC5454550}"/>
              </c:ext>
            </c:extLst>
          </c:dPt>
          <c:dPt>
            <c:idx val="6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2-82FC-421B-A80E-67ACC5454550}"/>
              </c:ext>
            </c:extLst>
          </c:dPt>
          <c:dPt>
            <c:idx val="6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3-82FC-421B-A80E-67ACC5454550}"/>
              </c:ext>
            </c:extLst>
          </c:dPt>
          <c:dPt>
            <c:idx val="6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4-82FC-421B-A80E-67ACC5454550}"/>
              </c:ext>
            </c:extLst>
          </c:dPt>
          <c:dPt>
            <c:idx val="6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5-82FC-421B-A80E-67ACC5454550}"/>
              </c:ext>
            </c:extLst>
          </c:dPt>
          <c:dPt>
            <c:idx val="6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6-82FC-421B-A80E-67ACC5454550}"/>
              </c:ext>
            </c:extLst>
          </c:dPt>
          <c:dPt>
            <c:idx val="6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7-82FC-421B-A80E-67ACC5454550}"/>
              </c:ext>
            </c:extLst>
          </c:dPt>
          <c:dPt>
            <c:idx val="6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8-82FC-421B-A80E-67ACC5454550}"/>
              </c:ext>
            </c:extLst>
          </c:dPt>
          <c:dPt>
            <c:idx val="6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9-82FC-421B-A80E-67ACC5454550}"/>
              </c:ext>
            </c:extLst>
          </c:dPt>
          <c:dPt>
            <c:idx val="6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A-82FC-421B-A80E-67ACC5454550}"/>
              </c:ext>
            </c:extLst>
          </c:dPt>
          <c:dPt>
            <c:idx val="6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B-82FC-421B-A80E-67ACC5454550}"/>
              </c:ext>
            </c:extLst>
          </c:dPt>
          <c:dPt>
            <c:idx val="7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C-82FC-421B-A80E-67ACC5454550}"/>
              </c:ext>
            </c:extLst>
          </c:dPt>
          <c:dPt>
            <c:idx val="7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D-82FC-421B-A80E-67ACC5454550}"/>
              </c:ext>
            </c:extLst>
          </c:dPt>
          <c:dPt>
            <c:idx val="7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E-82FC-421B-A80E-67ACC5454550}"/>
              </c:ext>
            </c:extLst>
          </c:dPt>
          <c:dPt>
            <c:idx val="7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BF-82FC-421B-A80E-67ACC5454550}"/>
              </c:ext>
            </c:extLst>
          </c:dPt>
          <c:dPt>
            <c:idx val="7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0-82FC-421B-A80E-67ACC5454550}"/>
              </c:ext>
            </c:extLst>
          </c:dPt>
          <c:dPt>
            <c:idx val="7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1-82FC-421B-A80E-67ACC5454550}"/>
              </c:ext>
            </c:extLst>
          </c:dPt>
          <c:dPt>
            <c:idx val="7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2-82FC-421B-A80E-67ACC5454550}"/>
              </c:ext>
            </c:extLst>
          </c:dPt>
          <c:dPt>
            <c:idx val="7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3-82FC-421B-A80E-67ACC5454550}"/>
              </c:ext>
            </c:extLst>
          </c:dPt>
          <c:dPt>
            <c:idx val="7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4-82FC-421B-A80E-67ACC5454550}"/>
              </c:ext>
            </c:extLst>
          </c:dPt>
          <c:dPt>
            <c:idx val="7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5-82FC-421B-A80E-67ACC5454550}"/>
              </c:ext>
            </c:extLst>
          </c:dPt>
          <c:dPt>
            <c:idx val="7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6-82FC-421B-A80E-67ACC5454550}"/>
              </c:ext>
            </c:extLst>
          </c:dPt>
          <c:dPt>
            <c:idx val="7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7-82FC-421B-A80E-67ACC5454550}"/>
              </c:ext>
            </c:extLst>
          </c:dPt>
          <c:dPt>
            <c:idx val="7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8-82FC-421B-A80E-67ACC5454550}"/>
              </c:ext>
            </c:extLst>
          </c:dPt>
          <c:dPt>
            <c:idx val="7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9-82FC-421B-A80E-67ACC5454550}"/>
              </c:ext>
            </c:extLst>
          </c:dPt>
          <c:dPt>
            <c:idx val="7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A-82FC-421B-A80E-67ACC5454550}"/>
              </c:ext>
            </c:extLst>
          </c:dPt>
          <c:dPt>
            <c:idx val="7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B-82FC-421B-A80E-67ACC5454550}"/>
              </c:ext>
            </c:extLst>
          </c:dPt>
          <c:dPt>
            <c:idx val="7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C-82FC-421B-A80E-67ACC5454550}"/>
              </c:ext>
            </c:extLst>
          </c:dPt>
          <c:dPt>
            <c:idx val="7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D-82FC-421B-A80E-67ACC5454550}"/>
              </c:ext>
            </c:extLst>
          </c:dPt>
          <c:dPt>
            <c:idx val="7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E-82FC-421B-A80E-67ACC5454550}"/>
              </c:ext>
            </c:extLst>
          </c:dPt>
          <c:dPt>
            <c:idx val="7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CF-82FC-421B-A80E-67ACC5454550}"/>
              </c:ext>
            </c:extLst>
          </c:dPt>
          <c:dPt>
            <c:idx val="7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0-82FC-421B-A80E-67ACC5454550}"/>
              </c:ext>
            </c:extLst>
          </c:dPt>
          <c:dPt>
            <c:idx val="7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1-82FC-421B-A80E-67ACC5454550}"/>
              </c:ext>
            </c:extLst>
          </c:dPt>
          <c:dPt>
            <c:idx val="7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2-82FC-421B-A80E-67ACC5454550}"/>
              </c:ext>
            </c:extLst>
          </c:dPt>
          <c:dPt>
            <c:idx val="7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3-82FC-421B-A80E-67ACC5454550}"/>
              </c:ext>
            </c:extLst>
          </c:dPt>
          <c:dPt>
            <c:idx val="7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4-82FC-421B-A80E-67ACC5454550}"/>
              </c:ext>
            </c:extLst>
          </c:dPt>
          <c:dPt>
            <c:idx val="7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5-82FC-421B-A80E-67ACC5454550}"/>
              </c:ext>
            </c:extLst>
          </c:dPt>
          <c:dPt>
            <c:idx val="7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6-82FC-421B-A80E-67ACC5454550}"/>
              </c:ext>
            </c:extLst>
          </c:dPt>
          <c:dPt>
            <c:idx val="7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7-82FC-421B-A80E-67ACC5454550}"/>
              </c:ext>
            </c:extLst>
          </c:dPt>
          <c:dPt>
            <c:idx val="7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8-82FC-421B-A80E-67ACC5454550}"/>
              </c:ext>
            </c:extLst>
          </c:dPt>
          <c:dPt>
            <c:idx val="7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9-82FC-421B-A80E-67ACC5454550}"/>
              </c:ext>
            </c:extLst>
          </c:dPt>
          <c:dPt>
            <c:idx val="7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A-82FC-421B-A80E-67ACC5454550}"/>
              </c:ext>
            </c:extLst>
          </c:dPt>
          <c:dPt>
            <c:idx val="7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B-82FC-421B-A80E-67ACC5454550}"/>
              </c:ext>
            </c:extLst>
          </c:dPt>
          <c:dPt>
            <c:idx val="7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C-82FC-421B-A80E-67ACC5454550}"/>
              </c:ext>
            </c:extLst>
          </c:dPt>
          <c:dPt>
            <c:idx val="7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D-82FC-421B-A80E-67ACC5454550}"/>
              </c:ext>
            </c:extLst>
          </c:dPt>
          <c:dPt>
            <c:idx val="7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E-82FC-421B-A80E-67ACC5454550}"/>
              </c:ext>
            </c:extLst>
          </c:dPt>
          <c:dPt>
            <c:idx val="7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DF-82FC-421B-A80E-67ACC5454550}"/>
              </c:ext>
            </c:extLst>
          </c:dPt>
          <c:dPt>
            <c:idx val="7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0-82FC-421B-A80E-67ACC5454550}"/>
              </c:ext>
            </c:extLst>
          </c:dPt>
          <c:dPt>
            <c:idx val="7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1-82FC-421B-A80E-67ACC5454550}"/>
              </c:ext>
            </c:extLst>
          </c:dPt>
          <c:dPt>
            <c:idx val="7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2-82FC-421B-A80E-67ACC5454550}"/>
              </c:ext>
            </c:extLst>
          </c:dPt>
          <c:dPt>
            <c:idx val="7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3-82FC-421B-A80E-67ACC5454550}"/>
              </c:ext>
            </c:extLst>
          </c:dPt>
          <c:dPt>
            <c:idx val="7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4-82FC-421B-A80E-67ACC5454550}"/>
              </c:ext>
            </c:extLst>
          </c:dPt>
          <c:dPt>
            <c:idx val="7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5-82FC-421B-A80E-67ACC5454550}"/>
              </c:ext>
            </c:extLst>
          </c:dPt>
          <c:dPt>
            <c:idx val="7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6-82FC-421B-A80E-67ACC5454550}"/>
              </c:ext>
            </c:extLst>
          </c:dPt>
          <c:dPt>
            <c:idx val="7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7-82FC-421B-A80E-67ACC5454550}"/>
              </c:ext>
            </c:extLst>
          </c:dPt>
          <c:dPt>
            <c:idx val="7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8-82FC-421B-A80E-67ACC5454550}"/>
              </c:ext>
            </c:extLst>
          </c:dPt>
          <c:dPt>
            <c:idx val="7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9-82FC-421B-A80E-67ACC5454550}"/>
              </c:ext>
            </c:extLst>
          </c:dPt>
          <c:dPt>
            <c:idx val="7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A-82FC-421B-A80E-67ACC5454550}"/>
              </c:ext>
            </c:extLst>
          </c:dPt>
          <c:dPt>
            <c:idx val="7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B-82FC-421B-A80E-67ACC5454550}"/>
              </c:ext>
            </c:extLst>
          </c:dPt>
          <c:dPt>
            <c:idx val="7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C-82FC-421B-A80E-67ACC5454550}"/>
              </c:ext>
            </c:extLst>
          </c:dPt>
          <c:dPt>
            <c:idx val="7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D-82FC-421B-A80E-67ACC5454550}"/>
              </c:ext>
            </c:extLst>
          </c:dPt>
          <c:dPt>
            <c:idx val="7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E-82FC-421B-A80E-67ACC5454550}"/>
              </c:ext>
            </c:extLst>
          </c:dPt>
          <c:dPt>
            <c:idx val="7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EF-82FC-421B-A80E-67ACC5454550}"/>
              </c:ext>
            </c:extLst>
          </c:dPt>
          <c:dPt>
            <c:idx val="7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0-82FC-421B-A80E-67ACC5454550}"/>
              </c:ext>
            </c:extLst>
          </c:dPt>
          <c:dPt>
            <c:idx val="7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1-82FC-421B-A80E-67ACC5454550}"/>
              </c:ext>
            </c:extLst>
          </c:dPt>
          <c:dPt>
            <c:idx val="7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2-82FC-421B-A80E-67ACC5454550}"/>
              </c:ext>
            </c:extLst>
          </c:dPt>
          <c:dPt>
            <c:idx val="7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3-82FC-421B-A80E-67ACC5454550}"/>
              </c:ext>
            </c:extLst>
          </c:dPt>
          <c:dPt>
            <c:idx val="7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4-82FC-421B-A80E-67ACC5454550}"/>
              </c:ext>
            </c:extLst>
          </c:dPt>
          <c:dPt>
            <c:idx val="7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5-82FC-421B-A80E-67ACC5454550}"/>
              </c:ext>
            </c:extLst>
          </c:dPt>
          <c:dPt>
            <c:idx val="7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6-82FC-421B-A80E-67ACC5454550}"/>
              </c:ext>
            </c:extLst>
          </c:dPt>
          <c:dPt>
            <c:idx val="7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7-82FC-421B-A80E-67ACC5454550}"/>
              </c:ext>
            </c:extLst>
          </c:dPt>
          <c:dPt>
            <c:idx val="7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8-82FC-421B-A80E-67ACC5454550}"/>
              </c:ext>
            </c:extLst>
          </c:dPt>
          <c:dPt>
            <c:idx val="7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9-82FC-421B-A80E-67ACC5454550}"/>
              </c:ext>
            </c:extLst>
          </c:dPt>
          <c:dPt>
            <c:idx val="7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A-82FC-421B-A80E-67ACC5454550}"/>
              </c:ext>
            </c:extLst>
          </c:dPt>
          <c:dPt>
            <c:idx val="7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B-82FC-421B-A80E-67ACC5454550}"/>
              </c:ext>
            </c:extLst>
          </c:dPt>
          <c:dPt>
            <c:idx val="7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C-82FC-421B-A80E-67ACC5454550}"/>
              </c:ext>
            </c:extLst>
          </c:dPt>
          <c:dPt>
            <c:idx val="7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D-82FC-421B-A80E-67ACC5454550}"/>
              </c:ext>
            </c:extLst>
          </c:dPt>
          <c:dPt>
            <c:idx val="7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E-82FC-421B-A80E-67ACC5454550}"/>
              </c:ext>
            </c:extLst>
          </c:dPt>
          <c:dPt>
            <c:idx val="7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2FF-82FC-421B-A80E-67ACC5454550}"/>
              </c:ext>
            </c:extLst>
          </c:dPt>
          <c:dPt>
            <c:idx val="7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0-82FC-421B-A80E-67ACC5454550}"/>
              </c:ext>
            </c:extLst>
          </c:dPt>
          <c:dPt>
            <c:idx val="7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1-82FC-421B-A80E-67ACC5454550}"/>
              </c:ext>
            </c:extLst>
          </c:dPt>
          <c:dPt>
            <c:idx val="7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2-82FC-421B-A80E-67ACC5454550}"/>
              </c:ext>
            </c:extLst>
          </c:dPt>
          <c:dPt>
            <c:idx val="7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3-82FC-421B-A80E-67ACC5454550}"/>
              </c:ext>
            </c:extLst>
          </c:dPt>
          <c:dPt>
            <c:idx val="7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4-82FC-421B-A80E-67ACC5454550}"/>
              </c:ext>
            </c:extLst>
          </c:dPt>
          <c:dPt>
            <c:idx val="7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5-82FC-421B-A80E-67ACC5454550}"/>
              </c:ext>
            </c:extLst>
          </c:dPt>
          <c:dPt>
            <c:idx val="7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6-82FC-421B-A80E-67ACC5454550}"/>
              </c:ext>
            </c:extLst>
          </c:dPt>
          <c:dPt>
            <c:idx val="7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7-82FC-421B-A80E-67ACC5454550}"/>
              </c:ext>
            </c:extLst>
          </c:dPt>
          <c:dPt>
            <c:idx val="7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8-82FC-421B-A80E-67ACC5454550}"/>
              </c:ext>
            </c:extLst>
          </c:dPt>
          <c:dPt>
            <c:idx val="7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9-82FC-421B-A80E-67ACC5454550}"/>
              </c:ext>
            </c:extLst>
          </c:dPt>
          <c:dPt>
            <c:idx val="7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A-82FC-421B-A80E-67ACC5454550}"/>
              </c:ext>
            </c:extLst>
          </c:dPt>
          <c:dPt>
            <c:idx val="7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B-82FC-421B-A80E-67ACC5454550}"/>
              </c:ext>
            </c:extLst>
          </c:dPt>
          <c:dPt>
            <c:idx val="7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C-82FC-421B-A80E-67ACC5454550}"/>
              </c:ext>
            </c:extLst>
          </c:dPt>
          <c:dPt>
            <c:idx val="7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D-82FC-421B-A80E-67ACC5454550}"/>
              </c:ext>
            </c:extLst>
          </c:dPt>
          <c:dPt>
            <c:idx val="7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E-82FC-421B-A80E-67ACC5454550}"/>
              </c:ext>
            </c:extLst>
          </c:dPt>
          <c:dPt>
            <c:idx val="7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0F-82FC-421B-A80E-67ACC5454550}"/>
              </c:ext>
            </c:extLst>
          </c:dPt>
          <c:dPt>
            <c:idx val="7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0-82FC-421B-A80E-67ACC5454550}"/>
              </c:ext>
            </c:extLst>
          </c:dPt>
          <c:dPt>
            <c:idx val="7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1-82FC-421B-A80E-67ACC5454550}"/>
              </c:ext>
            </c:extLst>
          </c:dPt>
          <c:dPt>
            <c:idx val="7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2-82FC-421B-A80E-67ACC5454550}"/>
              </c:ext>
            </c:extLst>
          </c:dPt>
          <c:dPt>
            <c:idx val="7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3-82FC-421B-A80E-67ACC5454550}"/>
              </c:ext>
            </c:extLst>
          </c:dPt>
          <c:dPt>
            <c:idx val="7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4-82FC-421B-A80E-67ACC5454550}"/>
              </c:ext>
            </c:extLst>
          </c:dPt>
          <c:dPt>
            <c:idx val="7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5-82FC-421B-A80E-67ACC5454550}"/>
              </c:ext>
            </c:extLst>
          </c:dPt>
          <c:dPt>
            <c:idx val="7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6-82FC-421B-A80E-67ACC5454550}"/>
              </c:ext>
            </c:extLst>
          </c:dPt>
          <c:dPt>
            <c:idx val="7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7-82FC-421B-A80E-67ACC5454550}"/>
              </c:ext>
            </c:extLst>
          </c:dPt>
          <c:dPt>
            <c:idx val="79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8-82FC-421B-A80E-67ACC5454550}"/>
              </c:ext>
            </c:extLst>
          </c:dPt>
          <c:dPt>
            <c:idx val="79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9-82FC-421B-A80E-67ACC5454550}"/>
              </c:ext>
            </c:extLst>
          </c:dPt>
          <c:dPt>
            <c:idx val="79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A-82FC-421B-A80E-67ACC5454550}"/>
              </c:ext>
            </c:extLst>
          </c:dPt>
          <c:dPt>
            <c:idx val="79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B-82FC-421B-A80E-67ACC5454550}"/>
              </c:ext>
            </c:extLst>
          </c:dPt>
          <c:dPt>
            <c:idx val="79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C-82FC-421B-A80E-67ACC5454550}"/>
              </c:ext>
            </c:extLst>
          </c:dPt>
          <c:dPt>
            <c:idx val="79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D-82FC-421B-A80E-67ACC5454550}"/>
              </c:ext>
            </c:extLst>
          </c:dPt>
          <c:dPt>
            <c:idx val="79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E-82FC-421B-A80E-67ACC5454550}"/>
              </c:ext>
            </c:extLst>
          </c:dPt>
          <c:dPt>
            <c:idx val="79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1F-82FC-421B-A80E-67ACC5454550}"/>
              </c:ext>
            </c:extLst>
          </c:dPt>
          <c:dPt>
            <c:idx val="80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0-82FC-421B-A80E-67ACC5454550}"/>
              </c:ext>
            </c:extLst>
          </c:dPt>
          <c:dPt>
            <c:idx val="80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1-82FC-421B-A80E-67ACC5454550}"/>
              </c:ext>
            </c:extLst>
          </c:dPt>
          <c:dPt>
            <c:idx val="80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2-82FC-421B-A80E-67ACC5454550}"/>
              </c:ext>
            </c:extLst>
          </c:dPt>
          <c:dPt>
            <c:idx val="80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3-82FC-421B-A80E-67ACC5454550}"/>
              </c:ext>
            </c:extLst>
          </c:dPt>
          <c:dPt>
            <c:idx val="80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4-82FC-421B-A80E-67ACC5454550}"/>
              </c:ext>
            </c:extLst>
          </c:dPt>
          <c:dPt>
            <c:idx val="80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5-82FC-421B-A80E-67ACC5454550}"/>
              </c:ext>
            </c:extLst>
          </c:dPt>
          <c:dPt>
            <c:idx val="80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6-82FC-421B-A80E-67ACC5454550}"/>
              </c:ext>
            </c:extLst>
          </c:dPt>
          <c:dPt>
            <c:idx val="80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7-82FC-421B-A80E-67ACC5454550}"/>
              </c:ext>
            </c:extLst>
          </c:dPt>
          <c:dPt>
            <c:idx val="80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8-82FC-421B-A80E-67ACC5454550}"/>
              </c:ext>
            </c:extLst>
          </c:dPt>
          <c:dPt>
            <c:idx val="80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9-82FC-421B-A80E-67ACC5454550}"/>
              </c:ext>
            </c:extLst>
          </c:dPt>
          <c:dPt>
            <c:idx val="81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A-82FC-421B-A80E-67ACC5454550}"/>
              </c:ext>
            </c:extLst>
          </c:dPt>
          <c:dPt>
            <c:idx val="81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B-82FC-421B-A80E-67ACC5454550}"/>
              </c:ext>
            </c:extLst>
          </c:dPt>
          <c:dPt>
            <c:idx val="81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C-82FC-421B-A80E-67ACC5454550}"/>
              </c:ext>
            </c:extLst>
          </c:dPt>
          <c:dPt>
            <c:idx val="81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D-82FC-421B-A80E-67ACC5454550}"/>
              </c:ext>
            </c:extLst>
          </c:dPt>
          <c:dPt>
            <c:idx val="81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E-82FC-421B-A80E-67ACC5454550}"/>
              </c:ext>
            </c:extLst>
          </c:dPt>
          <c:dPt>
            <c:idx val="81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2F-82FC-421B-A80E-67ACC5454550}"/>
              </c:ext>
            </c:extLst>
          </c:dPt>
          <c:dPt>
            <c:idx val="81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0-82FC-421B-A80E-67ACC5454550}"/>
              </c:ext>
            </c:extLst>
          </c:dPt>
          <c:dPt>
            <c:idx val="81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1-82FC-421B-A80E-67ACC5454550}"/>
              </c:ext>
            </c:extLst>
          </c:dPt>
          <c:dPt>
            <c:idx val="81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2-82FC-421B-A80E-67ACC5454550}"/>
              </c:ext>
            </c:extLst>
          </c:dPt>
          <c:dPt>
            <c:idx val="81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3-82FC-421B-A80E-67ACC5454550}"/>
              </c:ext>
            </c:extLst>
          </c:dPt>
          <c:dPt>
            <c:idx val="82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4-82FC-421B-A80E-67ACC5454550}"/>
              </c:ext>
            </c:extLst>
          </c:dPt>
          <c:dPt>
            <c:idx val="82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5-82FC-421B-A80E-67ACC5454550}"/>
              </c:ext>
            </c:extLst>
          </c:dPt>
          <c:dPt>
            <c:idx val="82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6-82FC-421B-A80E-67ACC5454550}"/>
              </c:ext>
            </c:extLst>
          </c:dPt>
          <c:dPt>
            <c:idx val="82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7-82FC-421B-A80E-67ACC5454550}"/>
              </c:ext>
            </c:extLst>
          </c:dPt>
          <c:dPt>
            <c:idx val="82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8-82FC-421B-A80E-67ACC5454550}"/>
              </c:ext>
            </c:extLst>
          </c:dPt>
          <c:dPt>
            <c:idx val="82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9-82FC-421B-A80E-67ACC5454550}"/>
              </c:ext>
            </c:extLst>
          </c:dPt>
          <c:dPt>
            <c:idx val="82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A-82FC-421B-A80E-67ACC5454550}"/>
              </c:ext>
            </c:extLst>
          </c:dPt>
          <c:dPt>
            <c:idx val="82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B-82FC-421B-A80E-67ACC5454550}"/>
              </c:ext>
            </c:extLst>
          </c:dPt>
          <c:dPt>
            <c:idx val="82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C-82FC-421B-A80E-67ACC5454550}"/>
              </c:ext>
            </c:extLst>
          </c:dPt>
          <c:dPt>
            <c:idx val="82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D-82FC-421B-A80E-67ACC5454550}"/>
              </c:ext>
            </c:extLst>
          </c:dPt>
          <c:dPt>
            <c:idx val="83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E-82FC-421B-A80E-67ACC5454550}"/>
              </c:ext>
            </c:extLst>
          </c:dPt>
          <c:dPt>
            <c:idx val="83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3F-82FC-421B-A80E-67ACC5454550}"/>
              </c:ext>
            </c:extLst>
          </c:dPt>
          <c:dPt>
            <c:idx val="83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0-82FC-421B-A80E-67ACC5454550}"/>
              </c:ext>
            </c:extLst>
          </c:dPt>
          <c:dPt>
            <c:idx val="83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1-82FC-421B-A80E-67ACC5454550}"/>
              </c:ext>
            </c:extLst>
          </c:dPt>
          <c:dPt>
            <c:idx val="83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2-82FC-421B-A80E-67ACC5454550}"/>
              </c:ext>
            </c:extLst>
          </c:dPt>
          <c:dPt>
            <c:idx val="83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3-82FC-421B-A80E-67ACC5454550}"/>
              </c:ext>
            </c:extLst>
          </c:dPt>
          <c:dPt>
            <c:idx val="83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4-82FC-421B-A80E-67ACC5454550}"/>
              </c:ext>
            </c:extLst>
          </c:dPt>
          <c:dPt>
            <c:idx val="83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5-82FC-421B-A80E-67ACC5454550}"/>
              </c:ext>
            </c:extLst>
          </c:dPt>
          <c:dPt>
            <c:idx val="83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6-82FC-421B-A80E-67ACC5454550}"/>
              </c:ext>
            </c:extLst>
          </c:dPt>
          <c:dPt>
            <c:idx val="83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7-82FC-421B-A80E-67ACC5454550}"/>
              </c:ext>
            </c:extLst>
          </c:dPt>
          <c:dPt>
            <c:idx val="84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8-82FC-421B-A80E-67ACC5454550}"/>
              </c:ext>
            </c:extLst>
          </c:dPt>
          <c:dPt>
            <c:idx val="84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9-82FC-421B-A80E-67ACC5454550}"/>
              </c:ext>
            </c:extLst>
          </c:dPt>
          <c:dPt>
            <c:idx val="84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A-82FC-421B-A80E-67ACC5454550}"/>
              </c:ext>
            </c:extLst>
          </c:dPt>
          <c:dPt>
            <c:idx val="84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B-82FC-421B-A80E-67ACC5454550}"/>
              </c:ext>
            </c:extLst>
          </c:dPt>
          <c:dPt>
            <c:idx val="84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C-82FC-421B-A80E-67ACC5454550}"/>
              </c:ext>
            </c:extLst>
          </c:dPt>
          <c:dPt>
            <c:idx val="84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D-82FC-421B-A80E-67ACC5454550}"/>
              </c:ext>
            </c:extLst>
          </c:dPt>
          <c:dPt>
            <c:idx val="84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E-82FC-421B-A80E-67ACC5454550}"/>
              </c:ext>
            </c:extLst>
          </c:dPt>
          <c:dPt>
            <c:idx val="84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4F-82FC-421B-A80E-67ACC5454550}"/>
              </c:ext>
            </c:extLst>
          </c:dPt>
          <c:dPt>
            <c:idx val="84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0-82FC-421B-A80E-67ACC5454550}"/>
              </c:ext>
            </c:extLst>
          </c:dPt>
          <c:dPt>
            <c:idx val="84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1-82FC-421B-A80E-67ACC5454550}"/>
              </c:ext>
            </c:extLst>
          </c:dPt>
          <c:dPt>
            <c:idx val="85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2-82FC-421B-A80E-67ACC5454550}"/>
              </c:ext>
            </c:extLst>
          </c:dPt>
          <c:dPt>
            <c:idx val="85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3-82FC-421B-A80E-67ACC5454550}"/>
              </c:ext>
            </c:extLst>
          </c:dPt>
          <c:dPt>
            <c:idx val="85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4-82FC-421B-A80E-67ACC5454550}"/>
              </c:ext>
            </c:extLst>
          </c:dPt>
          <c:dPt>
            <c:idx val="85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5-82FC-421B-A80E-67ACC5454550}"/>
              </c:ext>
            </c:extLst>
          </c:dPt>
          <c:dPt>
            <c:idx val="85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6-82FC-421B-A80E-67ACC5454550}"/>
              </c:ext>
            </c:extLst>
          </c:dPt>
          <c:dPt>
            <c:idx val="85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7-82FC-421B-A80E-67ACC5454550}"/>
              </c:ext>
            </c:extLst>
          </c:dPt>
          <c:dPt>
            <c:idx val="85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8-82FC-421B-A80E-67ACC5454550}"/>
              </c:ext>
            </c:extLst>
          </c:dPt>
          <c:dPt>
            <c:idx val="85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9-82FC-421B-A80E-67ACC5454550}"/>
              </c:ext>
            </c:extLst>
          </c:dPt>
          <c:dPt>
            <c:idx val="85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A-82FC-421B-A80E-67ACC5454550}"/>
              </c:ext>
            </c:extLst>
          </c:dPt>
          <c:dPt>
            <c:idx val="85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B-82FC-421B-A80E-67ACC5454550}"/>
              </c:ext>
            </c:extLst>
          </c:dPt>
          <c:dPt>
            <c:idx val="86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C-82FC-421B-A80E-67ACC5454550}"/>
              </c:ext>
            </c:extLst>
          </c:dPt>
          <c:dPt>
            <c:idx val="86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D-82FC-421B-A80E-67ACC5454550}"/>
              </c:ext>
            </c:extLst>
          </c:dPt>
          <c:dPt>
            <c:idx val="86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E-82FC-421B-A80E-67ACC5454550}"/>
              </c:ext>
            </c:extLst>
          </c:dPt>
          <c:dPt>
            <c:idx val="86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5F-82FC-421B-A80E-67ACC5454550}"/>
              </c:ext>
            </c:extLst>
          </c:dPt>
          <c:dPt>
            <c:idx val="86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0-82FC-421B-A80E-67ACC5454550}"/>
              </c:ext>
            </c:extLst>
          </c:dPt>
          <c:dPt>
            <c:idx val="86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1-82FC-421B-A80E-67ACC5454550}"/>
              </c:ext>
            </c:extLst>
          </c:dPt>
          <c:dPt>
            <c:idx val="86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2-82FC-421B-A80E-67ACC5454550}"/>
              </c:ext>
            </c:extLst>
          </c:dPt>
          <c:dPt>
            <c:idx val="86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3-82FC-421B-A80E-67ACC5454550}"/>
              </c:ext>
            </c:extLst>
          </c:dPt>
          <c:dPt>
            <c:idx val="86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4-82FC-421B-A80E-67ACC5454550}"/>
              </c:ext>
            </c:extLst>
          </c:dPt>
          <c:dPt>
            <c:idx val="86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5-82FC-421B-A80E-67ACC5454550}"/>
              </c:ext>
            </c:extLst>
          </c:dPt>
          <c:dPt>
            <c:idx val="87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6-82FC-421B-A80E-67ACC5454550}"/>
              </c:ext>
            </c:extLst>
          </c:dPt>
          <c:dPt>
            <c:idx val="87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7-82FC-421B-A80E-67ACC5454550}"/>
              </c:ext>
            </c:extLst>
          </c:dPt>
          <c:dPt>
            <c:idx val="87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8-82FC-421B-A80E-67ACC5454550}"/>
              </c:ext>
            </c:extLst>
          </c:dPt>
          <c:dPt>
            <c:idx val="87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9-82FC-421B-A80E-67ACC5454550}"/>
              </c:ext>
            </c:extLst>
          </c:dPt>
          <c:dPt>
            <c:idx val="87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A-82FC-421B-A80E-67ACC5454550}"/>
              </c:ext>
            </c:extLst>
          </c:dPt>
          <c:dPt>
            <c:idx val="87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B-82FC-421B-A80E-67ACC5454550}"/>
              </c:ext>
            </c:extLst>
          </c:dPt>
          <c:dPt>
            <c:idx val="87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C-82FC-421B-A80E-67ACC5454550}"/>
              </c:ext>
            </c:extLst>
          </c:dPt>
          <c:dPt>
            <c:idx val="87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D-82FC-421B-A80E-67ACC5454550}"/>
              </c:ext>
            </c:extLst>
          </c:dPt>
          <c:dPt>
            <c:idx val="87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E-82FC-421B-A80E-67ACC5454550}"/>
              </c:ext>
            </c:extLst>
          </c:dPt>
          <c:dPt>
            <c:idx val="87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6F-82FC-421B-A80E-67ACC5454550}"/>
              </c:ext>
            </c:extLst>
          </c:dPt>
          <c:dPt>
            <c:idx val="88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0-82FC-421B-A80E-67ACC5454550}"/>
              </c:ext>
            </c:extLst>
          </c:dPt>
          <c:dPt>
            <c:idx val="88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1-82FC-421B-A80E-67ACC5454550}"/>
              </c:ext>
            </c:extLst>
          </c:dPt>
          <c:dPt>
            <c:idx val="882"/>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2-82FC-421B-A80E-67ACC5454550}"/>
              </c:ext>
            </c:extLst>
          </c:dPt>
          <c:dPt>
            <c:idx val="883"/>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3-82FC-421B-A80E-67ACC5454550}"/>
              </c:ext>
            </c:extLst>
          </c:dPt>
          <c:dPt>
            <c:idx val="884"/>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4-82FC-421B-A80E-67ACC5454550}"/>
              </c:ext>
            </c:extLst>
          </c:dPt>
          <c:dPt>
            <c:idx val="885"/>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5-82FC-421B-A80E-67ACC5454550}"/>
              </c:ext>
            </c:extLst>
          </c:dPt>
          <c:dPt>
            <c:idx val="886"/>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6-82FC-421B-A80E-67ACC5454550}"/>
              </c:ext>
            </c:extLst>
          </c:dPt>
          <c:dPt>
            <c:idx val="887"/>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7-82FC-421B-A80E-67ACC5454550}"/>
              </c:ext>
            </c:extLst>
          </c:dPt>
          <c:dPt>
            <c:idx val="888"/>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8-82FC-421B-A80E-67ACC5454550}"/>
              </c:ext>
            </c:extLst>
          </c:dPt>
          <c:dPt>
            <c:idx val="889"/>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9-82FC-421B-A80E-67ACC5454550}"/>
              </c:ext>
            </c:extLst>
          </c:dPt>
          <c:dPt>
            <c:idx val="890"/>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A-82FC-421B-A80E-67ACC5454550}"/>
              </c:ext>
            </c:extLst>
          </c:dPt>
          <c:dPt>
            <c:idx val="891"/>
            <c:bubble3D val="0"/>
            <c:spPr>
              <a:ln w="38100" cap="rnd" cmpd="sng" algn="ctr">
                <a:solidFill>
                  <a:srgbClr val="B8B3A2"/>
                </a:solidFill>
                <a:prstDash val="solid"/>
                <a:round/>
                <a:headEnd type="none" w="med" len="med"/>
                <a:tailEnd type="none" w="med" len="med"/>
              </a:ln>
              <a:effectLst/>
            </c:spPr>
            <c:extLst>
              <c:ext xmlns:c16="http://schemas.microsoft.com/office/drawing/2014/chart" uri="{C3380CC4-5D6E-409C-BE32-E72D297353CC}">
                <c16:uniqueId val="{0000037B-82FC-421B-A80E-67ACC5454550}"/>
              </c:ext>
            </c:extLst>
          </c:dPt>
          <c:cat>
            <c:numRef>
              <c:f>EMU!$B$9:$B$900</c:f>
              <c:numCache>
                <c:formatCode>m/d/yyyy</c:formatCode>
                <c:ptCount val="892"/>
                <c:pt idx="0">
                  <c:v>42405</c:v>
                </c:pt>
                <c:pt idx="1">
                  <c:v>42412</c:v>
                </c:pt>
                <c:pt idx="2">
                  <c:v>42419</c:v>
                </c:pt>
                <c:pt idx="3">
                  <c:v>42426</c:v>
                </c:pt>
                <c:pt idx="4">
                  <c:v>42433</c:v>
                </c:pt>
                <c:pt idx="5">
                  <c:v>42440</c:v>
                </c:pt>
                <c:pt idx="6">
                  <c:v>42447</c:v>
                </c:pt>
                <c:pt idx="7">
                  <c:v>42454</c:v>
                </c:pt>
                <c:pt idx="8">
                  <c:v>42461</c:v>
                </c:pt>
                <c:pt idx="9">
                  <c:v>42468</c:v>
                </c:pt>
                <c:pt idx="10">
                  <c:v>42475</c:v>
                </c:pt>
                <c:pt idx="11">
                  <c:v>42482</c:v>
                </c:pt>
                <c:pt idx="12">
                  <c:v>42489</c:v>
                </c:pt>
                <c:pt idx="13">
                  <c:v>42496</c:v>
                </c:pt>
                <c:pt idx="14">
                  <c:v>42503</c:v>
                </c:pt>
                <c:pt idx="15">
                  <c:v>42510</c:v>
                </c:pt>
                <c:pt idx="16">
                  <c:v>42517</c:v>
                </c:pt>
                <c:pt idx="17">
                  <c:v>42524</c:v>
                </c:pt>
                <c:pt idx="18">
                  <c:v>42531</c:v>
                </c:pt>
                <c:pt idx="19">
                  <c:v>42538</c:v>
                </c:pt>
                <c:pt idx="20">
                  <c:v>42545</c:v>
                </c:pt>
                <c:pt idx="21">
                  <c:v>42552</c:v>
                </c:pt>
                <c:pt idx="22">
                  <c:v>42559</c:v>
                </c:pt>
                <c:pt idx="23">
                  <c:v>42566</c:v>
                </c:pt>
                <c:pt idx="24">
                  <c:v>42573</c:v>
                </c:pt>
                <c:pt idx="25">
                  <c:v>42580</c:v>
                </c:pt>
                <c:pt idx="26">
                  <c:v>42587</c:v>
                </c:pt>
                <c:pt idx="27">
                  <c:v>42594</c:v>
                </c:pt>
                <c:pt idx="28">
                  <c:v>42601</c:v>
                </c:pt>
                <c:pt idx="29">
                  <c:v>42608</c:v>
                </c:pt>
                <c:pt idx="30">
                  <c:v>42615</c:v>
                </c:pt>
                <c:pt idx="31">
                  <c:v>42622</c:v>
                </c:pt>
                <c:pt idx="32">
                  <c:v>42629</c:v>
                </c:pt>
                <c:pt idx="33">
                  <c:v>42636</c:v>
                </c:pt>
                <c:pt idx="34">
                  <c:v>42643</c:v>
                </c:pt>
                <c:pt idx="35">
                  <c:v>42650</c:v>
                </c:pt>
                <c:pt idx="36">
                  <c:v>42657</c:v>
                </c:pt>
                <c:pt idx="37">
                  <c:v>42664</c:v>
                </c:pt>
                <c:pt idx="38">
                  <c:v>42671</c:v>
                </c:pt>
                <c:pt idx="39">
                  <c:v>42678</c:v>
                </c:pt>
                <c:pt idx="40">
                  <c:v>42685</c:v>
                </c:pt>
                <c:pt idx="41">
                  <c:v>42692</c:v>
                </c:pt>
                <c:pt idx="42">
                  <c:v>42699</c:v>
                </c:pt>
                <c:pt idx="43">
                  <c:v>42706</c:v>
                </c:pt>
                <c:pt idx="44">
                  <c:v>42713</c:v>
                </c:pt>
                <c:pt idx="45">
                  <c:v>42720</c:v>
                </c:pt>
                <c:pt idx="46">
                  <c:v>42727</c:v>
                </c:pt>
                <c:pt idx="47">
                  <c:v>42734</c:v>
                </c:pt>
                <c:pt idx="48">
                  <c:v>42741</c:v>
                </c:pt>
                <c:pt idx="49">
                  <c:v>42748</c:v>
                </c:pt>
                <c:pt idx="50">
                  <c:v>42755</c:v>
                </c:pt>
                <c:pt idx="51">
                  <c:v>42762</c:v>
                </c:pt>
                <c:pt idx="52">
                  <c:v>42769</c:v>
                </c:pt>
                <c:pt idx="53">
                  <c:v>42776</c:v>
                </c:pt>
                <c:pt idx="54">
                  <c:v>42783</c:v>
                </c:pt>
                <c:pt idx="55">
                  <c:v>42790</c:v>
                </c:pt>
                <c:pt idx="56">
                  <c:v>42797</c:v>
                </c:pt>
                <c:pt idx="57">
                  <c:v>42804</c:v>
                </c:pt>
                <c:pt idx="58">
                  <c:v>42811</c:v>
                </c:pt>
                <c:pt idx="59">
                  <c:v>42818</c:v>
                </c:pt>
                <c:pt idx="60">
                  <c:v>42825</c:v>
                </c:pt>
                <c:pt idx="61">
                  <c:v>42832</c:v>
                </c:pt>
                <c:pt idx="62">
                  <c:v>42839</c:v>
                </c:pt>
                <c:pt idx="63">
                  <c:v>42846</c:v>
                </c:pt>
                <c:pt idx="64">
                  <c:v>42853</c:v>
                </c:pt>
                <c:pt idx="65">
                  <c:v>42860</c:v>
                </c:pt>
                <c:pt idx="66">
                  <c:v>42867</c:v>
                </c:pt>
                <c:pt idx="67">
                  <c:v>42874</c:v>
                </c:pt>
                <c:pt idx="68">
                  <c:v>42881</c:v>
                </c:pt>
                <c:pt idx="69">
                  <c:v>42888</c:v>
                </c:pt>
                <c:pt idx="70">
                  <c:v>42895</c:v>
                </c:pt>
                <c:pt idx="71">
                  <c:v>42902</c:v>
                </c:pt>
                <c:pt idx="72">
                  <c:v>42909</c:v>
                </c:pt>
                <c:pt idx="73">
                  <c:v>42916</c:v>
                </c:pt>
                <c:pt idx="74">
                  <c:v>42923</c:v>
                </c:pt>
                <c:pt idx="75">
                  <c:v>42930</c:v>
                </c:pt>
                <c:pt idx="76">
                  <c:v>42937</c:v>
                </c:pt>
                <c:pt idx="77">
                  <c:v>42944</c:v>
                </c:pt>
                <c:pt idx="78">
                  <c:v>42951</c:v>
                </c:pt>
                <c:pt idx="79">
                  <c:v>42958</c:v>
                </c:pt>
                <c:pt idx="80">
                  <c:v>42965</c:v>
                </c:pt>
                <c:pt idx="81">
                  <c:v>42972</c:v>
                </c:pt>
                <c:pt idx="82">
                  <c:v>42979</c:v>
                </c:pt>
                <c:pt idx="83">
                  <c:v>42986</c:v>
                </c:pt>
                <c:pt idx="84">
                  <c:v>42993</c:v>
                </c:pt>
                <c:pt idx="85">
                  <c:v>43000</c:v>
                </c:pt>
                <c:pt idx="86">
                  <c:v>43007</c:v>
                </c:pt>
                <c:pt idx="87">
                  <c:v>43014</c:v>
                </c:pt>
                <c:pt idx="88">
                  <c:v>43021</c:v>
                </c:pt>
                <c:pt idx="89">
                  <c:v>43028</c:v>
                </c:pt>
                <c:pt idx="90">
                  <c:v>43035</c:v>
                </c:pt>
                <c:pt idx="91">
                  <c:v>43042</c:v>
                </c:pt>
                <c:pt idx="92">
                  <c:v>43049</c:v>
                </c:pt>
                <c:pt idx="93">
                  <c:v>43056</c:v>
                </c:pt>
                <c:pt idx="94">
                  <c:v>43063</c:v>
                </c:pt>
                <c:pt idx="95">
                  <c:v>43070</c:v>
                </c:pt>
                <c:pt idx="96">
                  <c:v>43077</c:v>
                </c:pt>
                <c:pt idx="97">
                  <c:v>43084</c:v>
                </c:pt>
                <c:pt idx="98">
                  <c:v>43091</c:v>
                </c:pt>
                <c:pt idx="99">
                  <c:v>43098</c:v>
                </c:pt>
                <c:pt idx="100">
                  <c:v>43105</c:v>
                </c:pt>
                <c:pt idx="101">
                  <c:v>43112</c:v>
                </c:pt>
                <c:pt idx="102">
                  <c:v>43119</c:v>
                </c:pt>
                <c:pt idx="103">
                  <c:v>43126</c:v>
                </c:pt>
                <c:pt idx="104">
                  <c:v>43133</c:v>
                </c:pt>
                <c:pt idx="105">
                  <c:v>43140</c:v>
                </c:pt>
                <c:pt idx="106">
                  <c:v>43147</c:v>
                </c:pt>
                <c:pt idx="107">
                  <c:v>43154</c:v>
                </c:pt>
                <c:pt idx="108">
                  <c:v>43161</c:v>
                </c:pt>
                <c:pt idx="109">
                  <c:v>43168</c:v>
                </c:pt>
                <c:pt idx="110">
                  <c:v>43175</c:v>
                </c:pt>
                <c:pt idx="111">
                  <c:v>43182</c:v>
                </c:pt>
                <c:pt idx="112">
                  <c:v>43189</c:v>
                </c:pt>
                <c:pt idx="113">
                  <c:v>43196</c:v>
                </c:pt>
                <c:pt idx="114">
                  <c:v>43203</c:v>
                </c:pt>
                <c:pt idx="115">
                  <c:v>43210</c:v>
                </c:pt>
                <c:pt idx="116">
                  <c:v>43217</c:v>
                </c:pt>
                <c:pt idx="117">
                  <c:v>43224</c:v>
                </c:pt>
                <c:pt idx="118">
                  <c:v>43231</c:v>
                </c:pt>
                <c:pt idx="119">
                  <c:v>43238</c:v>
                </c:pt>
                <c:pt idx="120">
                  <c:v>43245</c:v>
                </c:pt>
                <c:pt idx="121">
                  <c:v>43252</c:v>
                </c:pt>
                <c:pt idx="122">
                  <c:v>43259</c:v>
                </c:pt>
                <c:pt idx="123">
                  <c:v>43266</c:v>
                </c:pt>
                <c:pt idx="124">
                  <c:v>43273</c:v>
                </c:pt>
                <c:pt idx="125">
                  <c:v>43280</c:v>
                </c:pt>
                <c:pt idx="126">
                  <c:v>43287</c:v>
                </c:pt>
                <c:pt idx="127">
                  <c:v>43294</c:v>
                </c:pt>
                <c:pt idx="128">
                  <c:v>43301</c:v>
                </c:pt>
                <c:pt idx="129">
                  <c:v>43308</c:v>
                </c:pt>
                <c:pt idx="130">
                  <c:v>43315</c:v>
                </c:pt>
                <c:pt idx="131">
                  <c:v>43322</c:v>
                </c:pt>
                <c:pt idx="132">
                  <c:v>43329</c:v>
                </c:pt>
                <c:pt idx="133">
                  <c:v>43336</c:v>
                </c:pt>
                <c:pt idx="134">
                  <c:v>43343</c:v>
                </c:pt>
                <c:pt idx="135">
                  <c:v>43350</c:v>
                </c:pt>
                <c:pt idx="136">
                  <c:v>43357</c:v>
                </c:pt>
                <c:pt idx="137">
                  <c:v>43364</c:v>
                </c:pt>
                <c:pt idx="138">
                  <c:v>43371</c:v>
                </c:pt>
                <c:pt idx="139">
                  <c:v>43378</c:v>
                </c:pt>
                <c:pt idx="140">
                  <c:v>43385</c:v>
                </c:pt>
                <c:pt idx="141">
                  <c:v>43392</c:v>
                </c:pt>
                <c:pt idx="142">
                  <c:v>43399</c:v>
                </c:pt>
                <c:pt idx="143">
                  <c:v>43406</c:v>
                </c:pt>
                <c:pt idx="144">
                  <c:v>43413</c:v>
                </c:pt>
                <c:pt idx="145">
                  <c:v>43420</c:v>
                </c:pt>
                <c:pt idx="146">
                  <c:v>43427</c:v>
                </c:pt>
                <c:pt idx="147">
                  <c:v>43434</c:v>
                </c:pt>
                <c:pt idx="148">
                  <c:v>43441</c:v>
                </c:pt>
                <c:pt idx="149">
                  <c:v>43448</c:v>
                </c:pt>
                <c:pt idx="150">
                  <c:v>43455</c:v>
                </c:pt>
                <c:pt idx="151">
                  <c:v>43462</c:v>
                </c:pt>
                <c:pt idx="152">
                  <c:v>43469</c:v>
                </c:pt>
                <c:pt idx="153">
                  <c:v>43476</c:v>
                </c:pt>
                <c:pt idx="154">
                  <c:v>43483</c:v>
                </c:pt>
                <c:pt idx="155">
                  <c:v>43490</c:v>
                </c:pt>
                <c:pt idx="156">
                  <c:v>43497</c:v>
                </c:pt>
                <c:pt idx="157">
                  <c:v>43504</c:v>
                </c:pt>
                <c:pt idx="158">
                  <c:v>43511</c:v>
                </c:pt>
                <c:pt idx="159">
                  <c:v>43518</c:v>
                </c:pt>
                <c:pt idx="160">
                  <c:v>43525</c:v>
                </c:pt>
                <c:pt idx="161">
                  <c:v>43532</c:v>
                </c:pt>
                <c:pt idx="162">
                  <c:v>43539</c:v>
                </c:pt>
                <c:pt idx="163">
                  <c:v>43546</c:v>
                </c:pt>
                <c:pt idx="164">
                  <c:v>43553</c:v>
                </c:pt>
                <c:pt idx="165">
                  <c:v>43560</c:v>
                </c:pt>
                <c:pt idx="166">
                  <c:v>43567</c:v>
                </c:pt>
                <c:pt idx="167">
                  <c:v>43574</c:v>
                </c:pt>
                <c:pt idx="168">
                  <c:v>43581</c:v>
                </c:pt>
                <c:pt idx="169">
                  <c:v>43588</c:v>
                </c:pt>
                <c:pt idx="170">
                  <c:v>43595</c:v>
                </c:pt>
                <c:pt idx="171">
                  <c:v>43602</c:v>
                </c:pt>
                <c:pt idx="172">
                  <c:v>43609</c:v>
                </c:pt>
                <c:pt idx="173">
                  <c:v>43616</c:v>
                </c:pt>
                <c:pt idx="174">
                  <c:v>43623</c:v>
                </c:pt>
                <c:pt idx="175">
                  <c:v>43630</c:v>
                </c:pt>
                <c:pt idx="176">
                  <c:v>43637</c:v>
                </c:pt>
                <c:pt idx="177">
                  <c:v>43644</c:v>
                </c:pt>
                <c:pt idx="178">
                  <c:v>43651</c:v>
                </c:pt>
                <c:pt idx="179">
                  <c:v>43658</c:v>
                </c:pt>
                <c:pt idx="180">
                  <c:v>43665</c:v>
                </c:pt>
                <c:pt idx="181">
                  <c:v>43672</c:v>
                </c:pt>
                <c:pt idx="182">
                  <c:v>43679</c:v>
                </c:pt>
                <c:pt idx="183">
                  <c:v>43686</c:v>
                </c:pt>
                <c:pt idx="184">
                  <c:v>43693</c:v>
                </c:pt>
                <c:pt idx="185">
                  <c:v>43700</c:v>
                </c:pt>
                <c:pt idx="186">
                  <c:v>43707</c:v>
                </c:pt>
                <c:pt idx="187">
                  <c:v>43714</c:v>
                </c:pt>
                <c:pt idx="188">
                  <c:v>43721</c:v>
                </c:pt>
                <c:pt idx="189">
                  <c:v>43728</c:v>
                </c:pt>
                <c:pt idx="190">
                  <c:v>43735</c:v>
                </c:pt>
                <c:pt idx="191">
                  <c:v>43742</c:v>
                </c:pt>
                <c:pt idx="192">
                  <c:v>43749</c:v>
                </c:pt>
                <c:pt idx="193">
                  <c:v>43756</c:v>
                </c:pt>
                <c:pt idx="194">
                  <c:v>43763</c:v>
                </c:pt>
                <c:pt idx="195">
                  <c:v>43770</c:v>
                </c:pt>
                <c:pt idx="196">
                  <c:v>43777</c:v>
                </c:pt>
                <c:pt idx="197">
                  <c:v>43784</c:v>
                </c:pt>
                <c:pt idx="198">
                  <c:v>43791</c:v>
                </c:pt>
                <c:pt idx="199">
                  <c:v>43798</c:v>
                </c:pt>
                <c:pt idx="200">
                  <c:v>43805</c:v>
                </c:pt>
                <c:pt idx="201">
                  <c:v>43812</c:v>
                </c:pt>
                <c:pt idx="202">
                  <c:v>43819</c:v>
                </c:pt>
                <c:pt idx="203">
                  <c:v>43826</c:v>
                </c:pt>
                <c:pt idx="204">
                  <c:v>43833</c:v>
                </c:pt>
                <c:pt idx="205">
                  <c:v>43840</c:v>
                </c:pt>
                <c:pt idx="206">
                  <c:v>43847</c:v>
                </c:pt>
                <c:pt idx="207">
                  <c:v>43854</c:v>
                </c:pt>
                <c:pt idx="208">
                  <c:v>43861</c:v>
                </c:pt>
                <c:pt idx="209">
                  <c:v>43868</c:v>
                </c:pt>
                <c:pt idx="210">
                  <c:v>43875</c:v>
                </c:pt>
                <c:pt idx="211">
                  <c:v>43882</c:v>
                </c:pt>
                <c:pt idx="212">
                  <c:v>43889</c:v>
                </c:pt>
                <c:pt idx="213">
                  <c:v>43896</c:v>
                </c:pt>
                <c:pt idx="214">
                  <c:v>43903</c:v>
                </c:pt>
                <c:pt idx="215">
                  <c:v>43910</c:v>
                </c:pt>
                <c:pt idx="216">
                  <c:v>43917</c:v>
                </c:pt>
                <c:pt idx="217">
                  <c:v>43924</c:v>
                </c:pt>
                <c:pt idx="218">
                  <c:v>43931</c:v>
                </c:pt>
                <c:pt idx="219">
                  <c:v>43938</c:v>
                </c:pt>
                <c:pt idx="220">
                  <c:v>43945</c:v>
                </c:pt>
                <c:pt idx="221">
                  <c:v>43952</c:v>
                </c:pt>
                <c:pt idx="222">
                  <c:v>43959</c:v>
                </c:pt>
                <c:pt idx="223">
                  <c:v>43966</c:v>
                </c:pt>
                <c:pt idx="224">
                  <c:v>43973</c:v>
                </c:pt>
                <c:pt idx="225">
                  <c:v>43980</c:v>
                </c:pt>
                <c:pt idx="226">
                  <c:v>43987</c:v>
                </c:pt>
                <c:pt idx="227">
                  <c:v>43994</c:v>
                </c:pt>
                <c:pt idx="228">
                  <c:v>44001</c:v>
                </c:pt>
                <c:pt idx="229">
                  <c:v>44008</c:v>
                </c:pt>
                <c:pt idx="230">
                  <c:v>44015</c:v>
                </c:pt>
                <c:pt idx="231">
                  <c:v>44022</c:v>
                </c:pt>
                <c:pt idx="232">
                  <c:v>44029</c:v>
                </c:pt>
                <c:pt idx="233">
                  <c:v>44036</c:v>
                </c:pt>
                <c:pt idx="234">
                  <c:v>44043</c:v>
                </c:pt>
                <c:pt idx="235">
                  <c:v>44050</c:v>
                </c:pt>
                <c:pt idx="236">
                  <c:v>44057</c:v>
                </c:pt>
                <c:pt idx="237">
                  <c:v>44064</c:v>
                </c:pt>
                <c:pt idx="238">
                  <c:v>44071</c:v>
                </c:pt>
                <c:pt idx="239">
                  <c:v>44078</c:v>
                </c:pt>
                <c:pt idx="240">
                  <c:v>44085</c:v>
                </c:pt>
                <c:pt idx="241">
                  <c:v>44092</c:v>
                </c:pt>
                <c:pt idx="242">
                  <c:v>44099</c:v>
                </c:pt>
                <c:pt idx="243">
                  <c:v>44106</c:v>
                </c:pt>
                <c:pt idx="244">
                  <c:v>44113</c:v>
                </c:pt>
                <c:pt idx="245">
                  <c:v>44120</c:v>
                </c:pt>
                <c:pt idx="246">
                  <c:v>44127</c:v>
                </c:pt>
                <c:pt idx="247">
                  <c:v>44134</c:v>
                </c:pt>
                <c:pt idx="248">
                  <c:v>44141</c:v>
                </c:pt>
                <c:pt idx="249">
                  <c:v>44148</c:v>
                </c:pt>
                <c:pt idx="250">
                  <c:v>44155</c:v>
                </c:pt>
                <c:pt idx="251">
                  <c:v>44162</c:v>
                </c:pt>
                <c:pt idx="252">
                  <c:v>44169</c:v>
                </c:pt>
                <c:pt idx="253">
                  <c:v>44176</c:v>
                </c:pt>
                <c:pt idx="254">
                  <c:v>44183</c:v>
                </c:pt>
                <c:pt idx="255">
                  <c:v>44190</c:v>
                </c:pt>
                <c:pt idx="256">
                  <c:v>44197</c:v>
                </c:pt>
                <c:pt idx="257">
                  <c:v>44204</c:v>
                </c:pt>
                <c:pt idx="258">
                  <c:v>44211</c:v>
                </c:pt>
                <c:pt idx="259">
                  <c:v>44218</c:v>
                </c:pt>
                <c:pt idx="260">
                  <c:v>44225</c:v>
                </c:pt>
                <c:pt idx="261">
                  <c:v>44232</c:v>
                </c:pt>
                <c:pt idx="262">
                  <c:v>44239</c:v>
                </c:pt>
                <c:pt idx="263">
                  <c:v>44246</c:v>
                </c:pt>
                <c:pt idx="264">
                  <c:v>44253</c:v>
                </c:pt>
                <c:pt idx="265">
                  <c:v>44260</c:v>
                </c:pt>
                <c:pt idx="266">
                  <c:v>44267</c:v>
                </c:pt>
                <c:pt idx="267">
                  <c:v>44274</c:v>
                </c:pt>
                <c:pt idx="268">
                  <c:v>44281</c:v>
                </c:pt>
                <c:pt idx="269">
                  <c:v>44288</c:v>
                </c:pt>
                <c:pt idx="270">
                  <c:v>44295</c:v>
                </c:pt>
                <c:pt idx="271">
                  <c:v>44302</c:v>
                </c:pt>
                <c:pt idx="272">
                  <c:v>44309</c:v>
                </c:pt>
                <c:pt idx="273">
                  <c:v>44316</c:v>
                </c:pt>
                <c:pt idx="274">
                  <c:v>44323</c:v>
                </c:pt>
                <c:pt idx="275">
                  <c:v>44330</c:v>
                </c:pt>
                <c:pt idx="276">
                  <c:v>44337</c:v>
                </c:pt>
                <c:pt idx="277">
                  <c:v>44344</c:v>
                </c:pt>
                <c:pt idx="278">
                  <c:v>44351</c:v>
                </c:pt>
                <c:pt idx="279">
                  <c:v>44358</c:v>
                </c:pt>
                <c:pt idx="280">
                  <c:v>44365</c:v>
                </c:pt>
                <c:pt idx="281">
                  <c:v>44372</c:v>
                </c:pt>
                <c:pt idx="282">
                  <c:v>44379</c:v>
                </c:pt>
                <c:pt idx="283">
                  <c:v>44386</c:v>
                </c:pt>
                <c:pt idx="284">
                  <c:v>44393</c:v>
                </c:pt>
                <c:pt idx="285">
                  <c:v>44400</c:v>
                </c:pt>
                <c:pt idx="286">
                  <c:v>44407</c:v>
                </c:pt>
                <c:pt idx="287">
                  <c:v>44414</c:v>
                </c:pt>
                <c:pt idx="288">
                  <c:v>44421</c:v>
                </c:pt>
                <c:pt idx="289">
                  <c:v>44428</c:v>
                </c:pt>
                <c:pt idx="290">
                  <c:v>44435</c:v>
                </c:pt>
                <c:pt idx="291">
                  <c:v>44442</c:v>
                </c:pt>
                <c:pt idx="292">
                  <c:v>44449</c:v>
                </c:pt>
                <c:pt idx="293">
                  <c:v>44456</c:v>
                </c:pt>
                <c:pt idx="294">
                  <c:v>44463</c:v>
                </c:pt>
                <c:pt idx="295">
                  <c:v>44470</c:v>
                </c:pt>
                <c:pt idx="296">
                  <c:v>44477</c:v>
                </c:pt>
                <c:pt idx="297">
                  <c:v>44484</c:v>
                </c:pt>
                <c:pt idx="298">
                  <c:v>44491</c:v>
                </c:pt>
                <c:pt idx="299">
                  <c:v>44498</c:v>
                </c:pt>
                <c:pt idx="300">
                  <c:v>44505</c:v>
                </c:pt>
                <c:pt idx="301">
                  <c:v>44512</c:v>
                </c:pt>
                <c:pt idx="302">
                  <c:v>44519</c:v>
                </c:pt>
                <c:pt idx="303">
                  <c:v>44526</c:v>
                </c:pt>
                <c:pt idx="304">
                  <c:v>44533</c:v>
                </c:pt>
                <c:pt idx="305">
                  <c:v>44540</c:v>
                </c:pt>
                <c:pt idx="306">
                  <c:v>44547</c:v>
                </c:pt>
                <c:pt idx="307">
                  <c:v>44554</c:v>
                </c:pt>
                <c:pt idx="308">
                  <c:v>44561</c:v>
                </c:pt>
                <c:pt idx="309">
                  <c:v>44568</c:v>
                </c:pt>
                <c:pt idx="310">
                  <c:v>44575</c:v>
                </c:pt>
                <c:pt idx="311">
                  <c:v>44582</c:v>
                </c:pt>
                <c:pt idx="312">
                  <c:v>44589</c:v>
                </c:pt>
                <c:pt idx="313">
                  <c:v>44596</c:v>
                </c:pt>
                <c:pt idx="314">
                  <c:v>44603</c:v>
                </c:pt>
                <c:pt idx="315">
                  <c:v>44610</c:v>
                </c:pt>
                <c:pt idx="316">
                  <c:v>44617</c:v>
                </c:pt>
                <c:pt idx="317">
                  <c:v>44624</c:v>
                </c:pt>
                <c:pt idx="318">
                  <c:v>44631</c:v>
                </c:pt>
                <c:pt idx="319">
                  <c:v>44638</c:v>
                </c:pt>
                <c:pt idx="320">
                  <c:v>44645</c:v>
                </c:pt>
                <c:pt idx="321">
                  <c:v>44652</c:v>
                </c:pt>
                <c:pt idx="322">
                  <c:v>44659</c:v>
                </c:pt>
                <c:pt idx="323">
                  <c:v>44666</c:v>
                </c:pt>
                <c:pt idx="324">
                  <c:v>44673</c:v>
                </c:pt>
                <c:pt idx="325">
                  <c:v>44680</c:v>
                </c:pt>
                <c:pt idx="326">
                  <c:v>44687</c:v>
                </c:pt>
                <c:pt idx="327">
                  <c:v>44694</c:v>
                </c:pt>
                <c:pt idx="328">
                  <c:v>44701</c:v>
                </c:pt>
                <c:pt idx="329">
                  <c:v>44708</c:v>
                </c:pt>
                <c:pt idx="330">
                  <c:v>44715</c:v>
                </c:pt>
                <c:pt idx="331">
                  <c:v>44722</c:v>
                </c:pt>
                <c:pt idx="332">
                  <c:v>44729</c:v>
                </c:pt>
                <c:pt idx="333">
                  <c:v>44736</c:v>
                </c:pt>
                <c:pt idx="334">
                  <c:v>44743</c:v>
                </c:pt>
                <c:pt idx="335">
                  <c:v>44750</c:v>
                </c:pt>
                <c:pt idx="336">
                  <c:v>44757</c:v>
                </c:pt>
                <c:pt idx="337">
                  <c:v>44764</c:v>
                </c:pt>
                <c:pt idx="338">
                  <c:v>44771</c:v>
                </c:pt>
                <c:pt idx="339">
                  <c:v>44778</c:v>
                </c:pt>
                <c:pt idx="340">
                  <c:v>44785</c:v>
                </c:pt>
                <c:pt idx="341">
                  <c:v>44792</c:v>
                </c:pt>
                <c:pt idx="342">
                  <c:v>44799</c:v>
                </c:pt>
                <c:pt idx="343">
                  <c:v>44806</c:v>
                </c:pt>
                <c:pt idx="344">
                  <c:v>44813</c:v>
                </c:pt>
                <c:pt idx="345">
                  <c:v>44820</c:v>
                </c:pt>
                <c:pt idx="346">
                  <c:v>44827</c:v>
                </c:pt>
                <c:pt idx="347">
                  <c:v>44834</c:v>
                </c:pt>
                <c:pt idx="348">
                  <c:v>44841</c:v>
                </c:pt>
                <c:pt idx="349">
                  <c:v>44848</c:v>
                </c:pt>
                <c:pt idx="350">
                  <c:v>44855</c:v>
                </c:pt>
                <c:pt idx="351">
                  <c:v>44862</c:v>
                </c:pt>
                <c:pt idx="352">
                  <c:v>44869</c:v>
                </c:pt>
                <c:pt idx="353">
                  <c:v>44876</c:v>
                </c:pt>
                <c:pt idx="354">
                  <c:v>44883</c:v>
                </c:pt>
                <c:pt idx="355">
                  <c:v>44890</c:v>
                </c:pt>
                <c:pt idx="356">
                  <c:v>44897</c:v>
                </c:pt>
                <c:pt idx="357">
                  <c:v>44904</c:v>
                </c:pt>
                <c:pt idx="358">
                  <c:v>44911</c:v>
                </c:pt>
                <c:pt idx="359">
                  <c:v>44918</c:v>
                </c:pt>
                <c:pt idx="360">
                  <c:v>44925</c:v>
                </c:pt>
                <c:pt idx="361">
                  <c:v>44932</c:v>
                </c:pt>
                <c:pt idx="362">
                  <c:v>44939</c:v>
                </c:pt>
                <c:pt idx="363">
                  <c:v>44946</c:v>
                </c:pt>
                <c:pt idx="364">
                  <c:v>44953</c:v>
                </c:pt>
                <c:pt idx="365">
                  <c:v>44960</c:v>
                </c:pt>
                <c:pt idx="366">
                  <c:v>44967</c:v>
                </c:pt>
                <c:pt idx="367">
                  <c:v>44974</c:v>
                </c:pt>
                <c:pt idx="368">
                  <c:v>44981</c:v>
                </c:pt>
                <c:pt idx="369">
                  <c:v>44988</c:v>
                </c:pt>
                <c:pt idx="370">
                  <c:v>44995</c:v>
                </c:pt>
                <c:pt idx="371">
                  <c:v>45002</c:v>
                </c:pt>
                <c:pt idx="372">
                  <c:v>45009</c:v>
                </c:pt>
                <c:pt idx="373">
                  <c:v>45016</c:v>
                </c:pt>
                <c:pt idx="374">
                  <c:v>45023</c:v>
                </c:pt>
                <c:pt idx="375">
                  <c:v>45030</c:v>
                </c:pt>
                <c:pt idx="376">
                  <c:v>45037</c:v>
                </c:pt>
                <c:pt idx="377">
                  <c:v>45044</c:v>
                </c:pt>
                <c:pt idx="378">
                  <c:v>45051</c:v>
                </c:pt>
                <c:pt idx="379">
                  <c:v>45058</c:v>
                </c:pt>
                <c:pt idx="380">
                  <c:v>45065</c:v>
                </c:pt>
                <c:pt idx="381">
                  <c:v>45072</c:v>
                </c:pt>
                <c:pt idx="382">
                  <c:v>45079</c:v>
                </c:pt>
                <c:pt idx="383">
                  <c:v>45086</c:v>
                </c:pt>
                <c:pt idx="384">
                  <c:v>45093</c:v>
                </c:pt>
                <c:pt idx="385">
                  <c:v>45100</c:v>
                </c:pt>
                <c:pt idx="386">
                  <c:v>45107</c:v>
                </c:pt>
                <c:pt idx="387">
                  <c:v>45114</c:v>
                </c:pt>
                <c:pt idx="388">
                  <c:v>45121</c:v>
                </c:pt>
                <c:pt idx="389">
                  <c:v>45128</c:v>
                </c:pt>
                <c:pt idx="390">
                  <c:v>45135</c:v>
                </c:pt>
                <c:pt idx="391">
                  <c:v>45142</c:v>
                </c:pt>
                <c:pt idx="392">
                  <c:v>45149</c:v>
                </c:pt>
                <c:pt idx="393">
                  <c:v>45156</c:v>
                </c:pt>
                <c:pt idx="394">
                  <c:v>45163</c:v>
                </c:pt>
                <c:pt idx="395">
                  <c:v>45170</c:v>
                </c:pt>
                <c:pt idx="396">
                  <c:v>45177</c:v>
                </c:pt>
                <c:pt idx="397">
                  <c:v>45184</c:v>
                </c:pt>
                <c:pt idx="398">
                  <c:v>45191</c:v>
                </c:pt>
                <c:pt idx="399">
                  <c:v>45198</c:v>
                </c:pt>
                <c:pt idx="400">
                  <c:v>45205</c:v>
                </c:pt>
                <c:pt idx="401">
                  <c:v>45212</c:v>
                </c:pt>
                <c:pt idx="402">
                  <c:v>45219</c:v>
                </c:pt>
                <c:pt idx="403">
                  <c:v>45226</c:v>
                </c:pt>
                <c:pt idx="404">
                  <c:v>45233</c:v>
                </c:pt>
                <c:pt idx="405">
                  <c:v>45240</c:v>
                </c:pt>
                <c:pt idx="406">
                  <c:v>45247</c:v>
                </c:pt>
                <c:pt idx="407">
                  <c:v>45254</c:v>
                </c:pt>
                <c:pt idx="408">
                  <c:v>45261</c:v>
                </c:pt>
                <c:pt idx="409">
                  <c:v>45268</c:v>
                </c:pt>
                <c:pt idx="410">
                  <c:v>45275</c:v>
                </c:pt>
                <c:pt idx="411">
                  <c:v>45282</c:v>
                </c:pt>
                <c:pt idx="412">
                  <c:v>45289</c:v>
                </c:pt>
                <c:pt idx="413">
                  <c:v>45296</c:v>
                </c:pt>
                <c:pt idx="414">
                  <c:v>45303</c:v>
                </c:pt>
                <c:pt idx="415">
                  <c:v>45310</c:v>
                </c:pt>
                <c:pt idx="416">
                  <c:v>45317</c:v>
                </c:pt>
                <c:pt idx="417">
                  <c:v>45324</c:v>
                </c:pt>
                <c:pt idx="418">
                  <c:v>45331</c:v>
                </c:pt>
                <c:pt idx="419">
                  <c:v>45338</c:v>
                </c:pt>
                <c:pt idx="420">
                  <c:v>45345</c:v>
                </c:pt>
                <c:pt idx="421">
                  <c:v>45352</c:v>
                </c:pt>
                <c:pt idx="422">
                  <c:v>45359</c:v>
                </c:pt>
                <c:pt idx="423">
                  <c:v>45366</c:v>
                </c:pt>
                <c:pt idx="424">
                  <c:v>45373</c:v>
                </c:pt>
                <c:pt idx="425">
                  <c:v>45380</c:v>
                </c:pt>
                <c:pt idx="426">
                  <c:v>45387</c:v>
                </c:pt>
                <c:pt idx="427">
                  <c:v>45394</c:v>
                </c:pt>
                <c:pt idx="428">
                  <c:v>45401</c:v>
                </c:pt>
                <c:pt idx="429">
                  <c:v>45408</c:v>
                </c:pt>
                <c:pt idx="430">
                  <c:v>45415</c:v>
                </c:pt>
                <c:pt idx="431">
                  <c:v>45422</c:v>
                </c:pt>
                <c:pt idx="432">
                  <c:v>45429</c:v>
                </c:pt>
                <c:pt idx="433">
                  <c:v>45436</c:v>
                </c:pt>
                <c:pt idx="434">
                  <c:v>45443</c:v>
                </c:pt>
                <c:pt idx="435">
                  <c:v>45450</c:v>
                </c:pt>
                <c:pt idx="436">
                  <c:v>45457</c:v>
                </c:pt>
                <c:pt idx="437">
                  <c:v>45464</c:v>
                </c:pt>
                <c:pt idx="438">
                  <c:v>45471</c:v>
                </c:pt>
                <c:pt idx="439">
                  <c:v>45478</c:v>
                </c:pt>
                <c:pt idx="440">
                  <c:v>45485</c:v>
                </c:pt>
                <c:pt idx="441">
                  <c:v>45492</c:v>
                </c:pt>
                <c:pt idx="442">
                  <c:v>45499</c:v>
                </c:pt>
                <c:pt idx="443">
                  <c:v>45506</c:v>
                </c:pt>
                <c:pt idx="444">
                  <c:v>45513</c:v>
                </c:pt>
                <c:pt idx="445">
                  <c:v>45520</c:v>
                </c:pt>
                <c:pt idx="446">
                  <c:v>45527</c:v>
                </c:pt>
                <c:pt idx="447">
                  <c:v>45534</c:v>
                </c:pt>
                <c:pt idx="448">
                  <c:v>45541</c:v>
                </c:pt>
                <c:pt idx="449">
                  <c:v>45548</c:v>
                </c:pt>
                <c:pt idx="450">
                  <c:v>45555</c:v>
                </c:pt>
                <c:pt idx="451">
                  <c:v>45562</c:v>
                </c:pt>
                <c:pt idx="452">
                  <c:v>45569</c:v>
                </c:pt>
                <c:pt idx="453">
                  <c:v>45576</c:v>
                </c:pt>
                <c:pt idx="454">
                  <c:v>45583</c:v>
                </c:pt>
                <c:pt idx="455">
                  <c:v>45590</c:v>
                </c:pt>
                <c:pt idx="456">
                  <c:v>45597</c:v>
                </c:pt>
                <c:pt idx="457">
                  <c:v>45604</c:v>
                </c:pt>
                <c:pt idx="458">
                  <c:v>45611</c:v>
                </c:pt>
                <c:pt idx="459">
                  <c:v>45618</c:v>
                </c:pt>
                <c:pt idx="460">
                  <c:v>45625</c:v>
                </c:pt>
                <c:pt idx="461">
                  <c:v>45632</c:v>
                </c:pt>
                <c:pt idx="462">
                  <c:v>45639</c:v>
                </c:pt>
                <c:pt idx="463">
                  <c:v>45646</c:v>
                </c:pt>
                <c:pt idx="464">
                  <c:v>45653</c:v>
                </c:pt>
                <c:pt idx="465">
                  <c:v>45660</c:v>
                </c:pt>
                <c:pt idx="466">
                  <c:v>45667</c:v>
                </c:pt>
                <c:pt idx="467">
                  <c:v>45674</c:v>
                </c:pt>
                <c:pt idx="468">
                  <c:v>45681</c:v>
                </c:pt>
                <c:pt idx="469">
                  <c:v>45688</c:v>
                </c:pt>
                <c:pt idx="470">
                  <c:v>45695</c:v>
                </c:pt>
                <c:pt idx="471">
                  <c:v>45702</c:v>
                </c:pt>
                <c:pt idx="472">
                  <c:v>45709</c:v>
                </c:pt>
                <c:pt idx="473">
                  <c:v>45716</c:v>
                </c:pt>
                <c:pt idx="474">
                  <c:v>45723</c:v>
                </c:pt>
                <c:pt idx="475">
                  <c:v>45730</c:v>
                </c:pt>
                <c:pt idx="476">
                  <c:v>45737</c:v>
                </c:pt>
                <c:pt idx="477">
                  <c:v>45744</c:v>
                </c:pt>
                <c:pt idx="478">
                  <c:v>45751</c:v>
                </c:pt>
                <c:pt idx="479">
                  <c:v>45758</c:v>
                </c:pt>
                <c:pt idx="480">
                  <c:v>45765</c:v>
                </c:pt>
                <c:pt idx="481">
                  <c:v>45772</c:v>
                </c:pt>
                <c:pt idx="482">
                  <c:v>45779</c:v>
                </c:pt>
                <c:pt idx="483">
                  <c:v>45786</c:v>
                </c:pt>
                <c:pt idx="484">
                  <c:v>45793</c:v>
                </c:pt>
                <c:pt idx="485">
                  <c:v>45800</c:v>
                </c:pt>
                <c:pt idx="486">
                  <c:v>45807</c:v>
                </c:pt>
                <c:pt idx="487">
                  <c:v>45814</c:v>
                </c:pt>
                <c:pt idx="488">
                  <c:v>45821</c:v>
                </c:pt>
                <c:pt idx="489">
                  <c:v>45828</c:v>
                </c:pt>
                <c:pt idx="490">
                  <c:v>45835</c:v>
                </c:pt>
                <c:pt idx="491">
                  <c:v>45842</c:v>
                </c:pt>
                <c:pt idx="492">
                  <c:v>45849</c:v>
                </c:pt>
                <c:pt idx="493">
                  <c:v>45856</c:v>
                </c:pt>
                <c:pt idx="494">
                  <c:v>45863</c:v>
                </c:pt>
                <c:pt idx="495">
                  <c:v>45870</c:v>
                </c:pt>
                <c:pt idx="496">
                  <c:v>45877</c:v>
                </c:pt>
                <c:pt idx="497">
                  <c:v>45884</c:v>
                </c:pt>
                <c:pt idx="498">
                  <c:v>45891</c:v>
                </c:pt>
                <c:pt idx="499">
                  <c:v>45898</c:v>
                </c:pt>
                <c:pt idx="500">
                  <c:v>45905</c:v>
                </c:pt>
                <c:pt idx="501">
                  <c:v>45912</c:v>
                </c:pt>
                <c:pt idx="502">
                  <c:v>45919</c:v>
                </c:pt>
                <c:pt idx="503">
                  <c:v>45926</c:v>
                </c:pt>
                <c:pt idx="504">
                  <c:v>45933</c:v>
                </c:pt>
                <c:pt idx="505">
                  <c:v>45940</c:v>
                </c:pt>
                <c:pt idx="506">
                  <c:v>45947</c:v>
                </c:pt>
                <c:pt idx="507">
                  <c:v>45954</c:v>
                </c:pt>
                <c:pt idx="508">
                  <c:v>45961</c:v>
                </c:pt>
                <c:pt idx="509">
                  <c:v>45968</c:v>
                </c:pt>
                <c:pt idx="510">
                  <c:v>45975</c:v>
                </c:pt>
                <c:pt idx="511">
                  <c:v>45982</c:v>
                </c:pt>
                <c:pt idx="512">
                  <c:v>45989</c:v>
                </c:pt>
                <c:pt idx="513">
                  <c:v>45996</c:v>
                </c:pt>
                <c:pt idx="514">
                  <c:v>46003</c:v>
                </c:pt>
                <c:pt idx="515">
                  <c:v>46010</c:v>
                </c:pt>
                <c:pt idx="516">
                  <c:v>46017</c:v>
                </c:pt>
                <c:pt idx="517">
                  <c:v>46024</c:v>
                </c:pt>
                <c:pt idx="518">
                  <c:v>46031</c:v>
                </c:pt>
                <c:pt idx="519">
                  <c:v>46038</c:v>
                </c:pt>
                <c:pt idx="520">
                  <c:v>46045</c:v>
                </c:pt>
                <c:pt idx="521">
                  <c:v>46052</c:v>
                </c:pt>
                <c:pt idx="522">
                  <c:v>46059</c:v>
                </c:pt>
                <c:pt idx="523">
                  <c:v>46036</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cat>
          <c:val>
            <c:numRef>
              <c:f>EMU!$AD$9:$AD$900</c:f>
              <c:numCache>
                <c:formatCode>0.00</c:formatCode>
                <c:ptCount val="892"/>
                <c:pt idx="0">
                  <c:v>100</c:v>
                </c:pt>
                <c:pt idx="1">
                  <c:v>95.247543620700284</c:v>
                </c:pt>
                <c:pt idx="2">
                  <c:v>99.671548597916058</c:v>
                </c:pt>
                <c:pt idx="3">
                  <c:v>101.44552246753318</c:v>
                </c:pt>
                <c:pt idx="4">
                  <c:v>104.98954672585516</c:v>
                </c:pt>
                <c:pt idx="5">
                  <c:v>106.05617303671818</c:v>
                </c:pt>
                <c:pt idx="6">
                  <c:v>106.11446475312898</c:v>
                </c:pt>
                <c:pt idx="7">
                  <c:v>104.05743976055555</c:v>
                </c:pt>
                <c:pt idx="8">
                  <c:v>103.31702286268376</c:v>
                </c:pt>
                <c:pt idx="9">
                  <c:v>102.09233632078379</c:v>
                </c:pt>
                <c:pt idx="10">
                  <c:v>106.23777415322874</c:v>
                </c:pt>
                <c:pt idx="11">
                  <c:v>108.45510136593184</c:v>
                </c:pt>
                <c:pt idx="12">
                  <c:v>105.57190339269</c:v>
                </c:pt>
                <c:pt idx="13">
                  <c:v>102.82434575955787</c:v>
                </c:pt>
                <c:pt idx="14">
                  <c:v>103.23631125534574</c:v>
                </c:pt>
                <c:pt idx="15">
                  <c:v>103.51655989193614</c:v>
                </c:pt>
                <c:pt idx="16">
                  <c:v>107.03480127569178</c:v>
                </c:pt>
                <c:pt idx="17">
                  <c:v>104.89370169214128</c:v>
                </c:pt>
                <c:pt idx="18">
                  <c:v>102.05646449530022</c:v>
                </c:pt>
                <c:pt idx="19">
                  <c:v>99.664262133364716</c:v>
                </c:pt>
                <c:pt idx="20">
                  <c:v>97.707005655417476</c:v>
                </c:pt>
                <c:pt idx="21">
                  <c:v>100.87549674070834</c:v>
                </c:pt>
                <c:pt idx="22">
                  <c:v>99.31002785671447</c:v>
                </c:pt>
                <c:pt idx="23">
                  <c:v>103.16961207983724</c:v>
                </c:pt>
                <c:pt idx="24">
                  <c:v>103.94253781955349</c:v>
                </c:pt>
                <c:pt idx="25">
                  <c:v>105.00299866041152</c:v>
                </c:pt>
                <c:pt idx="26">
                  <c:v>104.60280360736046</c:v>
                </c:pt>
                <c:pt idx="27">
                  <c:v>107.15138470851338</c:v>
                </c:pt>
                <c:pt idx="28">
                  <c:v>105.0181320867874</c:v>
                </c:pt>
                <c:pt idx="29">
                  <c:v>106.21143078138924</c:v>
                </c:pt>
                <c:pt idx="30">
                  <c:v>108.2471568775818</c:v>
                </c:pt>
                <c:pt idx="31">
                  <c:v>107.07459658208762</c:v>
                </c:pt>
                <c:pt idx="32">
                  <c:v>103.81698643036101</c:v>
                </c:pt>
                <c:pt idx="33">
                  <c:v>107.00397392566686</c:v>
                </c:pt>
                <c:pt idx="34">
                  <c:v>106.29998935055181</c:v>
                </c:pt>
                <c:pt idx="35">
                  <c:v>105.70137826279475</c:v>
                </c:pt>
                <c:pt idx="36">
                  <c:v>106.56454406349312</c:v>
                </c:pt>
                <c:pt idx="37">
                  <c:v>108.28639168670445</c:v>
                </c:pt>
                <c:pt idx="38">
                  <c:v>108.30376710217304</c:v>
                </c:pt>
                <c:pt idx="39">
                  <c:v>104.04286683145286</c:v>
                </c:pt>
                <c:pt idx="40">
                  <c:v>106.10998077494351</c:v>
                </c:pt>
                <c:pt idx="41">
                  <c:v>106.03991861579591</c:v>
                </c:pt>
                <c:pt idx="42">
                  <c:v>107.01742586022318</c:v>
                </c:pt>
                <c:pt idx="43">
                  <c:v>105.95248104117971</c:v>
                </c:pt>
                <c:pt idx="44">
                  <c:v>111.82144798865552</c:v>
                </c:pt>
                <c:pt idx="45">
                  <c:v>113.71873125837242</c:v>
                </c:pt>
                <c:pt idx="46">
                  <c:v>114.33808074523716</c:v>
                </c:pt>
                <c:pt idx="47">
                  <c:v>114.54994871449951</c:v>
                </c:pt>
                <c:pt idx="48">
                  <c:v>115.79145017459489</c:v>
                </c:pt>
                <c:pt idx="49">
                  <c:v>115.93437697925599</c:v>
                </c:pt>
                <c:pt idx="50">
                  <c:v>115.25169130052181</c:v>
                </c:pt>
                <c:pt idx="51">
                  <c:v>115.83460846462981</c:v>
                </c:pt>
                <c:pt idx="52">
                  <c:v>114.96751918301915</c:v>
                </c:pt>
                <c:pt idx="53">
                  <c:v>114.95406724846282</c:v>
                </c:pt>
                <c:pt idx="54">
                  <c:v>116.18604025491415</c:v>
                </c:pt>
                <c:pt idx="55">
                  <c:v>115.7443684036477</c:v>
                </c:pt>
                <c:pt idx="56">
                  <c:v>118.76656970063841</c:v>
                </c:pt>
                <c:pt idx="57">
                  <c:v>119.16508326186992</c:v>
                </c:pt>
                <c:pt idx="58">
                  <c:v>120.55679799117776</c:v>
                </c:pt>
                <c:pt idx="59">
                  <c:v>120.38080184739901</c:v>
                </c:pt>
                <c:pt idx="60">
                  <c:v>122.36552269173211</c:v>
                </c:pt>
                <c:pt idx="61">
                  <c:v>122.34758677899032</c:v>
                </c:pt>
                <c:pt idx="62">
                  <c:v>120.9872598969806</c:v>
                </c:pt>
                <c:pt idx="63">
                  <c:v>120.72831015677107</c:v>
                </c:pt>
                <c:pt idx="64">
                  <c:v>124.78238693368755</c:v>
                </c:pt>
                <c:pt idx="65">
                  <c:v>128.2927813556187</c:v>
                </c:pt>
                <c:pt idx="66">
                  <c:v>127.69921474332027</c:v>
                </c:pt>
                <c:pt idx="67">
                  <c:v>126.26266023215797</c:v>
                </c:pt>
                <c:pt idx="68">
                  <c:v>126.29124559309017</c:v>
                </c:pt>
                <c:pt idx="69">
                  <c:v>126.93861994361397</c:v>
                </c:pt>
                <c:pt idx="70">
                  <c:v>126.78840667440153</c:v>
                </c:pt>
                <c:pt idx="71">
                  <c:v>125.77839058812978</c:v>
                </c:pt>
                <c:pt idx="72">
                  <c:v>125.37819553507872</c:v>
                </c:pt>
                <c:pt idx="73">
                  <c:v>122.12282737244485</c:v>
                </c:pt>
                <c:pt idx="74">
                  <c:v>122.90976554399063</c:v>
                </c:pt>
                <c:pt idx="75">
                  <c:v>125.23414773587125</c:v>
                </c:pt>
                <c:pt idx="76">
                  <c:v>122.71807547656279</c:v>
                </c:pt>
                <c:pt idx="77">
                  <c:v>122.99271914042139</c:v>
                </c:pt>
                <c:pt idx="78">
                  <c:v>124.5127877452876</c:v>
                </c:pt>
                <c:pt idx="79">
                  <c:v>121.23668118354603</c:v>
                </c:pt>
                <c:pt idx="80">
                  <c:v>122.60373403283393</c:v>
                </c:pt>
                <c:pt idx="81">
                  <c:v>122.34030031443896</c:v>
                </c:pt>
                <c:pt idx="82">
                  <c:v>122.57402767735535</c:v>
                </c:pt>
                <c:pt idx="83">
                  <c:v>122.63344038831252</c:v>
                </c:pt>
                <c:pt idx="84">
                  <c:v>124.71064328272041</c:v>
                </c:pt>
                <c:pt idx="85">
                  <c:v>125.49702095699303</c:v>
                </c:pt>
                <c:pt idx="86">
                  <c:v>127.17514979289624</c:v>
                </c:pt>
                <c:pt idx="87">
                  <c:v>127.48958876315066</c:v>
                </c:pt>
                <c:pt idx="88">
                  <c:v>127.90771972894352</c:v>
                </c:pt>
                <c:pt idx="89">
                  <c:v>127.98282636354973</c:v>
                </c:pt>
                <c:pt idx="90">
                  <c:v>129.53148032934817</c:v>
                </c:pt>
                <c:pt idx="91">
                  <c:v>130.86546383951841</c:v>
                </c:pt>
                <c:pt idx="92">
                  <c:v>128.00580675175016</c:v>
                </c:pt>
                <c:pt idx="93">
                  <c:v>126.47733068778619</c:v>
                </c:pt>
                <c:pt idx="94">
                  <c:v>127.55124346320055</c:v>
                </c:pt>
                <c:pt idx="95">
                  <c:v>126.1158099465846</c:v>
                </c:pt>
                <c:pt idx="96">
                  <c:v>128.47718495849517</c:v>
                </c:pt>
                <c:pt idx="97">
                  <c:v>127.34385947212365</c:v>
                </c:pt>
                <c:pt idx="98">
                  <c:v>127.56245340866414</c:v>
                </c:pt>
                <c:pt idx="99">
                  <c:v>126.26546271852386</c:v>
                </c:pt>
                <c:pt idx="100">
                  <c:v>130.10767152617802</c:v>
                </c:pt>
                <c:pt idx="101">
                  <c:v>130.60090912657708</c:v>
                </c:pt>
                <c:pt idx="102">
                  <c:v>131.92088020491778</c:v>
                </c:pt>
                <c:pt idx="103">
                  <c:v>131.57337189554573</c:v>
                </c:pt>
                <c:pt idx="104">
                  <c:v>127.5551669441128</c:v>
                </c:pt>
                <c:pt idx="105">
                  <c:v>121.03041818701553</c:v>
                </c:pt>
                <c:pt idx="106">
                  <c:v>124.92755572744139</c:v>
                </c:pt>
                <c:pt idx="107">
                  <c:v>125.30196790592613</c:v>
                </c:pt>
                <c:pt idx="108">
                  <c:v>121.08198393614815</c:v>
                </c:pt>
                <c:pt idx="109">
                  <c:v>124.87038500557695</c:v>
                </c:pt>
                <c:pt idx="110">
                  <c:v>124.92251125198275</c:v>
                </c:pt>
                <c:pt idx="111">
                  <c:v>120.6352676094231</c:v>
                </c:pt>
                <c:pt idx="112">
                  <c:v>122.48042463273414</c:v>
                </c:pt>
                <c:pt idx="113">
                  <c:v>123.87213936204201</c:v>
                </c:pt>
                <c:pt idx="114">
                  <c:v>125.26161210225712</c:v>
                </c:pt>
                <c:pt idx="115">
                  <c:v>126.6723837388531</c:v>
                </c:pt>
                <c:pt idx="116">
                  <c:v>127.34049648848458</c:v>
                </c:pt>
                <c:pt idx="117">
                  <c:v>128.43738965209934</c:v>
                </c:pt>
                <c:pt idx="118">
                  <c:v>129.34427424010582</c:v>
                </c:pt>
                <c:pt idx="119">
                  <c:v>129.51858889206503</c:v>
                </c:pt>
                <c:pt idx="120">
                  <c:v>127.841020553435</c:v>
                </c:pt>
                <c:pt idx="121">
                  <c:v>125.99418203830437</c:v>
                </c:pt>
                <c:pt idx="122">
                  <c:v>125.8394847909065</c:v>
                </c:pt>
                <c:pt idx="123">
                  <c:v>127.65101197782673</c:v>
                </c:pt>
                <c:pt idx="124">
                  <c:v>125.12372977305463</c:v>
                </c:pt>
                <c:pt idx="125">
                  <c:v>123.33462247706164</c:v>
                </c:pt>
                <c:pt idx="126">
                  <c:v>124.95389909928087</c:v>
                </c:pt>
                <c:pt idx="127">
                  <c:v>125.60519693071693</c:v>
                </c:pt>
                <c:pt idx="128">
                  <c:v>125.73523229809487</c:v>
                </c:pt>
                <c:pt idx="129">
                  <c:v>127.75190148699924</c:v>
                </c:pt>
                <c:pt idx="130">
                  <c:v>126.51712599418204</c:v>
                </c:pt>
                <c:pt idx="131">
                  <c:v>124.79583886824388</c:v>
                </c:pt>
                <c:pt idx="132">
                  <c:v>122.96917825494778</c:v>
                </c:pt>
                <c:pt idx="133">
                  <c:v>124.75716455639443</c:v>
                </c:pt>
                <c:pt idx="134">
                  <c:v>124.05317998127938</c:v>
                </c:pt>
                <c:pt idx="135">
                  <c:v>120.85105905959767</c:v>
                </c:pt>
                <c:pt idx="136">
                  <c:v>122.54151883551086</c:v>
                </c:pt>
                <c:pt idx="137">
                  <c:v>125.14839165307461</c:v>
                </c:pt>
                <c:pt idx="138">
                  <c:v>123.627202053662</c:v>
                </c:pt>
                <c:pt idx="139">
                  <c:v>121.53150274923912</c:v>
                </c:pt>
                <c:pt idx="140">
                  <c:v>115.69672613542734</c:v>
                </c:pt>
                <c:pt idx="141">
                  <c:v>116.06497284390711</c:v>
                </c:pt>
                <c:pt idx="142">
                  <c:v>113.11171271151765</c:v>
                </c:pt>
                <c:pt idx="143">
                  <c:v>116.65181348892737</c:v>
                </c:pt>
                <c:pt idx="144">
                  <c:v>116.78745382903712</c:v>
                </c:pt>
                <c:pt idx="145">
                  <c:v>115.22983190686777</c:v>
                </c:pt>
                <c:pt idx="146">
                  <c:v>113.3375931126095</c:v>
                </c:pt>
                <c:pt idx="147">
                  <c:v>114.50903241355729</c:v>
                </c:pt>
                <c:pt idx="148">
                  <c:v>110.30810535106745</c:v>
                </c:pt>
                <c:pt idx="149">
                  <c:v>111.14324628810681</c:v>
                </c:pt>
                <c:pt idx="150">
                  <c:v>107.52915987063723</c:v>
                </c:pt>
                <c:pt idx="151">
                  <c:v>107.05610017207266</c:v>
                </c:pt>
                <c:pt idx="152">
                  <c:v>109.26053594749261</c:v>
                </c:pt>
                <c:pt idx="153">
                  <c:v>110.86523964060915</c:v>
                </c:pt>
                <c:pt idx="154">
                  <c:v>113.34487957716087</c:v>
                </c:pt>
                <c:pt idx="155">
                  <c:v>114.56227965450947</c:v>
                </c:pt>
                <c:pt idx="156">
                  <c:v>114.49333848990824</c:v>
                </c:pt>
                <c:pt idx="157">
                  <c:v>113.08032486421953</c:v>
                </c:pt>
                <c:pt idx="158">
                  <c:v>116.95336102189862</c:v>
                </c:pt>
                <c:pt idx="159">
                  <c:v>117.91797682904273</c:v>
                </c:pt>
                <c:pt idx="160">
                  <c:v>119.4890506857684</c:v>
                </c:pt>
                <c:pt idx="161">
                  <c:v>117.99420445819531</c:v>
                </c:pt>
                <c:pt idx="162">
                  <c:v>121.39866489549529</c:v>
                </c:pt>
                <c:pt idx="163">
                  <c:v>118.88651611709908</c:v>
                </c:pt>
                <c:pt idx="164">
                  <c:v>120.08205680079365</c:v>
                </c:pt>
                <c:pt idx="165">
                  <c:v>123.69334073189732</c:v>
                </c:pt>
                <c:pt idx="166">
                  <c:v>123.90520870115967</c:v>
                </c:pt>
                <c:pt idx="167">
                  <c:v>125.51271488064211</c:v>
                </c:pt>
                <c:pt idx="168">
                  <c:v>125.2475996704276</c:v>
                </c:pt>
                <c:pt idx="169">
                  <c:v>125.124850767601</c:v>
                </c:pt>
                <c:pt idx="170">
                  <c:v>120.40266124105305</c:v>
                </c:pt>
                <c:pt idx="171">
                  <c:v>121.884616031343</c:v>
                </c:pt>
                <c:pt idx="172">
                  <c:v>119.26036779831067</c:v>
                </c:pt>
                <c:pt idx="173">
                  <c:v>116.96513146463543</c:v>
                </c:pt>
                <c:pt idx="174">
                  <c:v>119.77378330054424</c:v>
                </c:pt>
                <c:pt idx="175">
                  <c:v>119.93296452612758</c:v>
                </c:pt>
                <c:pt idx="176">
                  <c:v>122.56337822916493</c:v>
                </c:pt>
                <c:pt idx="177">
                  <c:v>122.74273735658277</c:v>
                </c:pt>
                <c:pt idx="178">
                  <c:v>124.6417021181192</c:v>
                </c:pt>
                <c:pt idx="179">
                  <c:v>123.57227332089029</c:v>
                </c:pt>
                <c:pt idx="180">
                  <c:v>123.09809262777935</c:v>
                </c:pt>
                <c:pt idx="181">
                  <c:v>124.92587423562182</c:v>
                </c:pt>
                <c:pt idx="182">
                  <c:v>120.12073111264314</c:v>
                </c:pt>
                <c:pt idx="183">
                  <c:v>118.34563624847965</c:v>
                </c:pt>
                <c:pt idx="184">
                  <c:v>117.54020166691888</c:v>
                </c:pt>
                <c:pt idx="185">
                  <c:v>117.87593953355417</c:v>
                </c:pt>
                <c:pt idx="186">
                  <c:v>121.20024886078929</c:v>
                </c:pt>
                <c:pt idx="187">
                  <c:v>123.81552913745072</c:v>
                </c:pt>
                <c:pt idx="188">
                  <c:v>125.68590853805497</c:v>
                </c:pt>
                <c:pt idx="189">
                  <c:v>125.72121986626534</c:v>
                </c:pt>
                <c:pt idx="190">
                  <c:v>124.9707140174763</c:v>
                </c:pt>
                <c:pt idx="191">
                  <c:v>121.89470498226025</c:v>
                </c:pt>
                <c:pt idx="192">
                  <c:v>125.64779472347867</c:v>
                </c:pt>
                <c:pt idx="193">
                  <c:v>126.06480469472514</c:v>
                </c:pt>
                <c:pt idx="194">
                  <c:v>127.50528268679973</c:v>
                </c:pt>
                <c:pt idx="195">
                  <c:v>127.95984597534932</c:v>
                </c:pt>
                <c:pt idx="196">
                  <c:v>130.34980634819212</c:v>
                </c:pt>
                <c:pt idx="197">
                  <c:v>130.59698564566483</c:v>
                </c:pt>
                <c:pt idx="198">
                  <c:v>129.69682702493651</c:v>
                </c:pt>
                <c:pt idx="199">
                  <c:v>130.33467292181621</c:v>
                </c:pt>
                <c:pt idx="200">
                  <c:v>130.01294748701048</c:v>
                </c:pt>
                <c:pt idx="201">
                  <c:v>131.06107738785852</c:v>
                </c:pt>
                <c:pt idx="202">
                  <c:v>132.90567391389641</c:v>
                </c:pt>
                <c:pt idx="203">
                  <c:v>133.07662558221654</c:v>
                </c:pt>
                <c:pt idx="204">
                  <c:v>132.79133247016753</c:v>
                </c:pt>
                <c:pt idx="205">
                  <c:v>133.44935626888176</c:v>
                </c:pt>
                <c:pt idx="206">
                  <c:v>134.4845947324466</c:v>
                </c:pt>
                <c:pt idx="207">
                  <c:v>133.77836816823884</c:v>
                </c:pt>
                <c:pt idx="208">
                  <c:v>129.37454109285758</c:v>
                </c:pt>
                <c:pt idx="209">
                  <c:v>134.48235274335389</c:v>
                </c:pt>
                <c:pt idx="210">
                  <c:v>136.28995644936185</c:v>
                </c:pt>
                <c:pt idx="211">
                  <c:v>134.98904227830931</c:v>
                </c:pt>
                <c:pt idx="212">
                  <c:v>119.01318850083793</c:v>
                </c:pt>
                <c:pt idx="213">
                  <c:v>115.44057888158375</c:v>
                </c:pt>
                <c:pt idx="214">
                  <c:v>92.308295920140338</c:v>
                </c:pt>
                <c:pt idx="215">
                  <c:v>90.613352166041707</c:v>
                </c:pt>
                <c:pt idx="216">
                  <c:v>96.563591218128721</c:v>
                </c:pt>
                <c:pt idx="217">
                  <c:v>94.296940245385699</c:v>
                </c:pt>
                <c:pt idx="218">
                  <c:v>102.61696176848099</c:v>
                </c:pt>
                <c:pt idx="219">
                  <c:v>102.21004074815174</c:v>
                </c:pt>
                <c:pt idx="220">
                  <c:v>100.31948344571305</c:v>
                </c:pt>
                <c:pt idx="221">
                  <c:v>104.5192895136565</c:v>
                </c:pt>
                <c:pt idx="222">
                  <c:v>104.46996575361661</c:v>
                </c:pt>
                <c:pt idx="223">
                  <c:v>99.724795838868246</c:v>
                </c:pt>
                <c:pt idx="224">
                  <c:v>104.11012650423454</c:v>
                </c:pt>
                <c:pt idx="225">
                  <c:v>109.02288510366395</c:v>
                </c:pt>
                <c:pt idx="226">
                  <c:v>119.18694265552399</c:v>
                </c:pt>
                <c:pt idx="227">
                  <c:v>111.67459770308217</c:v>
                </c:pt>
                <c:pt idx="228">
                  <c:v>115.14799930498336</c:v>
                </c:pt>
                <c:pt idx="229">
                  <c:v>113.06631243239001</c:v>
                </c:pt>
                <c:pt idx="230">
                  <c:v>115.97585377747137</c:v>
                </c:pt>
                <c:pt idx="231">
                  <c:v>116.18940323855324</c:v>
                </c:pt>
                <c:pt idx="232">
                  <c:v>118.17692656925223</c:v>
                </c:pt>
                <c:pt idx="233">
                  <c:v>116.64620851619556</c:v>
                </c:pt>
                <c:pt idx="234">
                  <c:v>112.21491707442841</c:v>
                </c:pt>
                <c:pt idx="235">
                  <c:v>114.90754597478883</c:v>
                </c:pt>
                <c:pt idx="236">
                  <c:v>116.68488282804503</c:v>
                </c:pt>
                <c:pt idx="237">
                  <c:v>115.31614848693761</c:v>
                </c:pt>
                <c:pt idx="238">
                  <c:v>117.2890988885339</c:v>
                </c:pt>
                <c:pt idx="239">
                  <c:v>115.252251797795</c:v>
                </c:pt>
                <c:pt idx="240">
                  <c:v>117.3294546922029</c:v>
                </c:pt>
                <c:pt idx="241">
                  <c:v>116.7061817244259</c:v>
                </c:pt>
                <c:pt idx="242">
                  <c:v>111.84835185776821</c:v>
                </c:pt>
                <c:pt idx="243">
                  <c:v>114.1654475850975</c:v>
                </c:pt>
                <c:pt idx="244">
                  <c:v>117.35747955586196</c:v>
                </c:pt>
                <c:pt idx="245">
                  <c:v>116.6484505052883</c:v>
                </c:pt>
                <c:pt idx="246">
                  <c:v>115.19676256775011</c:v>
                </c:pt>
                <c:pt idx="247">
                  <c:v>107.43163334510378</c:v>
                </c:pt>
                <c:pt idx="248">
                  <c:v>115.33744738331846</c:v>
                </c:pt>
                <c:pt idx="249">
                  <c:v>122.96077079585007</c:v>
                </c:pt>
                <c:pt idx="250">
                  <c:v>124.66524300359279</c:v>
                </c:pt>
                <c:pt idx="251">
                  <c:v>126.95767685090212</c:v>
                </c:pt>
                <c:pt idx="252">
                  <c:v>127.31471361391826</c:v>
                </c:pt>
                <c:pt idx="253">
                  <c:v>125.56091764613564</c:v>
                </c:pt>
                <c:pt idx="254">
                  <c:v>127.6779158469394</c:v>
                </c:pt>
                <c:pt idx="255">
                  <c:v>127.7126666778766</c:v>
                </c:pt>
                <c:pt idx="256">
                  <c:v>128.18124239825573</c:v>
                </c:pt>
                <c:pt idx="257">
                  <c:v>131.82895865211614</c:v>
                </c:pt>
                <c:pt idx="258">
                  <c:v>130.18277816078424</c:v>
                </c:pt>
                <c:pt idx="259">
                  <c:v>130.35485082365074</c:v>
                </c:pt>
                <c:pt idx="260">
                  <c:v>126.39661908044818</c:v>
                </c:pt>
                <c:pt idx="261">
                  <c:v>132.22747221334768</c:v>
                </c:pt>
                <c:pt idx="262">
                  <c:v>133.2380487968926</c:v>
                </c:pt>
                <c:pt idx="263">
                  <c:v>133.52166041712206</c:v>
                </c:pt>
                <c:pt idx="264">
                  <c:v>130.85145140768887</c:v>
                </c:pt>
                <c:pt idx="265">
                  <c:v>131.65352300561057</c:v>
                </c:pt>
                <c:pt idx="266">
                  <c:v>136.92499985987567</c:v>
                </c:pt>
                <c:pt idx="267">
                  <c:v>136.97880759810104</c:v>
                </c:pt>
                <c:pt idx="268">
                  <c:v>137.96752478799189</c:v>
                </c:pt>
                <c:pt idx="269">
                  <c:v>140.39952245632327</c:v>
                </c:pt>
                <c:pt idx="270">
                  <c:v>141.49025014993302</c:v>
                </c:pt>
                <c:pt idx="271">
                  <c:v>143.3645530314495</c:v>
                </c:pt>
                <c:pt idx="272">
                  <c:v>142.68354884453487</c:v>
                </c:pt>
                <c:pt idx="273">
                  <c:v>141.83663746475872</c:v>
                </c:pt>
                <c:pt idx="274">
                  <c:v>143.98950749104606</c:v>
                </c:pt>
                <c:pt idx="275">
                  <c:v>143.34998010234679</c:v>
                </c:pt>
                <c:pt idx="276">
                  <c:v>143.74513067993922</c:v>
                </c:pt>
                <c:pt idx="277">
                  <c:v>145.38514570126617</c:v>
                </c:pt>
                <c:pt idx="278">
                  <c:v>146.23654105922773</c:v>
                </c:pt>
                <c:pt idx="279">
                  <c:v>147.69383396949775</c:v>
                </c:pt>
                <c:pt idx="280">
                  <c:v>145.99328524266727</c:v>
                </c:pt>
                <c:pt idx="281">
                  <c:v>147.75268618318171</c:v>
                </c:pt>
                <c:pt idx="282">
                  <c:v>146.76340849601769</c:v>
                </c:pt>
                <c:pt idx="283">
                  <c:v>146.43327560211418</c:v>
                </c:pt>
                <c:pt idx="284">
                  <c:v>145.29995011574266</c:v>
                </c:pt>
                <c:pt idx="285">
                  <c:v>147.94661823970225</c:v>
                </c:pt>
                <c:pt idx="286">
                  <c:v>147.57164556394432</c:v>
                </c:pt>
                <c:pt idx="287">
                  <c:v>150.79730737109963</c:v>
                </c:pt>
                <c:pt idx="288">
                  <c:v>152.76969727542274</c:v>
                </c:pt>
                <c:pt idx="289">
                  <c:v>149.83437305577507</c:v>
                </c:pt>
                <c:pt idx="290">
                  <c:v>151.24962867055652</c:v>
                </c:pt>
                <c:pt idx="291">
                  <c:v>151.51250189167828</c:v>
                </c:pt>
                <c:pt idx="292">
                  <c:v>150.27828689613423</c:v>
                </c:pt>
                <c:pt idx="293">
                  <c:v>148.82491746677653</c:v>
                </c:pt>
                <c:pt idx="294">
                  <c:v>149.57374182374602</c:v>
                </c:pt>
                <c:pt idx="295">
                  <c:v>145.50060813954138</c:v>
                </c:pt>
                <c:pt idx="296">
                  <c:v>146.5414515758381</c:v>
                </c:pt>
                <c:pt idx="297">
                  <c:v>150.06081395414012</c:v>
                </c:pt>
                <c:pt idx="298">
                  <c:v>150.56414050545641</c:v>
                </c:pt>
                <c:pt idx="299">
                  <c:v>151.90821296654391</c:v>
                </c:pt>
                <c:pt idx="300">
                  <c:v>155.60357148862471</c:v>
                </c:pt>
                <c:pt idx="301">
                  <c:v>155.92978090161591</c:v>
                </c:pt>
                <c:pt idx="302">
                  <c:v>155.5682601604143</c:v>
                </c:pt>
                <c:pt idx="303">
                  <c:v>147.48757097296721</c:v>
                </c:pt>
                <c:pt idx="304">
                  <c:v>146.76116650692495</c:v>
                </c:pt>
                <c:pt idx="305">
                  <c:v>150.60898028731091</c:v>
                </c:pt>
                <c:pt idx="306">
                  <c:v>149.24416942711574</c:v>
                </c:pt>
                <c:pt idx="307">
                  <c:v>152.51018703794006</c:v>
                </c:pt>
                <c:pt idx="308">
                  <c:v>153.96972193730275</c:v>
                </c:pt>
                <c:pt idx="309">
                  <c:v>154.06556697101666</c:v>
                </c:pt>
                <c:pt idx="310">
                  <c:v>152.88123623278571</c:v>
                </c:pt>
                <c:pt idx="311">
                  <c:v>150.50528829177244</c:v>
                </c:pt>
                <c:pt idx="312">
                  <c:v>147.11035630811656</c:v>
                </c:pt>
                <c:pt idx="313">
                  <c:v>146.47979687578817</c:v>
                </c:pt>
                <c:pt idx="314">
                  <c:v>148.48413512468261</c:v>
                </c:pt>
                <c:pt idx="315">
                  <c:v>145.71696008698919</c:v>
                </c:pt>
                <c:pt idx="316">
                  <c:v>141.78955569381156</c:v>
                </c:pt>
                <c:pt idx="317">
                  <c:v>127.23232051476067</c:v>
                </c:pt>
                <c:pt idx="318">
                  <c:v>131.58346084646297</c:v>
                </c:pt>
                <c:pt idx="319">
                  <c:v>139.4326646600864</c:v>
                </c:pt>
                <c:pt idx="320">
                  <c:v>138.02357451530997</c:v>
                </c:pt>
                <c:pt idx="321">
                  <c:v>140.04977215785843</c:v>
                </c:pt>
                <c:pt idx="322">
                  <c:v>138.20237314545463</c:v>
                </c:pt>
                <c:pt idx="323">
                  <c:v>137.86775627336573</c:v>
                </c:pt>
                <c:pt idx="324">
                  <c:v>137.65140432591792</c:v>
                </c:pt>
                <c:pt idx="325">
                  <c:v>136.17673600017935</c:v>
                </c:pt>
                <c:pt idx="326">
                  <c:v>130.53028647015631</c:v>
                </c:pt>
                <c:pt idx="327">
                  <c:v>132.28520343248528</c:v>
                </c:pt>
                <c:pt idx="328">
                  <c:v>131.24604148800816</c:v>
                </c:pt>
                <c:pt idx="329">
                  <c:v>136.03436969279144</c:v>
                </c:pt>
                <c:pt idx="330">
                  <c:v>134.9868002892166</c:v>
                </c:pt>
                <c:pt idx="331">
                  <c:v>128.98499548799697</c:v>
                </c:pt>
                <c:pt idx="332">
                  <c:v>123.16703379238059</c:v>
                </c:pt>
                <c:pt idx="333">
                  <c:v>125.50150493517849</c:v>
                </c:pt>
                <c:pt idx="334">
                  <c:v>122.95180283947917</c:v>
                </c:pt>
                <c:pt idx="335">
                  <c:v>125.20668336948539</c:v>
                </c:pt>
                <c:pt idx="336">
                  <c:v>123.80095620834804</c:v>
                </c:pt>
                <c:pt idx="337">
                  <c:v>127.87296889800631</c:v>
                </c:pt>
                <c:pt idx="338">
                  <c:v>131.61372769921473</c:v>
                </c:pt>
                <c:pt idx="339">
                  <c:v>131.96852247313817</c:v>
                </c:pt>
                <c:pt idx="340">
                  <c:v>133.87141071558685</c:v>
                </c:pt>
                <c:pt idx="341">
                  <c:v>132.10023933233563</c:v>
                </c:pt>
                <c:pt idx="342">
                  <c:v>127.60785368779182</c:v>
                </c:pt>
                <c:pt idx="343">
                  <c:v>125.83163782908196</c:v>
                </c:pt>
                <c:pt idx="344">
                  <c:v>126.95039038635076</c:v>
                </c:pt>
                <c:pt idx="345">
                  <c:v>123.94388301300914</c:v>
                </c:pt>
                <c:pt idx="346">
                  <c:v>118.11471137192918</c:v>
                </c:pt>
                <c:pt idx="347">
                  <c:v>116.94943754098634</c:v>
                </c:pt>
                <c:pt idx="348">
                  <c:v>118.51154344134113</c:v>
                </c:pt>
                <c:pt idx="349">
                  <c:v>118.53060034862931</c:v>
                </c:pt>
                <c:pt idx="350">
                  <c:v>121.44406517462292</c:v>
                </c:pt>
                <c:pt idx="351">
                  <c:v>125.95438673190853</c:v>
                </c:pt>
                <c:pt idx="352">
                  <c:v>127.98787083900835</c:v>
                </c:pt>
                <c:pt idx="353">
                  <c:v>134.15165935217723</c:v>
                </c:pt>
                <c:pt idx="354">
                  <c:v>135.32702213403732</c:v>
                </c:pt>
                <c:pt idx="355">
                  <c:v>136.82635233979587</c:v>
                </c:pt>
                <c:pt idx="356">
                  <c:v>137.45971425849012</c:v>
                </c:pt>
                <c:pt idx="357">
                  <c:v>136.00130035367377</c:v>
                </c:pt>
                <c:pt idx="358">
                  <c:v>131.60195725647793</c:v>
                </c:pt>
                <c:pt idx="359">
                  <c:v>132.32892221979341</c:v>
                </c:pt>
                <c:pt idx="360">
                  <c:v>131.57449289009207</c:v>
                </c:pt>
                <c:pt idx="361">
                  <c:v>139.21799420445819</c:v>
                </c:pt>
                <c:pt idx="362">
                  <c:v>143.2507720849938</c:v>
                </c:pt>
                <c:pt idx="363">
                  <c:v>142.52436761895154</c:v>
                </c:pt>
                <c:pt idx="364">
                  <c:v>144.60325200517897</c:v>
                </c:pt>
                <c:pt idx="365">
                  <c:v>147.59742843851063</c:v>
                </c:pt>
                <c:pt idx="366">
                  <c:v>145.22372248659011</c:v>
                </c:pt>
                <c:pt idx="367">
                  <c:v>148.04302377068933</c:v>
                </c:pt>
                <c:pt idx="368">
                  <c:v>144.63071637156486</c:v>
                </c:pt>
                <c:pt idx="369">
                  <c:v>148.06320167252386</c:v>
                </c:pt>
                <c:pt idx="370">
                  <c:v>145.43559045585241</c:v>
                </c:pt>
                <c:pt idx="371">
                  <c:v>139.52850969380032</c:v>
                </c:pt>
                <c:pt idx="372">
                  <c:v>141.13321338691688</c:v>
                </c:pt>
                <c:pt idx="373">
                  <c:v>147.29756239735894</c:v>
                </c:pt>
                <c:pt idx="374">
                  <c:v>147.09017840628204</c:v>
                </c:pt>
                <c:pt idx="375">
                  <c:v>149.45379540728533</c:v>
                </c:pt>
                <c:pt idx="376">
                  <c:v>149.91172167947403</c:v>
                </c:pt>
                <c:pt idx="377">
                  <c:v>148.66461524664683</c:v>
                </c:pt>
                <c:pt idx="378">
                  <c:v>147.99874448610805</c:v>
                </c:pt>
                <c:pt idx="379">
                  <c:v>147.47524003295723</c:v>
                </c:pt>
                <c:pt idx="380">
                  <c:v>149.34842191992735</c:v>
                </c:pt>
                <c:pt idx="381">
                  <c:v>147.09242039537477</c:v>
                </c:pt>
                <c:pt idx="382">
                  <c:v>147.09410188719431</c:v>
                </c:pt>
                <c:pt idx="383">
                  <c:v>146.16311591644106</c:v>
                </c:pt>
                <c:pt idx="384">
                  <c:v>149.26266583713067</c:v>
                </c:pt>
                <c:pt idx="385">
                  <c:v>144.7047020116247</c:v>
                </c:pt>
                <c:pt idx="386">
                  <c:v>148.77503320946343</c:v>
                </c:pt>
                <c:pt idx="387">
                  <c:v>143.99847544741692</c:v>
                </c:pt>
                <c:pt idx="388">
                  <c:v>149.0171680314775</c:v>
                </c:pt>
                <c:pt idx="389">
                  <c:v>149.54739845190653</c:v>
                </c:pt>
                <c:pt idx="390">
                  <c:v>151.57639858082089</c:v>
                </c:pt>
                <c:pt idx="391">
                  <c:v>147.4264767701905</c:v>
                </c:pt>
                <c:pt idx="392">
                  <c:v>146.87270546428792</c:v>
                </c:pt>
                <c:pt idx="393">
                  <c:v>143.49739088519331</c:v>
                </c:pt>
                <c:pt idx="394">
                  <c:v>144.38241607954575</c:v>
                </c:pt>
                <c:pt idx="395">
                  <c:v>146.26008194470131</c:v>
                </c:pt>
                <c:pt idx="396">
                  <c:v>144.47882161053286</c:v>
                </c:pt>
                <c:pt idx="397">
                  <c:v>146.26288443106722</c:v>
                </c:pt>
                <c:pt idx="398">
                  <c:v>143.31691076322912</c:v>
                </c:pt>
                <c:pt idx="399">
                  <c:v>141.91959106118946</c:v>
                </c:pt>
                <c:pt idx="400">
                  <c:v>140.21119537253449</c:v>
                </c:pt>
                <c:pt idx="401">
                  <c:v>139.93262822776367</c:v>
                </c:pt>
                <c:pt idx="402">
                  <c:v>135.87630946175446</c:v>
                </c:pt>
                <c:pt idx="403">
                  <c:v>135.50133678599653</c:v>
                </c:pt>
                <c:pt idx="404">
                  <c:v>141.24979681973846</c:v>
                </c:pt>
                <c:pt idx="405">
                  <c:v>141.50426258176253</c:v>
                </c:pt>
                <c:pt idx="406">
                  <c:v>146.23261757831548</c:v>
                </c:pt>
                <c:pt idx="407">
                  <c:v>147.26729554460718</c:v>
                </c:pt>
                <c:pt idx="408">
                  <c:v>149.09619814699602</c:v>
                </c:pt>
                <c:pt idx="409">
                  <c:v>152.11615745489397</c:v>
                </c:pt>
                <c:pt idx="410">
                  <c:v>153.27806830219771</c:v>
                </c:pt>
                <c:pt idx="411">
                  <c:v>152.59874560710261</c:v>
                </c:pt>
                <c:pt idx="412">
                  <c:v>152.5931406343708</c:v>
                </c:pt>
                <c:pt idx="413">
                  <c:v>150.96825903941976</c:v>
                </c:pt>
                <c:pt idx="414">
                  <c:v>151.45028669435524</c:v>
                </c:pt>
                <c:pt idx="415">
                  <c:v>150.17067141968352</c:v>
                </c:pt>
                <c:pt idx="416">
                  <c:v>155.47409661851995</c:v>
                </c:pt>
                <c:pt idx="417">
                  <c:v>155.3272463329466</c:v>
                </c:pt>
                <c:pt idx="418">
                  <c:v>156.53063397846569</c:v>
                </c:pt>
                <c:pt idx="419">
                  <c:v>158.23566668348155</c:v>
                </c:pt>
                <c:pt idx="420">
                  <c:v>161.04936299484905</c:v>
                </c:pt>
                <c:pt idx="421">
                  <c:v>161.60593678711754</c:v>
                </c:pt>
                <c:pt idx="422">
                  <c:v>163.42362944404277</c:v>
                </c:pt>
                <c:pt idx="423">
                  <c:v>164.12537203006508</c:v>
                </c:pt>
                <c:pt idx="424">
                  <c:v>166.18239702263847</c:v>
                </c:pt>
                <c:pt idx="425">
                  <c:v>167.75907585209595</c:v>
                </c:pt>
                <c:pt idx="426">
                  <c:v>165.72222876135706</c:v>
                </c:pt>
                <c:pt idx="427">
                  <c:v>164.14498943462638</c:v>
                </c:pt>
                <c:pt idx="428">
                  <c:v>162.57111309153481</c:v>
                </c:pt>
                <c:pt idx="429">
                  <c:v>165.53782515848059</c:v>
                </c:pt>
                <c:pt idx="430">
                  <c:v>163.92527450353953</c:v>
                </c:pt>
                <c:pt idx="431">
                  <c:v>168.98208090217639</c:v>
                </c:pt>
                <c:pt idx="432">
                  <c:v>169.04597759131903</c:v>
                </c:pt>
                <c:pt idx="433">
                  <c:v>168.11162863692667</c:v>
                </c:pt>
                <c:pt idx="434">
                  <c:v>166.37576858188586</c:v>
                </c:pt>
                <c:pt idx="435">
                  <c:v>168.00849713866143</c:v>
                </c:pt>
                <c:pt idx="436">
                  <c:v>161.12671161854797</c:v>
                </c:pt>
                <c:pt idx="437">
                  <c:v>162.91750040636052</c:v>
                </c:pt>
                <c:pt idx="438">
                  <c:v>162.029112228369</c:v>
                </c:pt>
                <c:pt idx="439">
                  <c:v>165.07877789174555</c:v>
                </c:pt>
                <c:pt idx="440">
                  <c:v>167.17335620162208</c:v>
                </c:pt>
                <c:pt idx="441">
                  <c:v>161.35315251691301</c:v>
                </c:pt>
                <c:pt idx="442">
                  <c:v>161.87497547824427</c:v>
                </c:pt>
                <c:pt idx="443">
                  <c:v>155.16302063190463</c:v>
                </c:pt>
                <c:pt idx="444">
                  <c:v>156.04412234534479</c:v>
                </c:pt>
                <c:pt idx="445">
                  <c:v>160.8077886701081</c:v>
                </c:pt>
                <c:pt idx="446">
                  <c:v>163.21288246932676</c:v>
                </c:pt>
                <c:pt idx="447">
                  <c:v>165.12473866814636</c:v>
                </c:pt>
                <c:pt idx="448">
                  <c:v>158.97944656499246</c:v>
                </c:pt>
                <c:pt idx="449">
                  <c:v>162.35924512227248</c:v>
                </c:pt>
                <c:pt idx="450">
                  <c:v>162.77177111533351</c:v>
                </c:pt>
                <c:pt idx="451">
                  <c:v>168.73882508561596</c:v>
                </c:pt>
                <c:pt idx="452">
                  <c:v>165.09335082084823</c:v>
                </c:pt>
                <c:pt idx="453">
                  <c:v>166.34325974004136</c:v>
                </c:pt>
                <c:pt idx="454">
                  <c:v>166.63415782482218</c:v>
                </c:pt>
                <c:pt idx="455">
                  <c:v>164.70604720508035</c:v>
                </c:pt>
                <c:pt idx="456">
                  <c:v>162.55205618424665</c:v>
                </c:pt>
                <c:pt idx="457">
                  <c:v>160.70521766911602</c:v>
                </c:pt>
                <c:pt idx="458">
                  <c:v>160.28540521150364</c:v>
                </c:pt>
                <c:pt idx="459">
                  <c:v>160.34986239791942</c:v>
                </c:pt>
                <c:pt idx="460">
                  <c:v>160.84366049559168</c:v>
                </c:pt>
                <c:pt idx="461">
                  <c:v>165.62133925218455</c:v>
                </c:pt>
                <c:pt idx="462">
                  <c:v>165.18863535728897</c:v>
                </c:pt>
                <c:pt idx="463">
                  <c:v>161.70346331265097</c:v>
                </c:pt>
                <c:pt idx="464">
                  <c:v>162.97915510641042</c:v>
                </c:pt>
                <c:pt idx="465">
                  <c:v>162.35139816044796</c:v>
                </c:pt>
                <c:pt idx="466">
                  <c:v>165.04626904990104</c:v>
                </c:pt>
                <c:pt idx="467">
                  <c:v>170.24207877228673</c:v>
                </c:pt>
                <c:pt idx="468">
                  <c:v>172.44595405043353</c:v>
                </c:pt>
                <c:pt idx="469">
                  <c:v>174.71316552044973</c:v>
                </c:pt>
                <c:pt idx="470">
                  <c:v>175.60715867117304</c:v>
                </c:pt>
                <c:pt idx="471">
                  <c:v>180.82875126812507</c:v>
                </c:pt>
                <c:pt idx="472">
                  <c:v>180.20267581398215</c:v>
                </c:pt>
                <c:pt idx="473">
                  <c:v>180.61127832613093</c:v>
                </c:pt>
                <c:pt idx="474">
                  <c:v>181.53217534596692</c:v>
                </c:pt>
                <c:pt idx="475">
                  <c:v>179.95998049469489</c:v>
                </c:pt>
                <c:pt idx="476">
                  <c:v>180.50590483877295</c:v>
                </c:pt>
                <c:pt idx="477">
                  <c:v>177.54647923637853</c:v>
                </c:pt>
                <c:pt idx="478">
                  <c:v>163.38383413764689</c:v>
                </c:pt>
                <c:pt idx="479">
                  <c:v>160.9310980702079</c:v>
                </c:pt>
                <c:pt idx="480">
                  <c:v>166.7496202630974</c:v>
                </c:pt>
                <c:pt idx="481">
                  <c:v>173.05129110546875</c:v>
                </c:pt>
                <c:pt idx="482">
                  <c:v>178.00944998402582</c:v>
                </c:pt>
                <c:pt idx="483">
                  <c:v>179.30700117143928</c:v>
                </c:pt>
                <c:pt idx="484">
                  <c:v>183.01805361716916</c:v>
                </c:pt>
                <c:pt idx="485">
                  <c:v>180.57484600337418</c:v>
                </c:pt>
                <c:pt idx="486">
                  <c:v>182.10780604552357</c:v>
                </c:pt>
                <c:pt idx="487">
                  <c:v>183.78985836233903</c:v>
                </c:pt>
                <c:pt idx="488">
                  <c:v>179.75764097907663</c:v>
                </c:pt>
                <c:pt idx="489">
                  <c:v>177.84242179661794</c:v>
                </c:pt>
                <c:pt idx="490">
                  <c:v>181.20372394388301</c:v>
                </c:pt>
                <c:pt idx="491">
                  <c:v>180.22509570490939</c:v>
                </c:pt>
                <c:pt idx="492">
                  <c:v>182.88969974161074</c:v>
                </c:pt>
                <c:pt idx="493">
                  <c:v>182.44690689579795</c:v>
                </c:pt>
                <c:pt idx="494">
                  <c:v>182.95359643075335</c:v>
                </c:pt>
                <c:pt idx="495">
                  <c:v>177.55712868456894</c:v>
                </c:pt>
                <c:pt idx="496">
                  <c:v>183.26635390918821</c:v>
                </c:pt>
                <c:pt idx="497">
                  <c:v>186.20896459338724</c:v>
                </c:pt>
                <c:pt idx="498">
                  <c:v>187.61357075997822</c:v>
                </c:pt>
                <c:pt idx="499">
                  <c:v>182.84766244612217</c:v>
                </c:pt>
                <c:pt idx="500">
                  <c:v>181.8006535398205</c:v>
                </c:pt>
                <c:pt idx="501">
                  <c:v>184.57679653388485</c:v>
                </c:pt>
                <c:pt idx="502">
                  <c:v>185.6585562711237</c:v>
                </c:pt>
                <c:pt idx="503">
                  <c:v>186.75657042928484</c:v>
                </c:pt>
                <c:pt idx="504">
                  <c:v>191.73546770694961</c:v>
                </c:pt>
                <c:pt idx="505">
                  <c:v>188.33997522602053</c:v>
                </c:pt>
                <c:pt idx="506">
                  <c:v>190.11114660927174</c:v>
                </c:pt>
                <c:pt idx="507">
                  <c:v>192.80938048236396</c:v>
                </c:pt>
                <c:pt idx="508">
                  <c:v>192.24776221463682</c:v>
                </c:pt>
                <c:pt idx="509">
                  <c:v>189.20258052944573</c:v>
                </c:pt>
                <c:pt idx="510">
                  <c:v>193.15520729991647</c:v>
                </c:pt>
                <c:pt idx="511">
                  <c:v>187.53061716354748</c:v>
                </c:pt>
                <c:pt idx="512">
                  <c:v>192.53978129396401</c:v>
                </c:pt>
                <c:pt idx="513">
                  <c:v>193.95503690874543</c:v>
                </c:pt>
                <c:pt idx="514">
                  <c:v>193.90066867324691</c:v>
                </c:pt>
                <c:pt idx="515">
                  <c:v>195.95713316854713</c:v>
                </c:pt>
                <c:pt idx="516">
                  <c:v>195.49808590181206</c:v>
                </c:pt>
                <c:pt idx="517">
                  <c:v>198.83864964996945</c:v>
                </c:pt>
                <c:pt idx="518">
                  <c:v>203.38988750819729</c:v>
                </c:pt>
                <c:pt idx="519">
                  <c:v>204.52265249729558</c:v>
                </c:pt>
                <c:pt idx="520">
                  <c:v>201.96454294249858</c:v>
                </c:pt>
                <c:pt idx="521">
                  <c:v>202.42246921468725</c:v>
                </c:pt>
                <c:pt idx="522">
                  <c:v>204.28500165346694</c:v>
                </c:pt>
                <c:pt idx="523">
                  <c:v>203.67854360388534</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val>
          <c:smooth val="0"/>
          <c:extLst>
            <c:ext xmlns:c16="http://schemas.microsoft.com/office/drawing/2014/chart" uri="{C3380CC4-5D6E-409C-BE32-E72D297353CC}">
              <c16:uniqueId val="{00000006-484C-4F9E-91BA-8A726FFABB09}"/>
            </c:ext>
          </c:extLst>
        </c:ser>
        <c:ser>
          <c:idx val="7"/>
          <c:order val="7"/>
          <c:tx>
            <c:strRef>
              <c:f>EMU!$BB$7</c:f>
              <c:strCache>
                <c:ptCount val="1"/>
                <c:pt idx="0">
                  <c:v>EMU fwd Earnings (rhs)</c:v>
                </c:pt>
              </c:strCache>
            </c:strRef>
          </c:tx>
          <c:spPr>
            <a:ln w="19050" cap="rnd" cmpd="sng" algn="ctr">
              <a:solidFill>
                <a:srgbClr val="B98E2C"/>
              </a:solidFill>
              <a:prstDash val="solid"/>
              <a:round/>
              <a:headEnd type="none" w="med" len="med"/>
              <a:tailEnd type="none" w="med" len="med"/>
            </a:ln>
            <a:effectLst/>
          </c:spPr>
          <c:marker>
            <c:symbol val="none"/>
          </c:marker>
          <c:val>
            <c:numRef>
              <c:f>EMU!$BB$9:$BB$900</c:f>
              <c:numCache>
                <c:formatCode>0.00</c:formatCode>
                <c:ptCount val="892"/>
                <c:pt idx="0">
                  <c:v>100</c:v>
                </c:pt>
                <c:pt idx="1">
                  <c:v>98.910876993166283</c:v>
                </c:pt>
                <c:pt idx="2">
                  <c:v>98.448177676537583</c:v>
                </c:pt>
                <c:pt idx="3">
                  <c:v>97.900056947608206</c:v>
                </c:pt>
                <c:pt idx="4">
                  <c:v>98.519362186788157</c:v>
                </c:pt>
                <c:pt idx="5">
                  <c:v>97.992596810933946</c:v>
                </c:pt>
                <c:pt idx="6">
                  <c:v>97.586845102505691</c:v>
                </c:pt>
                <c:pt idx="7">
                  <c:v>97.166856492027335</c:v>
                </c:pt>
                <c:pt idx="8">
                  <c:v>96.896355353075165</c:v>
                </c:pt>
                <c:pt idx="9">
                  <c:v>97.572608200455591</c:v>
                </c:pt>
                <c:pt idx="10">
                  <c:v>97.26651480637814</c:v>
                </c:pt>
                <c:pt idx="11">
                  <c:v>97.173974943052386</c:v>
                </c:pt>
                <c:pt idx="12">
                  <c:v>96.910592255125295</c:v>
                </c:pt>
                <c:pt idx="13">
                  <c:v>97.437357630979506</c:v>
                </c:pt>
                <c:pt idx="14">
                  <c:v>97.344817767653765</c:v>
                </c:pt>
                <c:pt idx="15">
                  <c:v>97.081435079726646</c:v>
                </c:pt>
                <c:pt idx="16">
                  <c:v>97.188211845102515</c:v>
                </c:pt>
                <c:pt idx="17">
                  <c:v>98.241742596810937</c:v>
                </c:pt>
                <c:pt idx="18">
                  <c:v>97.593963553530756</c:v>
                </c:pt>
                <c:pt idx="19">
                  <c:v>97.544134396355346</c:v>
                </c:pt>
                <c:pt idx="20">
                  <c:v>97.230922551252846</c:v>
                </c:pt>
                <c:pt idx="21">
                  <c:v>96.832289293849655</c:v>
                </c:pt>
                <c:pt idx="22">
                  <c:v>97.572608200455591</c:v>
                </c:pt>
                <c:pt idx="23">
                  <c:v>97.351936218678816</c:v>
                </c:pt>
                <c:pt idx="24">
                  <c:v>97.11702733485194</c:v>
                </c:pt>
                <c:pt idx="25">
                  <c:v>97.188211845102515</c:v>
                </c:pt>
                <c:pt idx="26">
                  <c:v>97.942767653758551</c:v>
                </c:pt>
                <c:pt idx="27">
                  <c:v>98.170558086560362</c:v>
                </c:pt>
                <c:pt idx="28">
                  <c:v>97.999715261958997</c:v>
                </c:pt>
                <c:pt idx="29">
                  <c:v>97.942767653758551</c:v>
                </c:pt>
                <c:pt idx="30">
                  <c:v>98.661731207289293</c:v>
                </c:pt>
                <c:pt idx="31">
                  <c:v>98.953587699316628</c:v>
                </c:pt>
                <c:pt idx="32">
                  <c:v>98.782744874715263</c:v>
                </c:pt>
                <c:pt idx="33">
                  <c:v>98.782744874715263</c:v>
                </c:pt>
                <c:pt idx="34">
                  <c:v>98.647494305239178</c:v>
                </c:pt>
                <c:pt idx="35">
                  <c:v>99.729498861047844</c:v>
                </c:pt>
                <c:pt idx="36">
                  <c:v>99.629840546697039</c:v>
                </c:pt>
                <c:pt idx="37">
                  <c:v>99.558656036446465</c:v>
                </c:pt>
                <c:pt idx="38">
                  <c:v>99.565774487471529</c:v>
                </c:pt>
                <c:pt idx="39">
                  <c:v>100.39863325740319</c:v>
                </c:pt>
                <c:pt idx="40">
                  <c:v>100.37727790432803</c:v>
                </c:pt>
                <c:pt idx="41">
                  <c:v>100.53388382687926</c:v>
                </c:pt>
                <c:pt idx="42">
                  <c:v>100.59083143507972</c:v>
                </c:pt>
                <c:pt idx="43">
                  <c:v>101.58029612756263</c:v>
                </c:pt>
                <c:pt idx="44">
                  <c:v>101.34538724373576</c:v>
                </c:pt>
                <c:pt idx="45">
                  <c:v>101.44504555808655</c:v>
                </c:pt>
                <c:pt idx="46">
                  <c:v>101.50199316628701</c:v>
                </c:pt>
                <c:pt idx="47">
                  <c:v>101.45216400911161</c:v>
                </c:pt>
                <c:pt idx="48">
                  <c:v>102.46298405466972</c:v>
                </c:pt>
                <c:pt idx="49">
                  <c:v>102.42027334851936</c:v>
                </c:pt>
                <c:pt idx="50">
                  <c:v>102.45586560364465</c:v>
                </c:pt>
                <c:pt idx="51">
                  <c:v>102.51281321184511</c:v>
                </c:pt>
                <c:pt idx="52">
                  <c:v>103.23177676537586</c:v>
                </c:pt>
                <c:pt idx="53">
                  <c:v>103.21042141230068</c:v>
                </c:pt>
                <c:pt idx="54">
                  <c:v>103.55210706150342</c:v>
                </c:pt>
                <c:pt idx="55">
                  <c:v>103.69447608200456</c:v>
                </c:pt>
                <c:pt idx="56">
                  <c:v>104.63411161731206</c:v>
                </c:pt>
                <c:pt idx="57">
                  <c:v>104.62699316628701</c:v>
                </c:pt>
                <c:pt idx="58">
                  <c:v>104.6981776765376</c:v>
                </c:pt>
                <c:pt idx="59">
                  <c:v>104.58428246013666</c:v>
                </c:pt>
                <c:pt idx="60">
                  <c:v>104.90461275626424</c:v>
                </c:pt>
                <c:pt idx="61">
                  <c:v>105.80865603644646</c:v>
                </c:pt>
                <c:pt idx="62">
                  <c:v>106.05780182232346</c:v>
                </c:pt>
                <c:pt idx="63">
                  <c:v>106.0862756264237</c:v>
                </c:pt>
                <c:pt idx="64">
                  <c:v>106.39948747152619</c:v>
                </c:pt>
                <c:pt idx="65">
                  <c:v>107.61674259681094</c:v>
                </c:pt>
                <c:pt idx="66">
                  <c:v>107.7733485193622</c:v>
                </c:pt>
                <c:pt idx="67">
                  <c:v>108.00113895216401</c:v>
                </c:pt>
                <c:pt idx="68">
                  <c:v>108.08656036446469</c:v>
                </c:pt>
                <c:pt idx="69">
                  <c:v>108.91941913439635</c:v>
                </c:pt>
                <c:pt idx="70">
                  <c:v>108.7272209567198</c:v>
                </c:pt>
                <c:pt idx="71">
                  <c:v>108.87670842824602</c:v>
                </c:pt>
                <c:pt idx="72">
                  <c:v>108.92653758542141</c:v>
                </c:pt>
                <c:pt idx="73">
                  <c:v>108.80552391799544</c:v>
                </c:pt>
                <c:pt idx="74">
                  <c:v>109.6739749430524</c:v>
                </c:pt>
                <c:pt idx="75">
                  <c:v>109.36788154897495</c:v>
                </c:pt>
                <c:pt idx="76">
                  <c:v>109.18280182232346</c:v>
                </c:pt>
                <c:pt idx="77">
                  <c:v>109.01907744874715</c:v>
                </c:pt>
                <c:pt idx="78">
                  <c:v>109.91600227790433</c:v>
                </c:pt>
                <c:pt idx="79">
                  <c:v>110.19362186788155</c:v>
                </c:pt>
                <c:pt idx="80">
                  <c:v>110.17938496583145</c:v>
                </c:pt>
                <c:pt idx="81">
                  <c:v>110.14379271070615</c:v>
                </c:pt>
                <c:pt idx="82">
                  <c:v>109.92312072892938</c:v>
                </c:pt>
                <c:pt idx="83">
                  <c:v>110.51395216400913</c:v>
                </c:pt>
                <c:pt idx="84">
                  <c:v>110.52107061503416</c:v>
                </c:pt>
                <c:pt idx="85">
                  <c:v>110.40717539863326</c:v>
                </c:pt>
                <c:pt idx="86">
                  <c:v>110.49971526195898</c:v>
                </c:pt>
                <c:pt idx="87">
                  <c:v>111.25427107061503</c:v>
                </c:pt>
                <c:pt idx="88">
                  <c:v>111.12613895216401</c:v>
                </c:pt>
                <c:pt idx="89">
                  <c:v>110.97665148063783</c:v>
                </c:pt>
                <c:pt idx="90">
                  <c:v>110.98376993166286</c:v>
                </c:pt>
                <c:pt idx="91">
                  <c:v>111.62443052391799</c:v>
                </c:pt>
                <c:pt idx="92">
                  <c:v>111.51053530751707</c:v>
                </c:pt>
                <c:pt idx="93">
                  <c:v>111.51765375854214</c:v>
                </c:pt>
                <c:pt idx="94">
                  <c:v>111.45358769931664</c:v>
                </c:pt>
                <c:pt idx="95">
                  <c:v>111.80239179954441</c:v>
                </c:pt>
                <c:pt idx="96">
                  <c:v>112.15831435079726</c:v>
                </c:pt>
                <c:pt idx="97">
                  <c:v>112.30780182232346</c:v>
                </c:pt>
                <c:pt idx="98">
                  <c:v>112.37186788154898</c:v>
                </c:pt>
                <c:pt idx="99">
                  <c:v>112.35051252847379</c:v>
                </c:pt>
                <c:pt idx="100">
                  <c:v>113.06235763097949</c:v>
                </c:pt>
                <c:pt idx="101">
                  <c:v>113.21184510250571</c:v>
                </c:pt>
                <c:pt idx="102">
                  <c:v>113.20472665148064</c:v>
                </c:pt>
                <c:pt idx="103">
                  <c:v>113.2901480637813</c:v>
                </c:pt>
                <c:pt idx="104">
                  <c:v>114.25825740318905</c:v>
                </c:pt>
                <c:pt idx="105">
                  <c:v>114.20842824601367</c:v>
                </c:pt>
                <c:pt idx="106">
                  <c:v>114.27249430523918</c:v>
                </c:pt>
                <c:pt idx="107">
                  <c:v>114.36503416856492</c:v>
                </c:pt>
                <c:pt idx="108">
                  <c:v>115.25484054669704</c:v>
                </c:pt>
                <c:pt idx="109">
                  <c:v>115.08399772209567</c:v>
                </c:pt>
                <c:pt idx="110">
                  <c:v>115.09823462414579</c:v>
                </c:pt>
                <c:pt idx="111">
                  <c:v>115.05552391799544</c:v>
                </c:pt>
                <c:pt idx="112">
                  <c:v>114.97010250569475</c:v>
                </c:pt>
                <c:pt idx="113">
                  <c:v>115.73177676537586</c:v>
                </c:pt>
                <c:pt idx="114">
                  <c:v>115.58940774487472</c:v>
                </c:pt>
                <c:pt idx="115">
                  <c:v>115.61076309794989</c:v>
                </c:pt>
                <c:pt idx="116">
                  <c:v>115.53246013667426</c:v>
                </c:pt>
                <c:pt idx="117">
                  <c:v>116.79954441913441</c:v>
                </c:pt>
                <c:pt idx="118">
                  <c:v>116.97750569476082</c:v>
                </c:pt>
                <c:pt idx="119">
                  <c:v>117.36190205011387</c:v>
                </c:pt>
                <c:pt idx="120">
                  <c:v>117.44020501138952</c:v>
                </c:pt>
                <c:pt idx="121">
                  <c:v>117.43308656036446</c:v>
                </c:pt>
                <c:pt idx="122">
                  <c:v>117.86731207289294</c:v>
                </c:pt>
                <c:pt idx="123">
                  <c:v>118.00256264236904</c:v>
                </c:pt>
                <c:pt idx="124">
                  <c:v>117.99544419134395</c:v>
                </c:pt>
                <c:pt idx="125">
                  <c:v>118.03103644646924</c:v>
                </c:pt>
                <c:pt idx="126">
                  <c:v>118.99202733485194</c:v>
                </c:pt>
                <c:pt idx="127">
                  <c:v>118.62898633257402</c:v>
                </c:pt>
                <c:pt idx="128">
                  <c:v>118.64322323462414</c:v>
                </c:pt>
                <c:pt idx="129">
                  <c:v>118.68593394077448</c:v>
                </c:pt>
                <c:pt idx="130">
                  <c:v>119.74658314350796</c:v>
                </c:pt>
                <c:pt idx="131">
                  <c:v>119.58285876993166</c:v>
                </c:pt>
                <c:pt idx="132">
                  <c:v>119.60421412300684</c:v>
                </c:pt>
                <c:pt idx="133">
                  <c:v>119.36930523917995</c:v>
                </c:pt>
                <c:pt idx="134">
                  <c:v>119.14151480637811</c:v>
                </c:pt>
                <c:pt idx="135">
                  <c:v>120.1380979498861</c:v>
                </c:pt>
                <c:pt idx="136">
                  <c:v>120.35165148063783</c:v>
                </c:pt>
                <c:pt idx="137">
                  <c:v>120.26623006833712</c:v>
                </c:pt>
                <c:pt idx="138">
                  <c:v>120.08826879271071</c:v>
                </c:pt>
                <c:pt idx="139">
                  <c:v>121.03502277904327</c:v>
                </c:pt>
                <c:pt idx="140">
                  <c:v>121.12044419134395</c:v>
                </c:pt>
                <c:pt idx="141">
                  <c:v>120.92112756264235</c:v>
                </c:pt>
                <c:pt idx="142">
                  <c:v>120.55808656036446</c:v>
                </c:pt>
                <c:pt idx="143">
                  <c:v>121.23433940774487</c:v>
                </c:pt>
                <c:pt idx="144">
                  <c:v>120.89265375854214</c:v>
                </c:pt>
                <c:pt idx="145">
                  <c:v>120.84994305239181</c:v>
                </c:pt>
                <c:pt idx="146">
                  <c:v>120.67910022779043</c:v>
                </c:pt>
                <c:pt idx="147">
                  <c:v>120.38724373576308</c:v>
                </c:pt>
                <c:pt idx="148">
                  <c:v>120.87129840546697</c:v>
                </c:pt>
                <c:pt idx="149">
                  <c:v>120.19504555808658</c:v>
                </c:pt>
                <c:pt idx="150">
                  <c:v>120.00284738041003</c:v>
                </c:pt>
                <c:pt idx="151">
                  <c:v>119.78217539863327</c:v>
                </c:pt>
                <c:pt idx="152">
                  <c:v>120.66486332574031</c:v>
                </c:pt>
                <c:pt idx="153">
                  <c:v>120.13097949886105</c:v>
                </c:pt>
                <c:pt idx="154">
                  <c:v>119.66116173120729</c:v>
                </c:pt>
                <c:pt idx="155">
                  <c:v>119.17710706150342</c:v>
                </c:pt>
                <c:pt idx="156">
                  <c:v>118.79271070615034</c:v>
                </c:pt>
                <c:pt idx="157">
                  <c:v>119.11304100227791</c:v>
                </c:pt>
                <c:pt idx="158">
                  <c:v>118.48661731207288</c:v>
                </c:pt>
                <c:pt idx="159">
                  <c:v>118.34424829157174</c:v>
                </c:pt>
                <c:pt idx="160">
                  <c:v>117.91002277904327</c:v>
                </c:pt>
                <c:pt idx="161">
                  <c:v>118.37984054669704</c:v>
                </c:pt>
                <c:pt idx="162">
                  <c:v>118.07374715261957</c:v>
                </c:pt>
                <c:pt idx="163">
                  <c:v>117.60392938496584</c:v>
                </c:pt>
                <c:pt idx="164">
                  <c:v>117.85307517084283</c:v>
                </c:pt>
                <c:pt idx="165">
                  <c:v>118.48661731207288</c:v>
                </c:pt>
                <c:pt idx="166">
                  <c:v>118.38695899772209</c:v>
                </c:pt>
                <c:pt idx="167">
                  <c:v>118.33712984054669</c:v>
                </c:pt>
                <c:pt idx="168">
                  <c:v>118.23035307517085</c:v>
                </c:pt>
                <c:pt idx="169">
                  <c:v>118.90660592255126</c:v>
                </c:pt>
                <c:pt idx="170">
                  <c:v>118.64322323462414</c:v>
                </c:pt>
                <c:pt idx="171">
                  <c:v>118.37984054669704</c:v>
                </c:pt>
                <c:pt idx="172">
                  <c:v>118.42966970387243</c:v>
                </c:pt>
                <c:pt idx="173">
                  <c:v>118.372722095672</c:v>
                </c:pt>
                <c:pt idx="174">
                  <c:v>118.70728929384964</c:v>
                </c:pt>
                <c:pt idx="175">
                  <c:v>118.50797266514806</c:v>
                </c:pt>
                <c:pt idx="176">
                  <c:v>118.372722095672</c:v>
                </c:pt>
                <c:pt idx="177">
                  <c:v>117.96697038724373</c:v>
                </c:pt>
                <c:pt idx="178">
                  <c:v>118.72864464692481</c:v>
                </c:pt>
                <c:pt idx="179">
                  <c:v>118.2873006833713</c:v>
                </c:pt>
                <c:pt idx="180">
                  <c:v>117.7747722095672</c:v>
                </c:pt>
                <c:pt idx="181">
                  <c:v>117.49715261958997</c:v>
                </c:pt>
                <c:pt idx="182">
                  <c:v>117.95273348519362</c:v>
                </c:pt>
                <c:pt idx="183">
                  <c:v>117.28359908883826</c:v>
                </c:pt>
                <c:pt idx="184">
                  <c:v>117.00597949886105</c:v>
                </c:pt>
                <c:pt idx="185">
                  <c:v>116.7639521640091</c:v>
                </c:pt>
                <c:pt idx="186">
                  <c:v>116.94903189066056</c:v>
                </c:pt>
                <c:pt idx="187">
                  <c:v>117.70358769931664</c:v>
                </c:pt>
                <c:pt idx="188">
                  <c:v>117.6395216400911</c:v>
                </c:pt>
                <c:pt idx="189">
                  <c:v>117.61816628701594</c:v>
                </c:pt>
                <c:pt idx="190">
                  <c:v>117.03445330296127</c:v>
                </c:pt>
                <c:pt idx="191">
                  <c:v>117.9883257403189</c:v>
                </c:pt>
                <c:pt idx="192">
                  <c:v>117.6608769931663</c:v>
                </c:pt>
                <c:pt idx="193">
                  <c:v>117.42596810933941</c:v>
                </c:pt>
                <c:pt idx="194">
                  <c:v>117.19817767653757</c:v>
                </c:pt>
                <c:pt idx="195">
                  <c:v>116.50056947608201</c:v>
                </c:pt>
                <c:pt idx="196">
                  <c:v>117.09851936218678</c:v>
                </c:pt>
                <c:pt idx="197">
                  <c:v>116.94903189066056</c:v>
                </c:pt>
                <c:pt idx="198">
                  <c:v>116.57175398633257</c:v>
                </c:pt>
                <c:pt idx="199">
                  <c:v>116.36531890660594</c:v>
                </c:pt>
                <c:pt idx="200">
                  <c:v>116.72124145785875</c:v>
                </c:pt>
                <c:pt idx="201">
                  <c:v>116.6002277904328</c:v>
                </c:pt>
                <c:pt idx="202">
                  <c:v>116.45074031890661</c:v>
                </c:pt>
                <c:pt idx="203">
                  <c:v>116.20871298405466</c:v>
                </c:pt>
                <c:pt idx="204">
                  <c:v>116.97750569476082</c:v>
                </c:pt>
                <c:pt idx="205">
                  <c:v>116.77818906605924</c:v>
                </c:pt>
                <c:pt idx="206">
                  <c:v>116.65717539863327</c:v>
                </c:pt>
                <c:pt idx="207">
                  <c:v>116.39379271070614</c:v>
                </c:pt>
                <c:pt idx="208">
                  <c:v>116.21583143507972</c:v>
                </c:pt>
                <c:pt idx="209">
                  <c:v>116.91343963553531</c:v>
                </c:pt>
                <c:pt idx="210">
                  <c:v>116.46497722095673</c:v>
                </c:pt>
                <c:pt idx="211">
                  <c:v>116.08058086560365</c:v>
                </c:pt>
                <c:pt idx="212">
                  <c:v>115.68194760820047</c:v>
                </c:pt>
                <c:pt idx="213">
                  <c:v>115.56805239179954</c:v>
                </c:pt>
                <c:pt idx="214">
                  <c:v>114.08741457858771</c:v>
                </c:pt>
                <c:pt idx="215">
                  <c:v>110.98376993166286</c:v>
                </c:pt>
                <c:pt idx="216">
                  <c:v>106.90489749430525</c:v>
                </c:pt>
                <c:pt idx="217">
                  <c:v>102.32773348519362</c:v>
                </c:pt>
                <c:pt idx="218">
                  <c:v>97.608200455580857</c:v>
                </c:pt>
                <c:pt idx="219">
                  <c:v>94.369305239179951</c:v>
                </c:pt>
                <c:pt idx="220">
                  <c:v>90.525341685649209</c:v>
                </c:pt>
                <c:pt idx="221">
                  <c:v>87.713553530751696</c:v>
                </c:pt>
                <c:pt idx="222">
                  <c:v>87.435933940774476</c:v>
                </c:pt>
                <c:pt idx="223">
                  <c:v>85.841400911161728</c:v>
                </c:pt>
                <c:pt idx="224">
                  <c:v>84.332289293849655</c:v>
                </c:pt>
                <c:pt idx="225">
                  <c:v>83.769931662870164</c:v>
                </c:pt>
                <c:pt idx="226">
                  <c:v>84.211275626423685</c:v>
                </c:pt>
                <c:pt idx="227">
                  <c:v>83.435364464692483</c:v>
                </c:pt>
                <c:pt idx="228">
                  <c:v>83.058086560364458</c:v>
                </c:pt>
                <c:pt idx="229">
                  <c:v>82.723519362186792</c:v>
                </c:pt>
                <c:pt idx="230">
                  <c:v>84.21839407744875</c:v>
                </c:pt>
                <c:pt idx="231">
                  <c:v>83.734339407744869</c:v>
                </c:pt>
                <c:pt idx="232">
                  <c:v>83.285876993166283</c:v>
                </c:pt>
                <c:pt idx="233">
                  <c:v>82.908599088838272</c:v>
                </c:pt>
                <c:pt idx="234">
                  <c:v>81.912015945330296</c:v>
                </c:pt>
                <c:pt idx="235">
                  <c:v>83.784168564920265</c:v>
                </c:pt>
                <c:pt idx="236">
                  <c:v>83.499430523917994</c:v>
                </c:pt>
                <c:pt idx="237">
                  <c:v>83.371298405466959</c:v>
                </c:pt>
                <c:pt idx="238">
                  <c:v>83.364179954441923</c:v>
                </c:pt>
                <c:pt idx="239">
                  <c:v>85.677676537585427</c:v>
                </c:pt>
                <c:pt idx="240">
                  <c:v>85.627847380410032</c:v>
                </c:pt>
                <c:pt idx="241">
                  <c:v>85.222095671981762</c:v>
                </c:pt>
                <c:pt idx="242">
                  <c:v>85.236332574031891</c:v>
                </c:pt>
                <c:pt idx="243">
                  <c:v>87.905751708428255</c:v>
                </c:pt>
                <c:pt idx="244">
                  <c:v>87.5</c:v>
                </c:pt>
                <c:pt idx="245">
                  <c:v>87.336275626423685</c:v>
                </c:pt>
                <c:pt idx="246">
                  <c:v>87.35763097949885</c:v>
                </c:pt>
                <c:pt idx="247">
                  <c:v>87.265091116173124</c:v>
                </c:pt>
                <c:pt idx="248">
                  <c:v>89.749430523917994</c:v>
                </c:pt>
                <c:pt idx="249">
                  <c:v>89.678246013667433</c:v>
                </c:pt>
                <c:pt idx="250">
                  <c:v>89.571469248291564</c:v>
                </c:pt>
                <c:pt idx="251">
                  <c:v>89.664009111617318</c:v>
                </c:pt>
                <c:pt idx="252">
                  <c:v>91.877847380410032</c:v>
                </c:pt>
                <c:pt idx="253">
                  <c:v>91.906321184510247</c:v>
                </c:pt>
                <c:pt idx="254">
                  <c:v>92.084282460136663</c:v>
                </c:pt>
                <c:pt idx="255">
                  <c:v>92.148348519362187</c:v>
                </c:pt>
                <c:pt idx="256">
                  <c:v>92.212414578587698</c:v>
                </c:pt>
                <c:pt idx="257">
                  <c:v>93.65746013667426</c:v>
                </c:pt>
                <c:pt idx="258">
                  <c:v>93.849658314350791</c:v>
                </c:pt>
                <c:pt idx="259">
                  <c:v>94.540148063781331</c:v>
                </c:pt>
                <c:pt idx="260">
                  <c:v>94.703872437357631</c:v>
                </c:pt>
                <c:pt idx="261">
                  <c:v>96.590261958997729</c:v>
                </c:pt>
                <c:pt idx="262">
                  <c:v>96.910592255125295</c:v>
                </c:pt>
                <c:pt idx="263">
                  <c:v>97.195330296127551</c:v>
                </c:pt>
                <c:pt idx="264">
                  <c:v>97.280751708428255</c:v>
                </c:pt>
                <c:pt idx="265">
                  <c:v>98.661731207289293</c:v>
                </c:pt>
                <c:pt idx="266">
                  <c:v>98.619020501138948</c:v>
                </c:pt>
                <c:pt idx="267">
                  <c:v>98.925113895216398</c:v>
                </c:pt>
                <c:pt idx="268">
                  <c:v>99.281036446469244</c:v>
                </c:pt>
                <c:pt idx="269">
                  <c:v>100.74743735763099</c:v>
                </c:pt>
                <c:pt idx="270">
                  <c:v>100.9253986332574</c:v>
                </c:pt>
                <c:pt idx="271">
                  <c:v>101.40945330296127</c:v>
                </c:pt>
                <c:pt idx="272">
                  <c:v>102.30637813211845</c:v>
                </c:pt>
                <c:pt idx="273">
                  <c:v>103.62329157175398</c:v>
                </c:pt>
                <c:pt idx="274">
                  <c:v>105.83712984054669</c:v>
                </c:pt>
                <c:pt idx="275">
                  <c:v>106.69134396355354</c:v>
                </c:pt>
                <c:pt idx="276">
                  <c:v>107.28929384965831</c:v>
                </c:pt>
                <c:pt idx="277">
                  <c:v>107.51708428246015</c:v>
                </c:pt>
                <c:pt idx="278">
                  <c:v>108.51366742596811</c:v>
                </c:pt>
                <c:pt idx="279">
                  <c:v>108.77705011389523</c:v>
                </c:pt>
                <c:pt idx="280">
                  <c:v>109.06178815489749</c:v>
                </c:pt>
                <c:pt idx="281">
                  <c:v>109.31093394077449</c:v>
                </c:pt>
                <c:pt idx="282">
                  <c:v>110.8983485193622</c:v>
                </c:pt>
                <c:pt idx="283">
                  <c:v>111.2257972665148</c:v>
                </c:pt>
                <c:pt idx="284">
                  <c:v>111.69561503416855</c:v>
                </c:pt>
                <c:pt idx="285">
                  <c:v>112.16543280182232</c:v>
                </c:pt>
                <c:pt idx="286">
                  <c:v>113.20472665148064</c:v>
                </c:pt>
                <c:pt idx="287">
                  <c:v>116.02363325740319</c:v>
                </c:pt>
                <c:pt idx="288">
                  <c:v>116.94191343963554</c:v>
                </c:pt>
                <c:pt idx="289">
                  <c:v>117.21241457858771</c:v>
                </c:pt>
                <c:pt idx="290">
                  <c:v>117.18394077448747</c:v>
                </c:pt>
                <c:pt idx="291">
                  <c:v>118.18764236902051</c:v>
                </c:pt>
                <c:pt idx="292">
                  <c:v>118.31577448747153</c:v>
                </c:pt>
                <c:pt idx="293">
                  <c:v>118.60051252847381</c:v>
                </c:pt>
                <c:pt idx="294">
                  <c:v>119.36218678815492</c:v>
                </c:pt>
                <c:pt idx="295">
                  <c:v>119.15575170842826</c:v>
                </c:pt>
                <c:pt idx="296">
                  <c:v>120.31605922551253</c:v>
                </c:pt>
                <c:pt idx="297">
                  <c:v>120.97095671981776</c:v>
                </c:pt>
                <c:pt idx="298">
                  <c:v>121.09197038724373</c:v>
                </c:pt>
                <c:pt idx="299">
                  <c:v>121.56178815489751</c:v>
                </c:pt>
                <c:pt idx="300">
                  <c:v>123.46953302961275</c:v>
                </c:pt>
                <c:pt idx="301">
                  <c:v>124.13154897494306</c:v>
                </c:pt>
                <c:pt idx="302">
                  <c:v>124.90034168564921</c:v>
                </c:pt>
                <c:pt idx="303">
                  <c:v>125.0498291571754</c:v>
                </c:pt>
                <c:pt idx="304">
                  <c:v>125.86845102505693</c:v>
                </c:pt>
                <c:pt idx="305">
                  <c:v>125.69760820045559</c:v>
                </c:pt>
                <c:pt idx="306">
                  <c:v>126.19589977220957</c:v>
                </c:pt>
                <c:pt idx="307">
                  <c:v>126.08200455580865</c:v>
                </c:pt>
                <c:pt idx="308">
                  <c:v>125.98234624145786</c:v>
                </c:pt>
                <c:pt idx="309">
                  <c:v>127.05723234624146</c:v>
                </c:pt>
                <c:pt idx="310">
                  <c:v>127.1996013667426</c:v>
                </c:pt>
                <c:pt idx="311">
                  <c:v>127.69789293849658</c:v>
                </c:pt>
                <c:pt idx="312">
                  <c:v>128.01822323462414</c:v>
                </c:pt>
                <c:pt idx="313">
                  <c:v>129.3493735763098</c:v>
                </c:pt>
                <c:pt idx="314">
                  <c:v>130.03274487471526</c:v>
                </c:pt>
                <c:pt idx="315">
                  <c:v>130.89407744874717</c:v>
                </c:pt>
                <c:pt idx="316">
                  <c:v>131.54185649202731</c:v>
                </c:pt>
                <c:pt idx="317">
                  <c:v>132.63097949886108</c:v>
                </c:pt>
                <c:pt idx="318">
                  <c:v>132.95842824601368</c:v>
                </c:pt>
                <c:pt idx="319">
                  <c:v>132.89436218678816</c:v>
                </c:pt>
                <c:pt idx="320">
                  <c:v>133.42112756264234</c:v>
                </c:pt>
                <c:pt idx="321">
                  <c:v>133.4638382687927</c:v>
                </c:pt>
                <c:pt idx="322">
                  <c:v>135.00854214123009</c:v>
                </c:pt>
                <c:pt idx="323">
                  <c:v>135.24345102505694</c:v>
                </c:pt>
                <c:pt idx="324">
                  <c:v>134.76651480637813</c:v>
                </c:pt>
                <c:pt idx="325">
                  <c:v>135.65632118451023</c:v>
                </c:pt>
                <c:pt idx="326">
                  <c:v>137.42881548974944</c:v>
                </c:pt>
                <c:pt idx="327">
                  <c:v>138.17625284738043</c:v>
                </c:pt>
                <c:pt idx="328">
                  <c:v>138.78132118451023</c:v>
                </c:pt>
                <c:pt idx="329">
                  <c:v>138.58912300683372</c:v>
                </c:pt>
                <c:pt idx="330">
                  <c:v>139.41486332574033</c:v>
                </c:pt>
                <c:pt idx="331">
                  <c:v>139.16571753986332</c:v>
                </c:pt>
                <c:pt idx="332">
                  <c:v>139.67112756264234</c:v>
                </c:pt>
                <c:pt idx="333">
                  <c:v>139.92739179954441</c:v>
                </c:pt>
                <c:pt idx="334">
                  <c:v>139.99145785876993</c:v>
                </c:pt>
                <c:pt idx="335">
                  <c:v>141.59310933940773</c:v>
                </c:pt>
                <c:pt idx="336">
                  <c:v>141.5859908883827</c:v>
                </c:pt>
                <c:pt idx="337">
                  <c:v>141.23006833712984</c:v>
                </c:pt>
                <c:pt idx="338">
                  <c:v>141.5859908883827</c:v>
                </c:pt>
                <c:pt idx="339">
                  <c:v>143.4652619589977</c:v>
                </c:pt>
                <c:pt idx="340">
                  <c:v>143.77847380410023</c:v>
                </c:pt>
                <c:pt idx="341">
                  <c:v>143.82830296127563</c:v>
                </c:pt>
                <c:pt idx="342">
                  <c:v>144.34794988610477</c:v>
                </c:pt>
                <c:pt idx="343">
                  <c:v>144.81776765375855</c:v>
                </c:pt>
                <c:pt idx="344">
                  <c:v>144.38354214123009</c:v>
                </c:pt>
                <c:pt idx="345">
                  <c:v>144.7252277904328</c:v>
                </c:pt>
                <c:pt idx="346">
                  <c:v>145.0242027334852</c:v>
                </c:pt>
                <c:pt idx="347">
                  <c:v>145.35165148063783</c:v>
                </c:pt>
                <c:pt idx="348">
                  <c:v>145.06691343963553</c:v>
                </c:pt>
                <c:pt idx="349">
                  <c:v>145.77164009111618</c:v>
                </c:pt>
                <c:pt idx="350">
                  <c:v>145.42995444191345</c:v>
                </c:pt>
                <c:pt idx="351">
                  <c:v>144.62556947608201</c:v>
                </c:pt>
                <c:pt idx="352">
                  <c:v>145.49402050113895</c:v>
                </c:pt>
                <c:pt idx="353">
                  <c:v>145.82146924829155</c:v>
                </c:pt>
                <c:pt idx="354">
                  <c:v>145.14521640091115</c:v>
                </c:pt>
                <c:pt idx="355">
                  <c:v>145.39436218678816</c:v>
                </c:pt>
                <c:pt idx="356">
                  <c:v>145.87129840546697</c:v>
                </c:pt>
                <c:pt idx="357">
                  <c:v>145.44419134396352</c:v>
                </c:pt>
                <c:pt idx="358">
                  <c:v>145.11674259681092</c:v>
                </c:pt>
                <c:pt idx="359">
                  <c:v>145.09538724373576</c:v>
                </c:pt>
                <c:pt idx="360">
                  <c:v>145.33029612756266</c:v>
                </c:pt>
                <c:pt idx="361">
                  <c:v>146.44789293849658</c:v>
                </c:pt>
                <c:pt idx="362">
                  <c:v>146.09908883826881</c:v>
                </c:pt>
                <c:pt idx="363">
                  <c:v>145.9638382687927</c:v>
                </c:pt>
                <c:pt idx="364">
                  <c:v>145.39436218678816</c:v>
                </c:pt>
                <c:pt idx="365">
                  <c:v>146.5261958997722</c:v>
                </c:pt>
                <c:pt idx="366">
                  <c:v>147.2024487471526</c:v>
                </c:pt>
                <c:pt idx="367">
                  <c:v>147.27363325740319</c:v>
                </c:pt>
                <c:pt idx="368">
                  <c:v>147.96412300683372</c:v>
                </c:pt>
                <c:pt idx="369">
                  <c:v>149.10307517084283</c:v>
                </c:pt>
                <c:pt idx="370">
                  <c:v>149.35222095671983</c:v>
                </c:pt>
                <c:pt idx="371">
                  <c:v>148.44817767653757</c:v>
                </c:pt>
                <c:pt idx="372">
                  <c:v>149.39493166287014</c:v>
                </c:pt>
                <c:pt idx="373">
                  <c:v>149.23120728929385</c:v>
                </c:pt>
                <c:pt idx="374">
                  <c:v>149.77220956719816</c:v>
                </c:pt>
                <c:pt idx="375">
                  <c:v>149.89322323462412</c:v>
                </c:pt>
                <c:pt idx="376">
                  <c:v>150.19219817767652</c:v>
                </c:pt>
                <c:pt idx="377">
                  <c:v>149.69390660592254</c:v>
                </c:pt>
                <c:pt idx="378">
                  <c:v>151.11047835990888</c:v>
                </c:pt>
                <c:pt idx="379">
                  <c:v>151.8650341685649</c:v>
                </c:pt>
                <c:pt idx="380">
                  <c:v>152.31349658314349</c:v>
                </c:pt>
                <c:pt idx="381">
                  <c:v>152.73348519362187</c:v>
                </c:pt>
                <c:pt idx="382">
                  <c:v>153.97921412300684</c:v>
                </c:pt>
                <c:pt idx="383">
                  <c:v>153.70159453302961</c:v>
                </c:pt>
                <c:pt idx="384">
                  <c:v>153.26736902050112</c:v>
                </c:pt>
                <c:pt idx="385">
                  <c:v>153.28872437357631</c:v>
                </c:pt>
                <c:pt idx="386">
                  <c:v>152.59823462414579</c:v>
                </c:pt>
                <c:pt idx="387">
                  <c:v>153.92226651480638</c:v>
                </c:pt>
                <c:pt idx="388">
                  <c:v>153.85820045558089</c:v>
                </c:pt>
                <c:pt idx="389">
                  <c:v>153.47380410022777</c:v>
                </c:pt>
                <c:pt idx="390">
                  <c:v>153.89379271070615</c:v>
                </c:pt>
                <c:pt idx="391">
                  <c:v>155.48120728929385</c:v>
                </c:pt>
                <c:pt idx="392">
                  <c:v>155.81577448747151</c:v>
                </c:pt>
                <c:pt idx="393">
                  <c:v>155.9011958997722</c:v>
                </c:pt>
                <c:pt idx="394">
                  <c:v>156.11474943052391</c:v>
                </c:pt>
                <c:pt idx="395">
                  <c:v>156.12898633257404</c:v>
                </c:pt>
                <c:pt idx="396">
                  <c:v>156.66287015945329</c:v>
                </c:pt>
                <c:pt idx="397">
                  <c:v>156.86930523917994</c:v>
                </c:pt>
                <c:pt idx="398">
                  <c:v>156.77676537585421</c:v>
                </c:pt>
                <c:pt idx="399">
                  <c:v>156.92625284738043</c:v>
                </c:pt>
                <c:pt idx="400">
                  <c:v>158.02249430523918</c:v>
                </c:pt>
                <c:pt idx="401">
                  <c:v>157.59538724373576</c:v>
                </c:pt>
                <c:pt idx="402">
                  <c:v>157.50996583143507</c:v>
                </c:pt>
                <c:pt idx="403">
                  <c:v>157.16828018223234</c:v>
                </c:pt>
                <c:pt idx="404">
                  <c:v>157.56691343963553</c:v>
                </c:pt>
                <c:pt idx="405">
                  <c:v>157.13980637813211</c:v>
                </c:pt>
                <c:pt idx="406">
                  <c:v>156.8621867881549</c:v>
                </c:pt>
                <c:pt idx="407">
                  <c:v>156.8621867881549</c:v>
                </c:pt>
                <c:pt idx="408">
                  <c:v>156.58456719817769</c:v>
                </c:pt>
                <c:pt idx="409">
                  <c:v>157.53132118451026</c:v>
                </c:pt>
                <c:pt idx="410">
                  <c:v>156.9120159453303</c:v>
                </c:pt>
                <c:pt idx="411">
                  <c:v>156.60592255125286</c:v>
                </c:pt>
                <c:pt idx="412">
                  <c:v>156.50626423690207</c:v>
                </c:pt>
                <c:pt idx="413">
                  <c:v>157.82317767653757</c:v>
                </c:pt>
                <c:pt idx="414">
                  <c:v>157.58115034168566</c:v>
                </c:pt>
                <c:pt idx="415">
                  <c:v>156.95472665148063</c:v>
                </c:pt>
                <c:pt idx="416">
                  <c:v>156.25711845102506</c:v>
                </c:pt>
                <c:pt idx="417">
                  <c:v>157.64521640091115</c:v>
                </c:pt>
                <c:pt idx="418">
                  <c:v>157.31064920273349</c:v>
                </c:pt>
                <c:pt idx="419">
                  <c:v>157.25370159453306</c:v>
                </c:pt>
                <c:pt idx="420">
                  <c:v>157.11845102505694</c:v>
                </c:pt>
                <c:pt idx="421">
                  <c:v>157.36047835990888</c:v>
                </c:pt>
                <c:pt idx="422">
                  <c:v>157.38895216400911</c:v>
                </c:pt>
                <c:pt idx="423">
                  <c:v>157.1753986332574</c:v>
                </c:pt>
                <c:pt idx="424">
                  <c:v>157.13268792710707</c:v>
                </c:pt>
                <c:pt idx="425">
                  <c:v>157.08285876993168</c:v>
                </c:pt>
                <c:pt idx="426">
                  <c:v>158.47095671981776</c:v>
                </c:pt>
                <c:pt idx="427">
                  <c:v>158.60620728929385</c:v>
                </c:pt>
                <c:pt idx="428">
                  <c:v>159.07602505694763</c:v>
                </c:pt>
                <c:pt idx="429">
                  <c:v>158.93365603644648</c:v>
                </c:pt>
                <c:pt idx="430">
                  <c:v>160.09396355353073</c:v>
                </c:pt>
                <c:pt idx="431">
                  <c:v>160.20785876993168</c:v>
                </c:pt>
                <c:pt idx="432">
                  <c:v>160.38582004555809</c:v>
                </c:pt>
                <c:pt idx="433">
                  <c:v>160.25768792710707</c:v>
                </c:pt>
                <c:pt idx="434">
                  <c:v>160.42853075170842</c:v>
                </c:pt>
                <c:pt idx="435">
                  <c:v>161.42511389521638</c:v>
                </c:pt>
                <c:pt idx="436">
                  <c:v>161.5390091116173</c:v>
                </c:pt>
                <c:pt idx="437">
                  <c:v>161.5390091116173</c:v>
                </c:pt>
                <c:pt idx="438">
                  <c:v>161.2613895216401</c:v>
                </c:pt>
                <c:pt idx="439">
                  <c:v>162.45728929384967</c:v>
                </c:pt>
                <c:pt idx="440">
                  <c:v>162.05865603644645</c:v>
                </c:pt>
                <c:pt idx="441">
                  <c:v>161.89493166287014</c:v>
                </c:pt>
                <c:pt idx="442">
                  <c:v>161.70985193621868</c:v>
                </c:pt>
                <c:pt idx="443">
                  <c:v>162.41457858769931</c:v>
                </c:pt>
                <c:pt idx="444">
                  <c:v>161.76679954441914</c:v>
                </c:pt>
                <c:pt idx="445">
                  <c:v>161.60307517084286</c:v>
                </c:pt>
                <c:pt idx="446">
                  <c:v>161.35392938496585</c:v>
                </c:pt>
                <c:pt idx="447">
                  <c:v>161.2613895216401</c:v>
                </c:pt>
                <c:pt idx="448">
                  <c:v>161.86645785876993</c:v>
                </c:pt>
                <c:pt idx="449">
                  <c:v>161.58171981776766</c:v>
                </c:pt>
                <c:pt idx="450">
                  <c:v>161.21867881548974</c:v>
                </c:pt>
                <c:pt idx="451">
                  <c:v>160.3359908883827</c:v>
                </c:pt>
                <c:pt idx="452">
                  <c:v>160.11531890660592</c:v>
                </c:pt>
                <c:pt idx="453">
                  <c:v>159.52448747152619</c:v>
                </c:pt>
                <c:pt idx="454">
                  <c:v>158.39265375854214</c:v>
                </c:pt>
                <c:pt idx="455">
                  <c:v>158.1506264236902</c:v>
                </c:pt>
                <c:pt idx="456">
                  <c:v>157.34624145785875</c:v>
                </c:pt>
                <c:pt idx="457">
                  <c:v>157.97266514806378</c:v>
                </c:pt>
                <c:pt idx="458">
                  <c:v>157.4601366742597</c:v>
                </c:pt>
                <c:pt idx="459">
                  <c:v>157.32488610478359</c:v>
                </c:pt>
                <c:pt idx="460">
                  <c:v>157.05438496583142</c:v>
                </c:pt>
                <c:pt idx="461">
                  <c:v>157.85876993166286</c:v>
                </c:pt>
                <c:pt idx="462">
                  <c:v>157.8089407744875</c:v>
                </c:pt>
                <c:pt idx="463">
                  <c:v>157.81605922551253</c:v>
                </c:pt>
                <c:pt idx="464">
                  <c:v>157.91571753986332</c:v>
                </c:pt>
                <c:pt idx="465">
                  <c:v>159.36788154897496</c:v>
                </c:pt>
                <c:pt idx="466">
                  <c:v>159.21127562642369</c:v>
                </c:pt>
                <c:pt idx="467">
                  <c:v>158.25740318906605</c:v>
                </c:pt>
                <c:pt idx="468">
                  <c:v>158.86958997722095</c:v>
                </c:pt>
                <c:pt idx="469">
                  <c:v>158.99772209567197</c:v>
                </c:pt>
                <c:pt idx="470">
                  <c:v>160.87699316628704</c:v>
                </c:pt>
                <c:pt idx="471">
                  <c:v>161.04071753986332</c:v>
                </c:pt>
                <c:pt idx="472">
                  <c:v>160.88411161731207</c:v>
                </c:pt>
                <c:pt idx="473">
                  <c:v>160.87699316628704</c:v>
                </c:pt>
                <c:pt idx="474">
                  <c:v>161.86645785876993</c:v>
                </c:pt>
                <c:pt idx="475">
                  <c:v>161.56748291571753</c:v>
                </c:pt>
                <c:pt idx="476">
                  <c:v>161.34681093394079</c:v>
                </c:pt>
                <c:pt idx="477">
                  <c:v>161.38240318906605</c:v>
                </c:pt>
                <c:pt idx="478">
                  <c:v>162.42881548974944</c:v>
                </c:pt>
                <c:pt idx="479">
                  <c:v>161.46782460136674</c:v>
                </c:pt>
                <c:pt idx="480">
                  <c:v>159.9871867881549</c:v>
                </c:pt>
                <c:pt idx="481">
                  <c:v>159.01907744874714</c:v>
                </c:pt>
                <c:pt idx="482">
                  <c:v>159.375</c:v>
                </c:pt>
                <c:pt idx="483">
                  <c:v>158.81264236902049</c:v>
                </c:pt>
                <c:pt idx="484">
                  <c:v>158.98348519362187</c:v>
                </c:pt>
                <c:pt idx="485">
                  <c:v>159.0902619589977</c:v>
                </c:pt>
                <c:pt idx="486">
                  <c:v>158.89094533029612</c:v>
                </c:pt>
                <c:pt idx="487">
                  <c:v>160.0370159453303</c:v>
                </c:pt>
                <c:pt idx="488">
                  <c:v>159.83058086560365</c:v>
                </c:pt>
                <c:pt idx="489">
                  <c:v>159.6882118451025</c:v>
                </c:pt>
                <c:pt idx="490">
                  <c:v>159.49601366742596</c:v>
                </c:pt>
                <c:pt idx="491">
                  <c:v>160.40717539863326</c:v>
                </c:pt>
                <c:pt idx="492">
                  <c:v>160.39293849658313</c:v>
                </c:pt>
                <c:pt idx="493">
                  <c:v>160.21497722095671</c:v>
                </c:pt>
                <c:pt idx="494">
                  <c:v>159.65973804100227</c:v>
                </c:pt>
                <c:pt idx="495">
                  <c:v>159.30381548974944</c:v>
                </c:pt>
                <c:pt idx="496">
                  <c:v>161.04783599088836</c:v>
                </c:pt>
                <c:pt idx="497">
                  <c:v>160.00854214123009</c:v>
                </c:pt>
                <c:pt idx="498">
                  <c:v>159.95159453302961</c:v>
                </c:pt>
                <c:pt idx="499">
                  <c:v>159.86617312072892</c:v>
                </c:pt>
                <c:pt idx="500">
                  <c:v>161.31833712984053</c:v>
                </c:pt>
                <c:pt idx="501">
                  <c:v>161.09054669703872</c:v>
                </c:pt>
                <c:pt idx="502">
                  <c:v>160.78445330296128</c:v>
                </c:pt>
                <c:pt idx="503">
                  <c:v>160.52107061503418</c:v>
                </c:pt>
                <c:pt idx="504">
                  <c:v>162.05865603644645</c:v>
                </c:pt>
                <c:pt idx="505">
                  <c:v>161.67425968109339</c:v>
                </c:pt>
                <c:pt idx="506">
                  <c:v>161.54612756264237</c:v>
                </c:pt>
                <c:pt idx="507">
                  <c:v>161.49629840546697</c:v>
                </c:pt>
                <c:pt idx="508">
                  <c:v>161.71697038724372</c:v>
                </c:pt>
                <c:pt idx="509">
                  <c:v>163.98063781321187</c:v>
                </c:pt>
                <c:pt idx="510">
                  <c:v>164.01623006833711</c:v>
                </c:pt>
                <c:pt idx="511">
                  <c:v>163.97351936218678</c:v>
                </c:pt>
                <c:pt idx="512">
                  <c:v>163.25455580865605</c:v>
                </c:pt>
                <c:pt idx="513">
                  <c:v>165.14806378132118</c:v>
                </c:pt>
                <c:pt idx="514">
                  <c:v>165.17653758542141</c:v>
                </c:pt>
                <c:pt idx="515">
                  <c:v>165.42568337129842</c:v>
                </c:pt>
                <c:pt idx="516">
                  <c:v>165.44703872437358</c:v>
                </c:pt>
                <c:pt idx="517">
                  <c:v>167.31207289293849</c:v>
                </c:pt>
                <c:pt idx="518">
                  <c:v>167.16970387243737</c:v>
                </c:pt>
                <c:pt idx="519">
                  <c:v>167.11275626423691</c:v>
                </c:pt>
                <c:pt idx="520">
                  <c:v>167.15546697038724</c:v>
                </c:pt>
                <c:pt idx="521">
                  <c:v>167.1910592255125</c:v>
                </c:pt>
                <c:pt idx="522">
                  <c:v>167.1910592255125</c:v>
                </c:pt>
                <c:pt idx="523">
                  <c:v>167.16970387243737</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numCache>
            </c:numRef>
          </c:val>
          <c:smooth val="0"/>
          <c:extLst>
            <c:ext xmlns:c16="http://schemas.microsoft.com/office/drawing/2014/chart" uri="{C3380CC4-5D6E-409C-BE32-E72D297353CC}">
              <c16:uniqueId val="{00000007-484C-4F9E-91BA-8A726FFABB09}"/>
            </c:ext>
          </c:extLst>
        </c:ser>
        <c:dLbls>
          <c:showLegendKey val="0"/>
          <c:showVal val="0"/>
          <c:showCatName val="0"/>
          <c:showSerName val="0"/>
          <c:showPercent val="0"/>
          <c:showBubbleSize val="0"/>
        </c:dLbls>
        <c:marker val="1"/>
        <c:smooth val="0"/>
        <c:axId val="1391326560"/>
        <c:axId val="1391283296"/>
      </c:lineChart>
      <c:dateAx>
        <c:axId val="922392832"/>
        <c:scaling>
          <c:orientation val="minMax"/>
        </c:scaling>
        <c:delete val="0"/>
        <c:axPos val="b"/>
        <c:numFmt formatCode="[$-409]\ mmm\ yy" sourceLinked="0"/>
        <c:majorTickMark val="none"/>
        <c:minorTickMark val="none"/>
        <c:tickLblPos val="low"/>
        <c:spPr>
          <a:ln w="12700">
            <a:noFill/>
            <a:prstDash val="solid"/>
          </a:ln>
          <a:effectLst/>
        </c:spPr>
        <c:txPr>
          <a:bodyPr rot="0" vert="horz"/>
          <a:lstStyle/>
          <a:p>
            <a:pPr>
              <a:defRPr sz="1100">
                <a:solidFill>
                  <a:schemeClr val="tx1">
                    <a:lumMod val="65000"/>
                    <a:lumOff val="35000"/>
                  </a:schemeClr>
                </a:solidFill>
                <a:latin typeface="+mj-lt"/>
              </a:defRPr>
            </a:pPr>
            <a:endParaRPr lang="en-US"/>
          </a:p>
        </c:txPr>
        <c:crossAx val="923154688"/>
        <c:crossesAt val="0"/>
        <c:auto val="1"/>
        <c:lblOffset val="100"/>
        <c:baseTimeUnit val="days"/>
        <c:majorUnit val="24"/>
        <c:majorTimeUnit val="months"/>
        <c:minorUnit val="24"/>
        <c:minorTimeUnit val="months"/>
      </c:dateAx>
      <c:valAx>
        <c:axId val="923154688"/>
        <c:scaling>
          <c:orientation val="minMax"/>
          <c:min val="10"/>
        </c:scaling>
        <c:delete val="0"/>
        <c:axPos val="l"/>
        <c:numFmt formatCode="General" sourceLinked="0"/>
        <c:majorTickMark val="none"/>
        <c:minorTickMark val="none"/>
        <c:tickLblPos val="low"/>
        <c:spPr>
          <a:ln w="25400">
            <a:noFill/>
          </a:ln>
          <a:effectLst/>
        </c:spPr>
        <c:txPr>
          <a:bodyPr rot="0" vert="horz"/>
          <a:lstStyle/>
          <a:p>
            <a:pPr>
              <a:defRPr sz="1200">
                <a:solidFill>
                  <a:schemeClr val="tx1">
                    <a:lumMod val="65000"/>
                    <a:lumOff val="35000"/>
                  </a:schemeClr>
                </a:solidFill>
                <a:latin typeface="+mj-lt"/>
              </a:defRPr>
            </a:pPr>
            <a:endParaRPr lang="en-US"/>
          </a:p>
        </c:txPr>
        <c:crossAx val="922392832"/>
        <c:crossesAt val="43466"/>
        <c:crossBetween val="midCat"/>
      </c:valAx>
      <c:valAx>
        <c:axId val="1391283296"/>
        <c:scaling>
          <c:orientation val="minMax"/>
        </c:scaling>
        <c:delete val="0"/>
        <c:axPos val="r"/>
        <c:numFmt formatCode="0" sourceLinked="0"/>
        <c:majorTickMark val="out"/>
        <c:minorTickMark val="none"/>
        <c:tickLblPos val="nextTo"/>
        <c:spPr>
          <a:ln>
            <a:noFill/>
          </a:ln>
        </c:spPr>
        <c:txPr>
          <a:bodyPr/>
          <a:lstStyle/>
          <a:p>
            <a:pPr>
              <a:defRPr sz="1200">
                <a:solidFill>
                  <a:schemeClr val="tx1">
                    <a:lumMod val="65000"/>
                    <a:lumOff val="35000"/>
                  </a:schemeClr>
                </a:solidFill>
                <a:latin typeface="+mj-lt"/>
              </a:defRPr>
            </a:pPr>
            <a:endParaRPr lang="en-US"/>
          </a:p>
        </c:txPr>
        <c:crossAx val="1391326560"/>
        <c:crosses val="max"/>
        <c:crossBetween val="between"/>
      </c:valAx>
      <c:dateAx>
        <c:axId val="1391326560"/>
        <c:scaling>
          <c:orientation val="minMax"/>
        </c:scaling>
        <c:delete val="1"/>
        <c:axPos val="b"/>
        <c:title>
          <c:tx>
            <c:strRef>
              <c:f>EMU!$TZ$4</c:f>
              <c:strCache>
                <c:ptCount val="1"/>
                <c:pt idx="0">
                  <c:v>rebased to 100</c:v>
                </c:pt>
              </c:strCache>
            </c:strRef>
          </c:tx>
          <c:layout>
            <c:manualLayout>
              <c:xMode val="edge"/>
              <c:yMode val="edge"/>
              <c:x val="0.91971027230743052"/>
              <c:y val="6.2796112700945709E-3"/>
            </c:manualLayout>
          </c:layout>
          <c:overlay val="0"/>
          <c:txPr>
            <a:bodyPr/>
            <a:lstStyle/>
            <a:p>
              <a:pPr>
                <a:defRPr>
                  <a:solidFill>
                    <a:schemeClr val="tx1">
                      <a:lumMod val="65000"/>
                      <a:lumOff val="35000"/>
                    </a:schemeClr>
                  </a:solidFill>
                  <a:latin typeface="+mj-lt"/>
                </a:defRPr>
              </a:pPr>
              <a:endParaRPr lang="en-US"/>
            </a:p>
          </c:txPr>
        </c:title>
        <c:numFmt formatCode="m/d/yyyy" sourceLinked="1"/>
        <c:majorTickMark val="out"/>
        <c:minorTickMark val="none"/>
        <c:tickLblPos val="nextTo"/>
        <c:crossAx val="1391283296"/>
        <c:crosses val="autoZero"/>
        <c:auto val="1"/>
        <c:lblOffset val="100"/>
        <c:baseTimeUnit val="days"/>
      </c:dateAx>
      <c:spPr>
        <a:noFill/>
        <a:ln w="25400">
          <a:noFill/>
        </a:ln>
      </c:spPr>
    </c:plotArea>
    <c:legend>
      <c:legendPos val="b"/>
      <c:legendEntry>
        <c:idx val="3"/>
        <c:delete val="1"/>
      </c:legendEntry>
      <c:legendEntry>
        <c:idx val="4"/>
        <c:delete val="1"/>
      </c:legendEntry>
      <c:legendEntry>
        <c:idx val="5"/>
        <c:delete val="1"/>
      </c:legendEntry>
      <c:layout>
        <c:manualLayout>
          <c:xMode val="edge"/>
          <c:yMode val="edge"/>
          <c:x val="1.2077294685990338E-2"/>
          <c:y val="0.84774502536205665"/>
          <c:w val="0.96828024534499035"/>
          <c:h val="0.11869577233634064"/>
        </c:manualLayout>
      </c:layout>
      <c:overlay val="0"/>
      <c:txPr>
        <a:bodyPr/>
        <a:lstStyle/>
        <a:p>
          <a:pPr>
            <a:defRPr sz="1200">
              <a:solidFill>
                <a:schemeClr val="tx1">
                  <a:lumMod val="65000"/>
                  <a:lumOff val="35000"/>
                </a:schemeClr>
              </a:solidFill>
              <a:latin typeface="+mj-lt"/>
            </a:defRPr>
          </a:pPr>
          <a:endParaRPr lang="en-US"/>
        </a:p>
      </c:txPr>
    </c:legend>
    <c:plotVisOnly val="1"/>
    <c:dispBlanksAs val="gap"/>
    <c:showDLblsOverMax val="0"/>
  </c:chart>
  <c:spPr>
    <a:ln>
      <a:noFill/>
    </a:ln>
  </c:spPr>
  <c:txPr>
    <a:bodyPr/>
    <a:lstStyle/>
    <a:p>
      <a:pPr>
        <a:defRPr sz="1000" b="0">
          <a:latin typeface="Credit Suisse Type Roman" panose="020B050304050302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2"/>
          <c:order val="2"/>
          <c:tx>
            <c:strRef>
              <c:f>Fiscal!$U$2</c:f>
              <c:strCache>
                <c:ptCount val="1"/>
                <c:pt idx="0">
                  <c:v>2025</c:v>
                </c:pt>
              </c:strCache>
            </c:strRef>
          </c:tx>
          <c:spPr>
            <a:solidFill>
              <a:srgbClr val="8E8D83"/>
            </a:solidFill>
            <a:ln>
              <a:noFill/>
            </a:ln>
            <a:effectLst/>
          </c:spPr>
          <c:invertIfNegative val="0"/>
          <c:cat>
            <c:strRef>
              <c:f>Fiscal!$R$3:$R$5</c:f>
              <c:strCache>
                <c:ptCount val="3"/>
                <c:pt idx="0">
                  <c:v>US</c:v>
                </c:pt>
                <c:pt idx="1">
                  <c:v>Eurozone</c:v>
                </c:pt>
                <c:pt idx="2">
                  <c:v>Japan</c:v>
                </c:pt>
              </c:strCache>
            </c:strRef>
          </c:cat>
          <c:val>
            <c:numRef>
              <c:f>Fiscal!$U$3:$U$5</c:f>
              <c:numCache>
                <c:formatCode>General</c:formatCode>
                <c:ptCount val="3"/>
                <c:pt idx="0" formatCode="0.00">
                  <c:v>-0.24572992365391588</c:v>
                </c:pt>
                <c:pt idx="1">
                  <c:v>-1.7999456278854575E-2</c:v>
                </c:pt>
                <c:pt idx="2">
                  <c:v>0.34</c:v>
                </c:pt>
              </c:numCache>
            </c:numRef>
          </c:val>
          <c:extLst>
            <c:ext xmlns:c16="http://schemas.microsoft.com/office/drawing/2014/chart" uri="{C3380CC4-5D6E-409C-BE32-E72D297353CC}">
              <c16:uniqueId val="{00000000-0E3B-415B-BDDD-A0E33E0D8E58}"/>
            </c:ext>
          </c:extLst>
        </c:ser>
        <c:ser>
          <c:idx val="3"/>
          <c:order val="3"/>
          <c:tx>
            <c:strRef>
              <c:f>Fiscal!$V$2</c:f>
              <c:strCache>
                <c:ptCount val="1"/>
                <c:pt idx="0">
                  <c:v>2026</c:v>
                </c:pt>
              </c:strCache>
            </c:strRef>
          </c:tx>
          <c:spPr>
            <a:solidFill>
              <a:srgbClr val="BD000C"/>
            </a:solidFill>
            <a:ln>
              <a:noFill/>
            </a:ln>
            <a:effectLst/>
          </c:spPr>
          <c:invertIfNegative val="0"/>
          <c:cat>
            <c:strRef>
              <c:f>Fiscal!$R$3:$R$5</c:f>
              <c:strCache>
                <c:ptCount val="3"/>
                <c:pt idx="0">
                  <c:v>US</c:v>
                </c:pt>
                <c:pt idx="1">
                  <c:v>Eurozone</c:v>
                </c:pt>
                <c:pt idx="2">
                  <c:v>Japan</c:v>
                </c:pt>
              </c:strCache>
            </c:strRef>
          </c:cat>
          <c:val>
            <c:numRef>
              <c:f>Fiscal!$V$3:$V$5</c:f>
              <c:numCache>
                <c:formatCode>General</c:formatCode>
                <c:ptCount val="3"/>
                <c:pt idx="0" formatCode="0.00">
                  <c:v>0.31755531796990172</c:v>
                </c:pt>
                <c:pt idx="1">
                  <c:v>0.26830131656726119</c:v>
                </c:pt>
                <c:pt idx="2">
                  <c:v>0.78</c:v>
                </c:pt>
              </c:numCache>
            </c:numRef>
          </c:val>
          <c:extLst>
            <c:ext xmlns:c16="http://schemas.microsoft.com/office/drawing/2014/chart" uri="{C3380CC4-5D6E-409C-BE32-E72D297353CC}">
              <c16:uniqueId val="{00000001-0E3B-415B-BDDD-A0E33E0D8E58}"/>
            </c:ext>
          </c:extLst>
        </c:ser>
        <c:dLbls>
          <c:showLegendKey val="0"/>
          <c:showVal val="0"/>
          <c:showCatName val="0"/>
          <c:showSerName val="0"/>
          <c:showPercent val="0"/>
          <c:showBubbleSize val="0"/>
        </c:dLbls>
        <c:gapWidth val="219"/>
        <c:overlap val="-27"/>
        <c:axId val="1228312608"/>
        <c:axId val="1228312128"/>
        <c:extLst>
          <c:ext xmlns:c15="http://schemas.microsoft.com/office/drawing/2012/chart" uri="{02D57815-91ED-43cb-92C2-25804820EDAC}">
            <c15:filteredBarSeries>
              <c15:ser>
                <c:idx val="0"/>
                <c:order val="0"/>
                <c:tx>
                  <c:strRef>
                    <c:extLst>
                      <c:ext uri="{02D57815-91ED-43cb-92C2-25804820EDAC}">
                        <c15:formulaRef>
                          <c15:sqref>Fiscal!$S$2</c15:sqref>
                        </c15:formulaRef>
                      </c:ext>
                    </c:extLst>
                    <c:strCache>
                      <c:ptCount val="1"/>
                      <c:pt idx="0">
                        <c:v>2023</c:v>
                      </c:pt>
                    </c:strCache>
                  </c:strRef>
                </c:tx>
                <c:spPr>
                  <a:solidFill>
                    <a:schemeClr val="accent1"/>
                  </a:solidFill>
                  <a:ln>
                    <a:noFill/>
                  </a:ln>
                  <a:effectLst/>
                </c:spPr>
                <c:invertIfNegative val="0"/>
                <c:cat>
                  <c:strRef>
                    <c:extLst>
                      <c:ext uri="{02D57815-91ED-43cb-92C2-25804820EDAC}">
                        <c15:formulaRef>
                          <c15:sqref>Fiscal!$R$3:$R$5</c15:sqref>
                        </c15:formulaRef>
                      </c:ext>
                    </c:extLst>
                    <c:strCache>
                      <c:ptCount val="3"/>
                      <c:pt idx="0">
                        <c:v>US</c:v>
                      </c:pt>
                      <c:pt idx="1">
                        <c:v>Eurozone</c:v>
                      </c:pt>
                      <c:pt idx="2">
                        <c:v>Japan</c:v>
                      </c:pt>
                    </c:strCache>
                  </c:strRef>
                </c:cat>
                <c:val>
                  <c:numRef>
                    <c:extLst>
                      <c:ext uri="{02D57815-91ED-43cb-92C2-25804820EDAC}">
                        <c15:formulaRef>
                          <c15:sqref>Fiscal!$S$3:$S$5</c15:sqref>
                        </c15:formulaRef>
                      </c:ext>
                    </c:extLst>
                    <c:numCache>
                      <c:formatCode>General</c:formatCode>
                      <c:ptCount val="3"/>
                      <c:pt idx="0" formatCode="0.00">
                        <c:v>1.1495164466380976</c:v>
                      </c:pt>
                      <c:pt idx="2">
                        <c:v>-0.49</c:v>
                      </c:pt>
                    </c:numCache>
                  </c:numRef>
                </c:val>
                <c:extLst>
                  <c:ext xmlns:c16="http://schemas.microsoft.com/office/drawing/2014/chart" uri="{C3380CC4-5D6E-409C-BE32-E72D297353CC}">
                    <c16:uniqueId val="{00000002-0E3B-415B-BDDD-A0E33E0D8E58}"/>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Fiscal!$T$2</c15:sqref>
                        </c15:formulaRef>
                      </c:ext>
                    </c:extLst>
                    <c:strCache>
                      <c:ptCount val="1"/>
                      <c:pt idx="0">
                        <c:v>2024</c:v>
                      </c:pt>
                    </c:strCache>
                  </c:strRef>
                </c:tx>
                <c:spPr>
                  <a:solidFill>
                    <a:schemeClr val="accent2"/>
                  </a:solidFill>
                  <a:ln>
                    <a:noFill/>
                  </a:ln>
                  <a:effectLst/>
                </c:spPr>
                <c:invertIfNegative val="0"/>
                <c:cat>
                  <c:strRef>
                    <c:extLst xmlns:c15="http://schemas.microsoft.com/office/drawing/2012/chart">
                      <c:ext xmlns:c15="http://schemas.microsoft.com/office/drawing/2012/chart" uri="{02D57815-91ED-43cb-92C2-25804820EDAC}">
                        <c15:formulaRef>
                          <c15:sqref>Fiscal!$R$3:$R$5</c15:sqref>
                        </c15:formulaRef>
                      </c:ext>
                    </c:extLst>
                    <c:strCache>
                      <c:ptCount val="3"/>
                      <c:pt idx="0">
                        <c:v>US</c:v>
                      </c:pt>
                      <c:pt idx="1">
                        <c:v>Eurozone</c:v>
                      </c:pt>
                      <c:pt idx="2">
                        <c:v>Japan</c:v>
                      </c:pt>
                    </c:strCache>
                  </c:strRef>
                </c:cat>
                <c:val>
                  <c:numRef>
                    <c:extLst xmlns:c15="http://schemas.microsoft.com/office/drawing/2012/chart">
                      <c:ext xmlns:c15="http://schemas.microsoft.com/office/drawing/2012/chart" uri="{02D57815-91ED-43cb-92C2-25804820EDAC}">
                        <c15:formulaRef>
                          <c15:sqref>Fiscal!$T$3:$T$5</c15:sqref>
                        </c15:formulaRef>
                      </c:ext>
                    </c:extLst>
                    <c:numCache>
                      <c:formatCode>General</c:formatCode>
                      <c:ptCount val="3"/>
                      <c:pt idx="0" formatCode="0.00">
                        <c:v>0.45946608655350735</c:v>
                      </c:pt>
                      <c:pt idx="2">
                        <c:v>-0.57999999999999996</c:v>
                      </c:pt>
                    </c:numCache>
                  </c:numRef>
                </c:val>
                <c:extLst xmlns:c15="http://schemas.microsoft.com/office/drawing/2012/chart">
                  <c:ext xmlns:c16="http://schemas.microsoft.com/office/drawing/2014/chart" uri="{C3380CC4-5D6E-409C-BE32-E72D297353CC}">
                    <c16:uniqueId val="{00000003-0E3B-415B-BDDD-A0E33E0D8E58}"/>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Fiscal!$W$2</c15:sqref>
                        </c15:formulaRef>
                      </c:ext>
                    </c:extLst>
                    <c:strCache>
                      <c:ptCount val="1"/>
                      <c:pt idx="0">
                        <c:v>2027</c:v>
                      </c:pt>
                    </c:strCache>
                  </c:strRef>
                </c:tx>
                <c:spPr>
                  <a:solidFill>
                    <a:schemeClr val="accent5"/>
                  </a:solidFill>
                  <a:ln>
                    <a:noFill/>
                  </a:ln>
                  <a:effectLst/>
                </c:spPr>
                <c:invertIfNegative val="0"/>
                <c:cat>
                  <c:strRef>
                    <c:extLst xmlns:c15="http://schemas.microsoft.com/office/drawing/2012/chart">
                      <c:ext xmlns:c15="http://schemas.microsoft.com/office/drawing/2012/chart" uri="{02D57815-91ED-43cb-92C2-25804820EDAC}">
                        <c15:formulaRef>
                          <c15:sqref>Fiscal!$R$3:$R$5</c15:sqref>
                        </c15:formulaRef>
                      </c:ext>
                    </c:extLst>
                    <c:strCache>
                      <c:ptCount val="3"/>
                      <c:pt idx="0">
                        <c:v>US</c:v>
                      </c:pt>
                      <c:pt idx="1">
                        <c:v>Eurozone</c:v>
                      </c:pt>
                      <c:pt idx="2">
                        <c:v>Japan</c:v>
                      </c:pt>
                    </c:strCache>
                  </c:strRef>
                </c:cat>
                <c:val>
                  <c:numRef>
                    <c:extLst xmlns:c15="http://schemas.microsoft.com/office/drawing/2012/chart">
                      <c:ext xmlns:c15="http://schemas.microsoft.com/office/drawing/2012/chart" uri="{02D57815-91ED-43cb-92C2-25804820EDAC}">
                        <c15:formulaRef>
                          <c15:sqref>Fiscal!$W$3:$W$5</c15:sqref>
                        </c15:formulaRef>
                      </c:ext>
                    </c:extLst>
                    <c:numCache>
                      <c:formatCode>General</c:formatCode>
                      <c:ptCount val="3"/>
                      <c:pt idx="0" formatCode="0.00">
                        <c:v>-0.3004654584873277</c:v>
                      </c:pt>
                      <c:pt idx="1">
                        <c:v>0.24916423496963375</c:v>
                      </c:pt>
                    </c:numCache>
                  </c:numRef>
                </c:val>
                <c:extLst xmlns:c15="http://schemas.microsoft.com/office/drawing/2012/chart">
                  <c:ext xmlns:c16="http://schemas.microsoft.com/office/drawing/2014/chart" uri="{C3380CC4-5D6E-409C-BE32-E72D297353CC}">
                    <c16:uniqueId val="{00000004-0E3B-415B-BDDD-A0E33E0D8E58}"/>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Fiscal!$X$2</c15:sqref>
                        </c15:formulaRef>
                      </c:ext>
                    </c:extLst>
                    <c:strCache>
                      <c:ptCount val="1"/>
                      <c:pt idx="0">
                        <c:v>2028</c:v>
                      </c:pt>
                    </c:strCache>
                  </c:strRef>
                </c:tx>
                <c:spPr>
                  <a:solidFill>
                    <a:schemeClr val="accent6"/>
                  </a:solidFill>
                  <a:ln>
                    <a:noFill/>
                  </a:ln>
                  <a:effectLst/>
                </c:spPr>
                <c:invertIfNegative val="0"/>
                <c:cat>
                  <c:strRef>
                    <c:extLst xmlns:c15="http://schemas.microsoft.com/office/drawing/2012/chart">
                      <c:ext xmlns:c15="http://schemas.microsoft.com/office/drawing/2012/chart" uri="{02D57815-91ED-43cb-92C2-25804820EDAC}">
                        <c15:formulaRef>
                          <c15:sqref>Fiscal!$R$3:$R$5</c15:sqref>
                        </c15:formulaRef>
                      </c:ext>
                    </c:extLst>
                    <c:strCache>
                      <c:ptCount val="3"/>
                      <c:pt idx="0">
                        <c:v>US</c:v>
                      </c:pt>
                      <c:pt idx="1">
                        <c:v>Eurozone</c:v>
                      </c:pt>
                      <c:pt idx="2">
                        <c:v>Japan</c:v>
                      </c:pt>
                    </c:strCache>
                  </c:strRef>
                </c:cat>
                <c:val>
                  <c:numRef>
                    <c:extLst xmlns:c15="http://schemas.microsoft.com/office/drawing/2012/chart">
                      <c:ext xmlns:c15="http://schemas.microsoft.com/office/drawing/2012/chart" uri="{02D57815-91ED-43cb-92C2-25804820EDAC}">
                        <c15:formulaRef>
                          <c15:sqref>Fiscal!$X$3:$X$5</c15:sqref>
                        </c15:formulaRef>
                      </c:ext>
                    </c:extLst>
                    <c:numCache>
                      <c:formatCode>General</c:formatCode>
                      <c:ptCount val="3"/>
                      <c:pt idx="0" formatCode="0.00">
                        <c:v>-0.22866265950679901</c:v>
                      </c:pt>
                      <c:pt idx="1">
                        <c:v>-9.8776823164746425E-2</c:v>
                      </c:pt>
                    </c:numCache>
                  </c:numRef>
                </c:val>
                <c:extLst xmlns:c15="http://schemas.microsoft.com/office/drawing/2012/chart">
                  <c:ext xmlns:c16="http://schemas.microsoft.com/office/drawing/2014/chart" uri="{C3380CC4-5D6E-409C-BE32-E72D297353CC}">
                    <c16:uniqueId val="{00000005-0E3B-415B-BDDD-A0E33E0D8E58}"/>
                  </c:ext>
                </c:extLst>
              </c15:ser>
            </c15:filteredBarSeries>
          </c:ext>
        </c:extLst>
      </c:barChart>
      <c:catAx>
        <c:axId val="1228312608"/>
        <c:scaling>
          <c:orientation val="minMax"/>
        </c:scaling>
        <c:delete val="0"/>
        <c:axPos val="b"/>
        <c:numFmt formatCode="General" sourceLinked="1"/>
        <c:majorTickMark val="none"/>
        <c:minorTickMark val="none"/>
        <c:tickLblPos val="nextTo"/>
        <c:spPr>
          <a:noFill/>
          <a:ln w="6350" cap="flat" cmpd="sng" algn="ctr">
            <a:solidFill>
              <a:srgbClr val="ECEBE4"/>
            </a:solidFill>
            <a:prstDash val="solid"/>
            <a:round/>
            <a:headEnd type="none" w="med" len="med"/>
            <a:tailEnd type="none" w="med" len="me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228312128"/>
        <c:crosses val="autoZero"/>
        <c:auto val="1"/>
        <c:lblAlgn val="ctr"/>
        <c:lblOffset val="100"/>
        <c:noMultiLvlLbl val="0"/>
      </c:catAx>
      <c:valAx>
        <c:axId val="1228312128"/>
        <c:scaling>
          <c:orientation val="minMax"/>
        </c:scaling>
        <c:delete val="0"/>
        <c:axPos val="l"/>
        <c:majorGridlines>
          <c:spPr>
            <a:ln w="6350" cap="flat" cmpd="sng" algn="ctr">
              <a:solidFill>
                <a:srgbClr val="ECEBE4"/>
              </a:solidFill>
              <a:prstDash val="solid"/>
              <a:round/>
              <a:headEnd type="none" w="med" len="med"/>
              <a:tailEnd type="none" w="med" len="me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8312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L$8</c:f>
              <c:strCache>
                <c:ptCount val="1"/>
                <c:pt idx="0">
                  <c:v>European IT YoY earnings gowth</c:v>
                </c:pt>
              </c:strCache>
            </c:strRef>
          </c:tx>
          <c:spPr>
            <a:ln w="28575" cap="rnd" cmpd="sng" algn="ctr">
              <a:solidFill>
                <a:srgbClr val="8E8D83"/>
              </a:solidFill>
              <a:prstDash val="solid"/>
              <a:round/>
              <a:headEnd type="none" w="med" len="med"/>
              <a:tailEnd type="none" w="med" len="med"/>
            </a:ln>
            <a:effectLst/>
          </c:spPr>
          <c:marker>
            <c:symbol val="none"/>
          </c:marker>
          <c:cat>
            <c:numRef>
              <c:f>Sheet1!$C$123:$C$1231</c:f>
              <c:numCache>
                <c:formatCode>m/d/yyyy</c:formatCode>
                <c:ptCount val="1109"/>
                <c:pt idx="0">
                  <c:v>39483</c:v>
                </c:pt>
                <c:pt idx="1">
                  <c:v>39490</c:v>
                </c:pt>
                <c:pt idx="2">
                  <c:v>39497</c:v>
                </c:pt>
                <c:pt idx="3">
                  <c:v>39504</c:v>
                </c:pt>
                <c:pt idx="4">
                  <c:v>39511</c:v>
                </c:pt>
                <c:pt idx="5">
                  <c:v>39518</c:v>
                </c:pt>
                <c:pt idx="6">
                  <c:v>39525</c:v>
                </c:pt>
                <c:pt idx="7">
                  <c:v>39532</c:v>
                </c:pt>
                <c:pt idx="8">
                  <c:v>39539</c:v>
                </c:pt>
                <c:pt idx="9">
                  <c:v>39546</c:v>
                </c:pt>
                <c:pt idx="10">
                  <c:v>39553</c:v>
                </c:pt>
                <c:pt idx="11">
                  <c:v>39560</c:v>
                </c:pt>
                <c:pt idx="12">
                  <c:v>39567</c:v>
                </c:pt>
                <c:pt idx="13">
                  <c:v>39574</c:v>
                </c:pt>
                <c:pt idx="14">
                  <c:v>39581</c:v>
                </c:pt>
                <c:pt idx="15">
                  <c:v>39588</c:v>
                </c:pt>
                <c:pt idx="16">
                  <c:v>39595</c:v>
                </c:pt>
                <c:pt idx="17">
                  <c:v>39602</c:v>
                </c:pt>
                <c:pt idx="18">
                  <c:v>39609</c:v>
                </c:pt>
                <c:pt idx="19">
                  <c:v>39616</c:v>
                </c:pt>
                <c:pt idx="20">
                  <c:v>39623</c:v>
                </c:pt>
                <c:pt idx="21">
                  <c:v>39630</c:v>
                </c:pt>
                <c:pt idx="22">
                  <c:v>39637</c:v>
                </c:pt>
                <c:pt idx="23">
                  <c:v>39644</c:v>
                </c:pt>
                <c:pt idx="24">
                  <c:v>39651</c:v>
                </c:pt>
                <c:pt idx="25">
                  <c:v>39658</c:v>
                </c:pt>
                <c:pt idx="26">
                  <c:v>39665</c:v>
                </c:pt>
                <c:pt idx="27">
                  <c:v>39672</c:v>
                </c:pt>
                <c:pt idx="28">
                  <c:v>39679</c:v>
                </c:pt>
                <c:pt idx="29">
                  <c:v>39686</c:v>
                </c:pt>
                <c:pt idx="30">
                  <c:v>39693</c:v>
                </c:pt>
                <c:pt idx="31">
                  <c:v>39700</c:v>
                </c:pt>
                <c:pt idx="32">
                  <c:v>39707</c:v>
                </c:pt>
                <c:pt idx="33">
                  <c:v>39714</c:v>
                </c:pt>
                <c:pt idx="34">
                  <c:v>39721</c:v>
                </c:pt>
                <c:pt idx="35">
                  <c:v>39728</c:v>
                </c:pt>
                <c:pt idx="36">
                  <c:v>39735</c:v>
                </c:pt>
                <c:pt idx="37">
                  <c:v>39742</c:v>
                </c:pt>
                <c:pt idx="38">
                  <c:v>39749</c:v>
                </c:pt>
                <c:pt idx="39">
                  <c:v>39756</c:v>
                </c:pt>
                <c:pt idx="40">
                  <c:v>39763</c:v>
                </c:pt>
                <c:pt idx="41">
                  <c:v>39770</c:v>
                </c:pt>
                <c:pt idx="42">
                  <c:v>39777</c:v>
                </c:pt>
                <c:pt idx="43">
                  <c:v>39784</c:v>
                </c:pt>
                <c:pt idx="44">
                  <c:v>39791</c:v>
                </c:pt>
                <c:pt idx="45">
                  <c:v>39798</c:v>
                </c:pt>
                <c:pt idx="46">
                  <c:v>39805</c:v>
                </c:pt>
                <c:pt idx="47">
                  <c:v>39812</c:v>
                </c:pt>
                <c:pt idx="48">
                  <c:v>39819</c:v>
                </c:pt>
                <c:pt idx="49">
                  <c:v>39826</c:v>
                </c:pt>
                <c:pt idx="50">
                  <c:v>39833</c:v>
                </c:pt>
                <c:pt idx="51">
                  <c:v>39840</c:v>
                </c:pt>
                <c:pt idx="52">
                  <c:v>39847</c:v>
                </c:pt>
                <c:pt idx="53">
                  <c:v>39854</c:v>
                </c:pt>
                <c:pt idx="54">
                  <c:v>39861</c:v>
                </c:pt>
                <c:pt idx="55">
                  <c:v>39868</c:v>
                </c:pt>
                <c:pt idx="56">
                  <c:v>39875</c:v>
                </c:pt>
                <c:pt idx="57">
                  <c:v>39882</c:v>
                </c:pt>
                <c:pt idx="58">
                  <c:v>39889</c:v>
                </c:pt>
                <c:pt idx="59">
                  <c:v>39896</c:v>
                </c:pt>
                <c:pt idx="60">
                  <c:v>39903</c:v>
                </c:pt>
                <c:pt idx="61">
                  <c:v>39910</c:v>
                </c:pt>
                <c:pt idx="62">
                  <c:v>39917</c:v>
                </c:pt>
                <c:pt idx="63">
                  <c:v>39924</c:v>
                </c:pt>
                <c:pt idx="64">
                  <c:v>39931</c:v>
                </c:pt>
                <c:pt idx="65">
                  <c:v>39938</c:v>
                </c:pt>
                <c:pt idx="66">
                  <c:v>39945</c:v>
                </c:pt>
                <c:pt idx="67">
                  <c:v>39952</c:v>
                </c:pt>
                <c:pt idx="68">
                  <c:v>39959</c:v>
                </c:pt>
                <c:pt idx="69">
                  <c:v>39966</c:v>
                </c:pt>
                <c:pt idx="70">
                  <c:v>39973</c:v>
                </c:pt>
                <c:pt idx="71">
                  <c:v>39980</c:v>
                </c:pt>
                <c:pt idx="72">
                  <c:v>39987</c:v>
                </c:pt>
                <c:pt idx="73">
                  <c:v>39994</c:v>
                </c:pt>
                <c:pt idx="74">
                  <c:v>40001</c:v>
                </c:pt>
                <c:pt idx="75">
                  <c:v>40008</c:v>
                </c:pt>
                <c:pt idx="76">
                  <c:v>40015</c:v>
                </c:pt>
                <c:pt idx="77">
                  <c:v>40022</c:v>
                </c:pt>
                <c:pt idx="78">
                  <c:v>40029</c:v>
                </c:pt>
                <c:pt idx="79">
                  <c:v>40036</c:v>
                </c:pt>
                <c:pt idx="80">
                  <c:v>40043</c:v>
                </c:pt>
                <c:pt idx="81">
                  <c:v>40050</c:v>
                </c:pt>
                <c:pt idx="82">
                  <c:v>40057</c:v>
                </c:pt>
                <c:pt idx="83">
                  <c:v>40064</c:v>
                </c:pt>
                <c:pt idx="84">
                  <c:v>40071</c:v>
                </c:pt>
                <c:pt idx="85">
                  <c:v>40078</c:v>
                </c:pt>
                <c:pt idx="86">
                  <c:v>40085</c:v>
                </c:pt>
                <c:pt idx="87">
                  <c:v>40092</c:v>
                </c:pt>
                <c:pt idx="88">
                  <c:v>40099</c:v>
                </c:pt>
                <c:pt idx="89">
                  <c:v>40106</c:v>
                </c:pt>
                <c:pt idx="90">
                  <c:v>40113</c:v>
                </c:pt>
                <c:pt idx="91">
                  <c:v>40120</c:v>
                </c:pt>
                <c:pt idx="92">
                  <c:v>40127</c:v>
                </c:pt>
                <c:pt idx="93">
                  <c:v>40134</c:v>
                </c:pt>
                <c:pt idx="94">
                  <c:v>40141</c:v>
                </c:pt>
                <c:pt idx="95">
                  <c:v>40148</c:v>
                </c:pt>
                <c:pt idx="96">
                  <c:v>40155</c:v>
                </c:pt>
                <c:pt idx="97">
                  <c:v>40162</c:v>
                </c:pt>
                <c:pt idx="98">
                  <c:v>40169</c:v>
                </c:pt>
                <c:pt idx="99">
                  <c:v>40176</c:v>
                </c:pt>
                <c:pt idx="100">
                  <c:v>40183</c:v>
                </c:pt>
                <c:pt idx="101">
                  <c:v>40190</c:v>
                </c:pt>
                <c:pt idx="102">
                  <c:v>40197</c:v>
                </c:pt>
                <c:pt idx="103">
                  <c:v>40204</c:v>
                </c:pt>
                <c:pt idx="104">
                  <c:v>40211</c:v>
                </c:pt>
                <c:pt idx="105">
                  <c:v>40218</c:v>
                </c:pt>
                <c:pt idx="106">
                  <c:v>40225</c:v>
                </c:pt>
                <c:pt idx="107">
                  <c:v>40232</c:v>
                </c:pt>
                <c:pt idx="108">
                  <c:v>40239</c:v>
                </c:pt>
                <c:pt idx="109">
                  <c:v>40246</c:v>
                </c:pt>
                <c:pt idx="110">
                  <c:v>40253</c:v>
                </c:pt>
                <c:pt idx="111">
                  <c:v>40260</c:v>
                </c:pt>
                <c:pt idx="112">
                  <c:v>40267</c:v>
                </c:pt>
                <c:pt idx="113">
                  <c:v>40274</c:v>
                </c:pt>
                <c:pt idx="114">
                  <c:v>40281</c:v>
                </c:pt>
                <c:pt idx="115">
                  <c:v>40288</c:v>
                </c:pt>
                <c:pt idx="116">
                  <c:v>40295</c:v>
                </c:pt>
                <c:pt idx="117">
                  <c:v>40302</c:v>
                </c:pt>
                <c:pt idx="118">
                  <c:v>40309</c:v>
                </c:pt>
                <c:pt idx="119">
                  <c:v>40316</c:v>
                </c:pt>
                <c:pt idx="120">
                  <c:v>40323</c:v>
                </c:pt>
                <c:pt idx="121">
                  <c:v>40330</c:v>
                </c:pt>
                <c:pt idx="122">
                  <c:v>40337</c:v>
                </c:pt>
                <c:pt idx="123">
                  <c:v>40344</c:v>
                </c:pt>
                <c:pt idx="124">
                  <c:v>40351</c:v>
                </c:pt>
                <c:pt idx="125">
                  <c:v>40358</c:v>
                </c:pt>
                <c:pt idx="126">
                  <c:v>40365</c:v>
                </c:pt>
                <c:pt idx="127">
                  <c:v>40372</c:v>
                </c:pt>
                <c:pt idx="128">
                  <c:v>40379</c:v>
                </c:pt>
                <c:pt idx="129">
                  <c:v>40386</c:v>
                </c:pt>
                <c:pt idx="130">
                  <c:v>40393</c:v>
                </c:pt>
                <c:pt idx="131">
                  <c:v>40400</c:v>
                </c:pt>
                <c:pt idx="132">
                  <c:v>40407</c:v>
                </c:pt>
                <c:pt idx="133">
                  <c:v>40414</c:v>
                </c:pt>
                <c:pt idx="134">
                  <c:v>40421</c:v>
                </c:pt>
                <c:pt idx="135">
                  <c:v>40428</c:v>
                </c:pt>
                <c:pt idx="136">
                  <c:v>40435</c:v>
                </c:pt>
                <c:pt idx="137">
                  <c:v>40442</c:v>
                </c:pt>
                <c:pt idx="138">
                  <c:v>40449</c:v>
                </c:pt>
                <c:pt idx="139">
                  <c:v>40456</c:v>
                </c:pt>
                <c:pt idx="140">
                  <c:v>40463</c:v>
                </c:pt>
                <c:pt idx="141">
                  <c:v>40470</c:v>
                </c:pt>
                <c:pt idx="142">
                  <c:v>40477</c:v>
                </c:pt>
                <c:pt idx="143">
                  <c:v>40484</c:v>
                </c:pt>
                <c:pt idx="144">
                  <c:v>40491</c:v>
                </c:pt>
                <c:pt idx="145">
                  <c:v>40498</c:v>
                </c:pt>
                <c:pt idx="146">
                  <c:v>40505</c:v>
                </c:pt>
                <c:pt idx="147">
                  <c:v>40512</c:v>
                </c:pt>
                <c:pt idx="148">
                  <c:v>40519</c:v>
                </c:pt>
                <c:pt idx="149">
                  <c:v>40526</c:v>
                </c:pt>
                <c:pt idx="150">
                  <c:v>40533</c:v>
                </c:pt>
                <c:pt idx="151">
                  <c:v>40540</c:v>
                </c:pt>
                <c:pt idx="152">
                  <c:v>40547</c:v>
                </c:pt>
                <c:pt idx="153">
                  <c:v>40554</c:v>
                </c:pt>
                <c:pt idx="154">
                  <c:v>40561</c:v>
                </c:pt>
                <c:pt idx="155">
                  <c:v>40568</c:v>
                </c:pt>
                <c:pt idx="156">
                  <c:v>40575</c:v>
                </c:pt>
                <c:pt idx="157">
                  <c:v>40582</c:v>
                </c:pt>
                <c:pt idx="158">
                  <c:v>40589</c:v>
                </c:pt>
                <c:pt idx="159">
                  <c:v>40596</c:v>
                </c:pt>
                <c:pt idx="160">
                  <c:v>40603</c:v>
                </c:pt>
                <c:pt idx="161">
                  <c:v>40610</c:v>
                </c:pt>
                <c:pt idx="162">
                  <c:v>40617</c:v>
                </c:pt>
                <c:pt idx="163">
                  <c:v>40624</c:v>
                </c:pt>
                <c:pt idx="164">
                  <c:v>40631</c:v>
                </c:pt>
                <c:pt idx="165">
                  <c:v>40638</c:v>
                </c:pt>
                <c:pt idx="166">
                  <c:v>40645</c:v>
                </c:pt>
                <c:pt idx="167">
                  <c:v>40652</c:v>
                </c:pt>
                <c:pt idx="168">
                  <c:v>40659</c:v>
                </c:pt>
                <c:pt idx="169">
                  <c:v>40666</c:v>
                </c:pt>
                <c:pt idx="170">
                  <c:v>40673</c:v>
                </c:pt>
                <c:pt idx="171">
                  <c:v>40680</c:v>
                </c:pt>
                <c:pt idx="172">
                  <c:v>40687</c:v>
                </c:pt>
                <c:pt idx="173">
                  <c:v>40694</c:v>
                </c:pt>
                <c:pt idx="174">
                  <c:v>40701</c:v>
                </c:pt>
                <c:pt idx="175">
                  <c:v>40708</c:v>
                </c:pt>
                <c:pt idx="176">
                  <c:v>40715</c:v>
                </c:pt>
                <c:pt idx="177">
                  <c:v>40722</c:v>
                </c:pt>
                <c:pt idx="178">
                  <c:v>40729</c:v>
                </c:pt>
                <c:pt idx="179">
                  <c:v>40736</c:v>
                </c:pt>
                <c:pt idx="180">
                  <c:v>40743</c:v>
                </c:pt>
                <c:pt idx="181">
                  <c:v>40750</c:v>
                </c:pt>
                <c:pt idx="182">
                  <c:v>40757</c:v>
                </c:pt>
                <c:pt idx="183">
                  <c:v>40764</c:v>
                </c:pt>
                <c:pt idx="184">
                  <c:v>40771</c:v>
                </c:pt>
                <c:pt idx="185">
                  <c:v>40778</c:v>
                </c:pt>
                <c:pt idx="186">
                  <c:v>40785</c:v>
                </c:pt>
                <c:pt idx="187">
                  <c:v>40792</c:v>
                </c:pt>
                <c:pt idx="188">
                  <c:v>40799</c:v>
                </c:pt>
                <c:pt idx="189">
                  <c:v>40806</c:v>
                </c:pt>
                <c:pt idx="190">
                  <c:v>40813</c:v>
                </c:pt>
                <c:pt idx="191">
                  <c:v>40820</c:v>
                </c:pt>
                <c:pt idx="192">
                  <c:v>40827</c:v>
                </c:pt>
                <c:pt idx="193">
                  <c:v>40834</c:v>
                </c:pt>
                <c:pt idx="194">
                  <c:v>40841</c:v>
                </c:pt>
                <c:pt idx="195">
                  <c:v>40848</c:v>
                </c:pt>
                <c:pt idx="196">
                  <c:v>40855</c:v>
                </c:pt>
                <c:pt idx="197">
                  <c:v>40862</c:v>
                </c:pt>
                <c:pt idx="198">
                  <c:v>40869</c:v>
                </c:pt>
                <c:pt idx="199">
                  <c:v>40876</c:v>
                </c:pt>
                <c:pt idx="200">
                  <c:v>40883</c:v>
                </c:pt>
                <c:pt idx="201">
                  <c:v>40890</c:v>
                </c:pt>
                <c:pt idx="202">
                  <c:v>40897</c:v>
                </c:pt>
                <c:pt idx="203">
                  <c:v>40904</c:v>
                </c:pt>
                <c:pt idx="204">
                  <c:v>40911</c:v>
                </c:pt>
                <c:pt idx="205">
                  <c:v>40918</c:v>
                </c:pt>
                <c:pt idx="206">
                  <c:v>40925</c:v>
                </c:pt>
                <c:pt idx="207">
                  <c:v>40932</c:v>
                </c:pt>
                <c:pt idx="208">
                  <c:v>40939</c:v>
                </c:pt>
                <c:pt idx="209">
                  <c:v>40946</c:v>
                </c:pt>
                <c:pt idx="210">
                  <c:v>40953</c:v>
                </c:pt>
                <c:pt idx="211">
                  <c:v>40960</c:v>
                </c:pt>
                <c:pt idx="212">
                  <c:v>40967</c:v>
                </c:pt>
                <c:pt idx="213">
                  <c:v>40974</c:v>
                </c:pt>
                <c:pt idx="214">
                  <c:v>40981</c:v>
                </c:pt>
                <c:pt idx="215">
                  <c:v>40988</c:v>
                </c:pt>
                <c:pt idx="216">
                  <c:v>40995</c:v>
                </c:pt>
                <c:pt idx="217">
                  <c:v>41002</c:v>
                </c:pt>
                <c:pt idx="218">
                  <c:v>41009</c:v>
                </c:pt>
                <c:pt idx="219">
                  <c:v>41016</c:v>
                </c:pt>
                <c:pt idx="220">
                  <c:v>41023</c:v>
                </c:pt>
                <c:pt idx="221">
                  <c:v>41030</c:v>
                </c:pt>
                <c:pt idx="222">
                  <c:v>41037</c:v>
                </c:pt>
                <c:pt idx="223">
                  <c:v>41044</c:v>
                </c:pt>
                <c:pt idx="224">
                  <c:v>41051</c:v>
                </c:pt>
                <c:pt idx="225">
                  <c:v>41058</c:v>
                </c:pt>
                <c:pt idx="226">
                  <c:v>41065</c:v>
                </c:pt>
                <c:pt idx="227">
                  <c:v>41072</c:v>
                </c:pt>
                <c:pt idx="228">
                  <c:v>41079</c:v>
                </c:pt>
                <c:pt idx="229">
                  <c:v>41086</c:v>
                </c:pt>
                <c:pt idx="230">
                  <c:v>41093</c:v>
                </c:pt>
                <c:pt idx="231">
                  <c:v>41100</c:v>
                </c:pt>
                <c:pt idx="232">
                  <c:v>41107</c:v>
                </c:pt>
                <c:pt idx="233">
                  <c:v>41114</c:v>
                </c:pt>
                <c:pt idx="234">
                  <c:v>41121</c:v>
                </c:pt>
                <c:pt idx="235">
                  <c:v>41128</c:v>
                </c:pt>
                <c:pt idx="236">
                  <c:v>41135</c:v>
                </c:pt>
                <c:pt idx="237">
                  <c:v>41142</c:v>
                </c:pt>
                <c:pt idx="238">
                  <c:v>41149</c:v>
                </c:pt>
                <c:pt idx="239">
                  <c:v>41156</c:v>
                </c:pt>
                <c:pt idx="240">
                  <c:v>41163</c:v>
                </c:pt>
                <c:pt idx="241">
                  <c:v>41170</c:v>
                </c:pt>
                <c:pt idx="242">
                  <c:v>41177</c:v>
                </c:pt>
                <c:pt idx="243">
                  <c:v>41184</c:v>
                </c:pt>
                <c:pt idx="244">
                  <c:v>41191</c:v>
                </c:pt>
                <c:pt idx="245">
                  <c:v>41198</c:v>
                </c:pt>
                <c:pt idx="246">
                  <c:v>41205</c:v>
                </c:pt>
                <c:pt idx="247">
                  <c:v>41212</c:v>
                </c:pt>
                <c:pt idx="248">
                  <c:v>41219</c:v>
                </c:pt>
                <c:pt idx="249">
                  <c:v>41226</c:v>
                </c:pt>
                <c:pt idx="250">
                  <c:v>41233</c:v>
                </c:pt>
                <c:pt idx="251">
                  <c:v>41240</c:v>
                </c:pt>
                <c:pt idx="252">
                  <c:v>41247</c:v>
                </c:pt>
                <c:pt idx="253">
                  <c:v>41254</c:v>
                </c:pt>
                <c:pt idx="254">
                  <c:v>41261</c:v>
                </c:pt>
                <c:pt idx="255">
                  <c:v>41268</c:v>
                </c:pt>
                <c:pt idx="256">
                  <c:v>41275</c:v>
                </c:pt>
                <c:pt idx="257">
                  <c:v>41282</c:v>
                </c:pt>
                <c:pt idx="258">
                  <c:v>41289</c:v>
                </c:pt>
                <c:pt idx="259">
                  <c:v>41296</c:v>
                </c:pt>
                <c:pt idx="260">
                  <c:v>41303</c:v>
                </c:pt>
                <c:pt idx="261">
                  <c:v>41310</c:v>
                </c:pt>
                <c:pt idx="262">
                  <c:v>41317</c:v>
                </c:pt>
                <c:pt idx="263">
                  <c:v>41324</c:v>
                </c:pt>
                <c:pt idx="264">
                  <c:v>41331</c:v>
                </c:pt>
                <c:pt idx="265">
                  <c:v>41338</c:v>
                </c:pt>
                <c:pt idx="266">
                  <c:v>41345</c:v>
                </c:pt>
                <c:pt idx="267">
                  <c:v>41352</c:v>
                </c:pt>
                <c:pt idx="268">
                  <c:v>41359</c:v>
                </c:pt>
                <c:pt idx="269">
                  <c:v>41366</c:v>
                </c:pt>
                <c:pt idx="270">
                  <c:v>41373</c:v>
                </c:pt>
                <c:pt idx="271">
                  <c:v>41380</c:v>
                </c:pt>
                <c:pt idx="272">
                  <c:v>41387</c:v>
                </c:pt>
                <c:pt idx="273">
                  <c:v>41394</c:v>
                </c:pt>
                <c:pt idx="274">
                  <c:v>41401</c:v>
                </c:pt>
                <c:pt idx="275">
                  <c:v>41408</c:v>
                </c:pt>
                <c:pt idx="276">
                  <c:v>41415</c:v>
                </c:pt>
                <c:pt idx="277">
                  <c:v>41422</c:v>
                </c:pt>
                <c:pt idx="278">
                  <c:v>41429</c:v>
                </c:pt>
                <c:pt idx="279">
                  <c:v>41436</c:v>
                </c:pt>
                <c:pt idx="280">
                  <c:v>41443</c:v>
                </c:pt>
                <c:pt idx="281">
                  <c:v>41450</c:v>
                </c:pt>
                <c:pt idx="282">
                  <c:v>41457</c:v>
                </c:pt>
                <c:pt idx="283">
                  <c:v>41464</c:v>
                </c:pt>
                <c:pt idx="284">
                  <c:v>41471</c:v>
                </c:pt>
                <c:pt idx="285">
                  <c:v>41478</c:v>
                </c:pt>
                <c:pt idx="286">
                  <c:v>41485</c:v>
                </c:pt>
                <c:pt idx="287">
                  <c:v>41492</c:v>
                </c:pt>
                <c:pt idx="288">
                  <c:v>41499</c:v>
                </c:pt>
                <c:pt idx="289">
                  <c:v>41506</c:v>
                </c:pt>
                <c:pt idx="290">
                  <c:v>41513</c:v>
                </c:pt>
                <c:pt idx="291">
                  <c:v>41520</c:v>
                </c:pt>
                <c:pt idx="292">
                  <c:v>41527</c:v>
                </c:pt>
                <c:pt idx="293">
                  <c:v>41534</c:v>
                </c:pt>
                <c:pt idx="294">
                  <c:v>41541</c:v>
                </c:pt>
                <c:pt idx="295">
                  <c:v>41548</c:v>
                </c:pt>
                <c:pt idx="296">
                  <c:v>41555</c:v>
                </c:pt>
                <c:pt idx="297">
                  <c:v>41562</c:v>
                </c:pt>
                <c:pt idx="298">
                  <c:v>41569</c:v>
                </c:pt>
                <c:pt idx="299">
                  <c:v>41576</c:v>
                </c:pt>
                <c:pt idx="300">
                  <c:v>41583</c:v>
                </c:pt>
                <c:pt idx="301">
                  <c:v>41590</c:v>
                </c:pt>
                <c:pt idx="302">
                  <c:v>41597</c:v>
                </c:pt>
                <c:pt idx="303">
                  <c:v>41604</c:v>
                </c:pt>
                <c:pt idx="304">
                  <c:v>41611</c:v>
                </c:pt>
                <c:pt idx="305">
                  <c:v>41618</c:v>
                </c:pt>
                <c:pt idx="306">
                  <c:v>41625</c:v>
                </c:pt>
                <c:pt idx="307">
                  <c:v>41632</c:v>
                </c:pt>
                <c:pt idx="308">
                  <c:v>41639</c:v>
                </c:pt>
                <c:pt idx="309">
                  <c:v>41646</c:v>
                </c:pt>
                <c:pt idx="310">
                  <c:v>41653</c:v>
                </c:pt>
                <c:pt idx="311">
                  <c:v>41660</c:v>
                </c:pt>
                <c:pt idx="312">
                  <c:v>41667</c:v>
                </c:pt>
                <c:pt idx="313">
                  <c:v>41674</c:v>
                </c:pt>
                <c:pt idx="314">
                  <c:v>41681</c:v>
                </c:pt>
                <c:pt idx="315">
                  <c:v>41688</c:v>
                </c:pt>
                <c:pt idx="316">
                  <c:v>41695</c:v>
                </c:pt>
                <c:pt idx="317">
                  <c:v>41702</c:v>
                </c:pt>
                <c:pt idx="318">
                  <c:v>41709</c:v>
                </c:pt>
                <c:pt idx="319">
                  <c:v>41716</c:v>
                </c:pt>
                <c:pt idx="320">
                  <c:v>41723</c:v>
                </c:pt>
                <c:pt idx="321">
                  <c:v>41730</c:v>
                </c:pt>
                <c:pt idx="322">
                  <c:v>41737</c:v>
                </c:pt>
                <c:pt idx="323">
                  <c:v>41744</c:v>
                </c:pt>
                <c:pt idx="324">
                  <c:v>41751</c:v>
                </c:pt>
                <c:pt idx="325">
                  <c:v>41758</c:v>
                </c:pt>
                <c:pt idx="326">
                  <c:v>41765</c:v>
                </c:pt>
                <c:pt idx="327">
                  <c:v>41772</c:v>
                </c:pt>
                <c:pt idx="328">
                  <c:v>41779</c:v>
                </c:pt>
                <c:pt idx="329">
                  <c:v>41786</c:v>
                </c:pt>
                <c:pt idx="330">
                  <c:v>41793</c:v>
                </c:pt>
                <c:pt idx="331">
                  <c:v>41800</c:v>
                </c:pt>
                <c:pt idx="332">
                  <c:v>41807</c:v>
                </c:pt>
                <c:pt idx="333">
                  <c:v>41814</c:v>
                </c:pt>
                <c:pt idx="334">
                  <c:v>41821</c:v>
                </c:pt>
                <c:pt idx="335">
                  <c:v>41828</c:v>
                </c:pt>
                <c:pt idx="336">
                  <c:v>41835</c:v>
                </c:pt>
                <c:pt idx="337">
                  <c:v>41842</c:v>
                </c:pt>
                <c:pt idx="338">
                  <c:v>41849</c:v>
                </c:pt>
                <c:pt idx="339">
                  <c:v>41856</c:v>
                </c:pt>
                <c:pt idx="340">
                  <c:v>41863</c:v>
                </c:pt>
                <c:pt idx="341">
                  <c:v>41870</c:v>
                </c:pt>
                <c:pt idx="342">
                  <c:v>41877</c:v>
                </c:pt>
                <c:pt idx="343">
                  <c:v>41884</c:v>
                </c:pt>
                <c:pt idx="344">
                  <c:v>41891</c:v>
                </c:pt>
                <c:pt idx="345">
                  <c:v>41898</c:v>
                </c:pt>
                <c:pt idx="346">
                  <c:v>41905</c:v>
                </c:pt>
                <c:pt idx="347">
                  <c:v>41912</c:v>
                </c:pt>
                <c:pt idx="348">
                  <c:v>41919</c:v>
                </c:pt>
                <c:pt idx="349">
                  <c:v>41926</c:v>
                </c:pt>
                <c:pt idx="350">
                  <c:v>41933</c:v>
                </c:pt>
                <c:pt idx="351">
                  <c:v>41940</c:v>
                </c:pt>
                <c:pt idx="352">
                  <c:v>41947</c:v>
                </c:pt>
                <c:pt idx="353">
                  <c:v>41954</c:v>
                </c:pt>
                <c:pt idx="354">
                  <c:v>41961</c:v>
                </c:pt>
                <c:pt idx="355">
                  <c:v>41968</c:v>
                </c:pt>
                <c:pt idx="356">
                  <c:v>41975</c:v>
                </c:pt>
                <c:pt idx="357">
                  <c:v>41982</c:v>
                </c:pt>
                <c:pt idx="358">
                  <c:v>41989</c:v>
                </c:pt>
                <c:pt idx="359">
                  <c:v>41996</c:v>
                </c:pt>
                <c:pt idx="360">
                  <c:v>42003</c:v>
                </c:pt>
                <c:pt idx="361">
                  <c:v>42010</c:v>
                </c:pt>
                <c:pt idx="362">
                  <c:v>42017</c:v>
                </c:pt>
                <c:pt idx="363">
                  <c:v>42024</c:v>
                </c:pt>
                <c:pt idx="364">
                  <c:v>42031</c:v>
                </c:pt>
                <c:pt idx="365">
                  <c:v>42038</c:v>
                </c:pt>
                <c:pt idx="366">
                  <c:v>42045</c:v>
                </c:pt>
                <c:pt idx="367">
                  <c:v>42052</c:v>
                </c:pt>
                <c:pt idx="368">
                  <c:v>42059</c:v>
                </c:pt>
                <c:pt idx="369">
                  <c:v>42066</c:v>
                </c:pt>
                <c:pt idx="370">
                  <c:v>42073</c:v>
                </c:pt>
                <c:pt idx="371">
                  <c:v>42080</c:v>
                </c:pt>
                <c:pt idx="372">
                  <c:v>42087</c:v>
                </c:pt>
                <c:pt idx="373">
                  <c:v>42094</c:v>
                </c:pt>
                <c:pt idx="374">
                  <c:v>42101</c:v>
                </c:pt>
                <c:pt idx="375">
                  <c:v>42108</c:v>
                </c:pt>
                <c:pt idx="376">
                  <c:v>42115</c:v>
                </c:pt>
                <c:pt idx="377">
                  <c:v>42122</c:v>
                </c:pt>
                <c:pt idx="378">
                  <c:v>42129</c:v>
                </c:pt>
                <c:pt idx="379">
                  <c:v>42136</c:v>
                </c:pt>
                <c:pt idx="380">
                  <c:v>42143</c:v>
                </c:pt>
                <c:pt idx="381">
                  <c:v>42150</c:v>
                </c:pt>
                <c:pt idx="382">
                  <c:v>42157</c:v>
                </c:pt>
                <c:pt idx="383">
                  <c:v>42164</c:v>
                </c:pt>
                <c:pt idx="384">
                  <c:v>42171</c:v>
                </c:pt>
                <c:pt idx="385">
                  <c:v>42178</c:v>
                </c:pt>
                <c:pt idx="386">
                  <c:v>42185</c:v>
                </c:pt>
                <c:pt idx="387">
                  <c:v>42192</c:v>
                </c:pt>
                <c:pt idx="388">
                  <c:v>42199</c:v>
                </c:pt>
                <c:pt idx="389">
                  <c:v>42206</c:v>
                </c:pt>
                <c:pt idx="390">
                  <c:v>42213</c:v>
                </c:pt>
                <c:pt idx="391">
                  <c:v>42220</c:v>
                </c:pt>
                <c:pt idx="392">
                  <c:v>42227</c:v>
                </c:pt>
                <c:pt idx="393">
                  <c:v>42234</c:v>
                </c:pt>
                <c:pt idx="394">
                  <c:v>42241</c:v>
                </c:pt>
                <c:pt idx="395">
                  <c:v>42248</c:v>
                </c:pt>
                <c:pt idx="396">
                  <c:v>42255</c:v>
                </c:pt>
                <c:pt idx="397">
                  <c:v>42262</c:v>
                </c:pt>
                <c:pt idx="398">
                  <c:v>42269</c:v>
                </c:pt>
                <c:pt idx="399">
                  <c:v>42276</c:v>
                </c:pt>
                <c:pt idx="400">
                  <c:v>42283</c:v>
                </c:pt>
                <c:pt idx="401">
                  <c:v>42290</c:v>
                </c:pt>
                <c:pt idx="402">
                  <c:v>42297</c:v>
                </c:pt>
                <c:pt idx="403">
                  <c:v>42304</c:v>
                </c:pt>
                <c:pt idx="404">
                  <c:v>42311</c:v>
                </c:pt>
                <c:pt idx="405">
                  <c:v>42318</c:v>
                </c:pt>
                <c:pt idx="406">
                  <c:v>42325</c:v>
                </c:pt>
                <c:pt idx="407">
                  <c:v>42332</c:v>
                </c:pt>
                <c:pt idx="408">
                  <c:v>42339</c:v>
                </c:pt>
                <c:pt idx="409">
                  <c:v>42346</c:v>
                </c:pt>
                <c:pt idx="410">
                  <c:v>42353</c:v>
                </c:pt>
                <c:pt idx="411">
                  <c:v>42360</c:v>
                </c:pt>
                <c:pt idx="412">
                  <c:v>42367</c:v>
                </c:pt>
                <c:pt idx="413">
                  <c:v>42374</c:v>
                </c:pt>
                <c:pt idx="414">
                  <c:v>42381</c:v>
                </c:pt>
                <c:pt idx="415">
                  <c:v>42388</c:v>
                </c:pt>
                <c:pt idx="416">
                  <c:v>42395</c:v>
                </c:pt>
                <c:pt idx="417">
                  <c:v>42402</c:v>
                </c:pt>
                <c:pt idx="418">
                  <c:v>42409</c:v>
                </c:pt>
                <c:pt idx="419">
                  <c:v>42416</c:v>
                </c:pt>
                <c:pt idx="420">
                  <c:v>42423</c:v>
                </c:pt>
                <c:pt idx="421">
                  <c:v>42430</c:v>
                </c:pt>
                <c:pt idx="422">
                  <c:v>42437</c:v>
                </c:pt>
                <c:pt idx="423">
                  <c:v>42444</c:v>
                </c:pt>
                <c:pt idx="424">
                  <c:v>42451</c:v>
                </c:pt>
                <c:pt idx="425">
                  <c:v>42458</c:v>
                </c:pt>
                <c:pt idx="426">
                  <c:v>42465</c:v>
                </c:pt>
                <c:pt idx="427">
                  <c:v>42472</c:v>
                </c:pt>
                <c:pt idx="428">
                  <c:v>42479</c:v>
                </c:pt>
                <c:pt idx="429">
                  <c:v>42486</c:v>
                </c:pt>
                <c:pt idx="430">
                  <c:v>42493</c:v>
                </c:pt>
                <c:pt idx="431">
                  <c:v>42500</c:v>
                </c:pt>
                <c:pt idx="432">
                  <c:v>42507</c:v>
                </c:pt>
                <c:pt idx="433">
                  <c:v>42514</c:v>
                </c:pt>
                <c:pt idx="434">
                  <c:v>42521</c:v>
                </c:pt>
                <c:pt idx="435">
                  <c:v>42528</c:v>
                </c:pt>
                <c:pt idx="436">
                  <c:v>42535</c:v>
                </c:pt>
                <c:pt idx="437">
                  <c:v>42542</c:v>
                </c:pt>
                <c:pt idx="438">
                  <c:v>42549</c:v>
                </c:pt>
                <c:pt idx="439">
                  <c:v>42556</c:v>
                </c:pt>
                <c:pt idx="440">
                  <c:v>42563</c:v>
                </c:pt>
                <c:pt idx="441">
                  <c:v>42570</c:v>
                </c:pt>
                <c:pt idx="442">
                  <c:v>42577</c:v>
                </c:pt>
                <c:pt idx="443">
                  <c:v>42584</c:v>
                </c:pt>
                <c:pt idx="444">
                  <c:v>42591</c:v>
                </c:pt>
                <c:pt idx="445">
                  <c:v>42598</c:v>
                </c:pt>
                <c:pt idx="446">
                  <c:v>42605</c:v>
                </c:pt>
                <c:pt idx="447">
                  <c:v>42612</c:v>
                </c:pt>
                <c:pt idx="448">
                  <c:v>42619</c:v>
                </c:pt>
                <c:pt idx="449">
                  <c:v>42626</c:v>
                </c:pt>
                <c:pt idx="450">
                  <c:v>42633</c:v>
                </c:pt>
                <c:pt idx="451">
                  <c:v>42640</c:v>
                </c:pt>
                <c:pt idx="452">
                  <c:v>42647</c:v>
                </c:pt>
                <c:pt idx="453">
                  <c:v>42654</c:v>
                </c:pt>
                <c:pt idx="454">
                  <c:v>42661</c:v>
                </c:pt>
                <c:pt idx="455">
                  <c:v>42668</c:v>
                </c:pt>
                <c:pt idx="456">
                  <c:v>42675</c:v>
                </c:pt>
                <c:pt idx="457">
                  <c:v>42682</c:v>
                </c:pt>
                <c:pt idx="458">
                  <c:v>42689</c:v>
                </c:pt>
                <c:pt idx="459">
                  <c:v>42696</c:v>
                </c:pt>
                <c:pt idx="460">
                  <c:v>42703</c:v>
                </c:pt>
                <c:pt idx="461">
                  <c:v>42710</c:v>
                </c:pt>
                <c:pt idx="462">
                  <c:v>42717</c:v>
                </c:pt>
                <c:pt idx="463">
                  <c:v>42724</c:v>
                </c:pt>
                <c:pt idx="464">
                  <c:v>42731</c:v>
                </c:pt>
                <c:pt idx="465">
                  <c:v>42738</c:v>
                </c:pt>
                <c:pt idx="466">
                  <c:v>42745</c:v>
                </c:pt>
                <c:pt idx="467">
                  <c:v>42752</c:v>
                </c:pt>
                <c:pt idx="468">
                  <c:v>42759</c:v>
                </c:pt>
                <c:pt idx="469">
                  <c:v>42766</c:v>
                </c:pt>
                <c:pt idx="470">
                  <c:v>42773</c:v>
                </c:pt>
                <c:pt idx="471">
                  <c:v>42780</c:v>
                </c:pt>
                <c:pt idx="472">
                  <c:v>42787</c:v>
                </c:pt>
                <c:pt idx="473">
                  <c:v>42794</c:v>
                </c:pt>
                <c:pt idx="474">
                  <c:v>42801</c:v>
                </c:pt>
                <c:pt idx="475">
                  <c:v>42808</c:v>
                </c:pt>
                <c:pt idx="476">
                  <c:v>42815</c:v>
                </c:pt>
                <c:pt idx="477">
                  <c:v>42822</c:v>
                </c:pt>
                <c:pt idx="478">
                  <c:v>42829</c:v>
                </c:pt>
                <c:pt idx="479">
                  <c:v>42836</c:v>
                </c:pt>
                <c:pt idx="480">
                  <c:v>42843</c:v>
                </c:pt>
                <c:pt idx="481">
                  <c:v>42850</c:v>
                </c:pt>
                <c:pt idx="482">
                  <c:v>42857</c:v>
                </c:pt>
                <c:pt idx="483">
                  <c:v>42864</c:v>
                </c:pt>
                <c:pt idx="484">
                  <c:v>42871</c:v>
                </c:pt>
                <c:pt idx="485">
                  <c:v>42878</c:v>
                </c:pt>
                <c:pt idx="486">
                  <c:v>42885</c:v>
                </c:pt>
                <c:pt idx="487">
                  <c:v>42892</c:v>
                </c:pt>
                <c:pt idx="488">
                  <c:v>42899</c:v>
                </c:pt>
                <c:pt idx="489">
                  <c:v>42906</c:v>
                </c:pt>
                <c:pt idx="490">
                  <c:v>42913</c:v>
                </c:pt>
                <c:pt idx="491">
                  <c:v>42920</c:v>
                </c:pt>
                <c:pt idx="492">
                  <c:v>42927</c:v>
                </c:pt>
                <c:pt idx="493">
                  <c:v>42934</c:v>
                </c:pt>
                <c:pt idx="494">
                  <c:v>42941</c:v>
                </c:pt>
                <c:pt idx="495">
                  <c:v>42948</c:v>
                </c:pt>
                <c:pt idx="496">
                  <c:v>42955</c:v>
                </c:pt>
                <c:pt idx="497">
                  <c:v>42962</c:v>
                </c:pt>
                <c:pt idx="498">
                  <c:v>42969</c:v>
                </c:pt>
                <c:pt idx="499">
                  <c:v>42976</c:v>
                </c:pt>
                <c:pt idx="500">
                  <c:v>42983</c:v>
                </c:pt>
                <c:pt idx="501">
                  <c:v>42990</c:v>
                </c:pt>
                <c:pt idx="502">
                  <c:v>42997</c:v>
                </c:pt>
                <c:pt idx="503">
                  <c:v>43004</c:v>
                </c:pt>
                <c:pt idx="504">
                  <c:v>43011</c:v>
                </c:pt>
                <c:pt idx="505">
                  <c:v>43018</c:v>
                </c:pt>
                <c:pt idx="506">
                  <c:v>43025</c:v>
                </c:pt>
                <c:pt idx="507">
                  <c:v>43032</c:v>
                </c:pt>
                <c:pt idx="508">
                  <c:v>43039</c:v>
                </c:pt>
                <c:pt idx="509">
                  <c:v>43046</c:v>
                </c:pt>
                <c:pt idx="510">
                  <c:v>43053</c:v>
                </c:pt>
                <c:pt idx="511">
                  <c:v>43060</c:v>
                </c:pt>
                <c:pt idx="512">
                  <c:v>43067</c:v>
                </c:pt>
                <c:pt idx="513">
                  <c:v>43074</c:v>
                </c:pt>
                <c:pt idx="514">
                  <c:v>43081</c:v>
                </c:pt>
                <c:pt idx="515">
                  <c:v>43088</c:v>
                </c:pt>
                <c:pt idx="516">
                  <c:v>43095</c:v>
                </c:pt>
                <c:pt idx="517">
                  <c:v>43102</c:v>
                </c:pt>
                <c:pt idx="518">
                  <c:v>43109</c:v>
                </c:pt>
                <c:pt idx="519">
                  <c:v>43116</c:v>
                </c:pt>
                <c:pt idx="520">
                  <c:v>43123</c:v>
                </c:pt>
                <c:pt idx="521">
                  <c:v>43130</c:v>
                </c:pt>
                <c:pt idx="522">
                  <c:v>43137</c:v>
                </c:pt>
                <c:pt idx="523">
                  <c:v>43144</c:v>
                </c:pt>
                <c:pt idx="524">
                  <c:v>43151</c:v>
                </c:pt>
                <c:pt idx="525">
                  <c:v>43158</c:v>
                </c:pt>
                <c:pt idx="526">
                  <c:v>43165</c:v>
                </c:pt>
                <c:pt idx="527">
                  <c:v>43172</c:v>
                </c:pt>
                <c:pt idx="528">
                  <c:v>43179</c:v>
                </c:pt>
                <c:pt idx="529">
                  <c:v>43186</c:v>
                </c:pt>
                <c:pt idx="530">
                  <c:v>43193</c:v>
                </c:pt>
                <c:pt idx="531">
                  <c:v>43200</c:v>
                </c:pt>
                <c:pt idx="532">
                  <c:v>43207</c:v>
                </c:pt>
                <c:pt idx="533">
                  <c:v>43214</c:v>
                </c:pt>
                <c:pt idx="534">
                  <c:v>43221</c:v>
                </c:pt>
                <c:pt idx="535">
                  <c:v>43228</c:v>
                </c:pt>
                <c:pt idx="536">
                  <c:v>43235</c:v>
                </c:pt>
                <c:pt idx="537">
                  <c:v>43242</c:v>
                </c:pt>
                <c:pt idx="538">
                  <c:v>43249</c:v>
                </c:pt>
                <c:pt idx="539">
                  <c:v>43256</c:v>
                </c:pt>
                <c:pt idx="540">
                  <c:v>43263</c:v>
                </c:pt>
                <c:pt idx="541">
                  <c:v>43270</c:v>
                </c:pt>
                <c:pt idx="542">
                  <c:v>43277</c:v>
                </c:pt>
                <c:pt idx="543">
                  <c:v>43284</c:v>
                </c:pt>
                <c:pt idx="544">
                  <c:v>43291</c:v>
                </c:pt>
                <c:pt idx="545">
                  <c:v>43298</c:v>
                </c:pt>
                <c:pt idx="546">
                  <c:v>43305</c:v>
                </c:pt>
                <c:pt idx="547">
                  <c:v>43312</c:v>
                </c:pt>
                <c:pt idx="548">
                  <c:v>43319</c:v>
                </c:pt>
                <c:pt idx="549">
                  <c:v>43326</c:v>
                </c:pt>
                <c:pt idx="550">
                  <c:v>43333</c:v>
                </c:pt>
                <c:pt idx="551">
                  <c:v>43340</c:v>
                </c:pt>
                <c:pt idx="552">
                  <c:v>43347</c:v>
                </c:pt>
                <c:pt idx="553">
                  <c:v>43354</c:v>
                </c:pt>
                <c:pt idx="554">
                  <c:v>43361</c:v>
                </c:pt>
                <c:pt idx="555">
                  <c:v>43368</c:v>
                </c:pt>
                <c:pt idx="556">
                  <c:v>43375</c:v>
                </c:pt>
                <c:pt idx="557">
                  <c:v>43382</c:v>
                </c:pt>
                <c:pt idx="558">
                  <c:v>43389</c:v>
                </c:pt>
                <c:pt idx="559">
                  <c:v>43396</c:v>
                </c:pt>
                <c:pt idx="560">
                  <c:v>43403</c:v>
                </c:pt>
                <c:pt idx="561">
                  <c:v>43410</c:v>
                </c:pt>
                <c:pt idx="562">
                  <c:v>43417</c:v>
                </c:pt>
                <c:pt idx="563">
                  <c:v>43424</c:v>
                </c:pt>
                <c:pt idx="564">
                  <c:v>43431</c:v>
                </c:pt>
                <c:pt idx="565">
                  <c:v>43438</c:v>
                </c:pt>
                <c:pt idx="566">
                  <c:v>43445</c:v>
                </c:pt>
                <c:pt idx="567">
                  <c:v>43452</c:v>
                </c:pt>
                <c:pt idx="568">
                  <c:v>43459</c:v>
                </c:pt>
                <c:pt idx="569">
                  <c:v>43466</c:v>
                </c:pt>
                <c:pt idx="570">
                  <c:v>43473</c:v>
                </c:pt>
                <c:pt idx="571">
                  <c:v>43480</c:v>
                </c:pt>
                <c:pt idx="572">
                  <c:v>43487</c:v>
                </c:pt>
                <c:pt idx="573">
                  <c:v>43494</c:v>
                </c:pt>
                <c:pt idx="574">
                  <c:v>43501</c:v>
                </c:pt>
                <c:pt idx="575">
                  <c:v>43508</c:v>
                </c:pt>
                <c:pt idx="576">
                  <c:v>43515</c:v>
                </c:pt>
                <c:pt idx="577">
                  <c:v>43522</c:v>
                </c:pt>
                <c:pt idx="578">
                  <c:v>43529</c:v>
                </c:pt>
                <c:pt idx="579">
                  <c:v>43536</c:v>
                </c:pt>
                <c:pt idx="580">
                  <c:v>43543</c:v>
                </c:pt>
                <c:pt idx="581">
                  <c:v>43550</c:v>
                </c:pt>
                <c:pt idx="582">
                  <c:v>43557</c:v>
                </c:pt>
                <c:pt idx="583">
                  <c:v>43564</c:v>
                </c:pt>
                <c:pt idx="584">
                  <c:v>43571</c:v>
                </c:pt>
                <c:pt idx="585">
                  <c:v>43578</c:v>
                </c:pt>
                <c:pt idx="586">
                  <c:v>43585</c:v>
                </c:pt>
                <c:pt idx="587">
                  <c:v>43592</c:v>
                </c:pt>
                <c:pt idx="588">
                  <c:v>43599</c:v>
                </c:pt>
                <c:pt idx="589">
                  <c:v>43606</c:v>
                </c:pt>
                <c:pt idx="590">
                  <c:v>43613</c:v>
                </c:pt>
                <c:pt idx="591">
                  <c:v>43620</c:v>
                </c:pt>
                <c:pt idx="592">
                  <c:v>43627</c:v>
                </c:pt>
                <c:pt idx="593">
                  <c:v>43634</c:v>
                </c:pt>
                <c:pt idx="594">
                  <c:v>43641</c:v>
                </c:pt>
                <c:pt idx="595">
                  <c:v>43648</c:v>
                </c:pt>
                <c:pt idx="596">
                  <c:v>43655</c:v>
                </c:pt>
                <c:pt idx="597">
                  <c:v>43662</c:v>
                </c:pt>
                <c:pt idx="598">
                  <c:v>43669</c:v>
                </c:pt>
                <c:pt idx="599">
                  <c:v>43676</c:v>
                </c:pt>
                <c:pt idx="600">
                  <c:v>43683</c:v>
                </c:pt>
                <c:pt idx="601">
                  <c:v>43690</c:v>
                </c:pt>
                <c:pt idx="602">
                  <c:v>43697</c:v>
                </c:pt>
                <c:pt idx="603">
                  <c:v>43704</c:v>
                </c:pt>
                <c:pt idx="604">
                  <c:v>43711</c:v>
                </c:pt>
                <c:pt idx="605">
                  <c:v>43718</c:v>
                </c:pt>
                <c:pt idx="606">
                  <c:v>43725</c:v>
                </c:pt>
                <c:pt idx="607">
                  <c:v>43732</c:v>
                </c:pt>
                <c:pt idx="608">
                  <c:v>43739</c:v>
                </c:pt>
                <c:pt idx="609">
                  <c:v>43746</c:v>
                </c:pt>
                <c:pt idx="610">
                  <c:v>43753</c:v>
                </c:pt>
                <c:pt idx="611">
                  <c:v>43760</c:v>
                </c:pt>
                <c:pt idx="612">
                  <c:v>43767</c:v>
                </c:pt>
                <c:pt idx="613">
                  <c:v>43774</c:v>
                </c:pt>
                <c:pt idx="614">
                  <c:v>43781</c:v>
                </c:pt>
                <c:pt idx="615">
                  <c:v>43788</c:v>
                </c:pt>
                <c:pt idx="616">
                  <c:v>43795</c:v>
                </c:pt>
                <c:pt idx="617">
                  <c:v>43802</c:v>
                </c:pt>
                <c:pt idx="618">
                  <c:v>43809</c:v>
                </c:pt>
                <c:pt idx="619">
                  <c:v>43816</c:v>
                </c:pt>
                <c:pt idx="620">
                  <c:v>43823</c:v>
                </c:pt>
                <c:pt idx="621">
                  <c:v>43830</c:v>
                </c:pt>
                <c:pt idx="622">
                  <c:v>43837</c:v>
                </c:pt>
                <c:pt idx="623">
                  <c:v>43844</c:v>
                </c:pt>
                <c:pt idx="624">
                  <c:v>43851</c:v>
                </c:pt>
                <c:pt idx="625">
                  <c:v>43858</c:v>
                </c:pt>
                <c:pt idx="626">
                  <c:v>43865</c:v>
                </c:pt>
                <c:pt idx="627">
                  <c:v>43872</c:v>
                </c:pt>
                <c:pt idx="628">
                  <c:v>43879</c:v>
                </c:pt>
                <c:pt idx="629">
                  <c:v>43886</c:v>
                </c:pt>
                <c:pt idx="630">
                  <c:v>43893</c:v>
                </c:pt>
                <c:pt idx="631">
                  <c:v>43900</c:v>
                </c:pt>
                <c:pt idx="632">
                  <c:v>43907</c:v>
                </c:pt>
                <c:pt idx="633">
                  <c:v>43914</c:v>
                </c:pt>
                <c:pt idx="634">
                  <c:v>43921</c:v>
                </c:pt>
                <c:pt idx="635">
                  <c:v>43928</c:v>
                </c:pt>
                <c:pt idx="636">
                  <c:v>43935</c:v>
                </c:pt>
                <c:pt idx="637">
                  <c:v>43942</c:v>
                </c:pt>
                <c:pt idx="638">
                  <c:v>43949</c:v>
                </c:pt>
                <c:pt idx="639">
                  <c:v>43956</c:v>
                </c:pt>
                <c:pt idx="640">
                  <c:v>43963</c:v>
                </c:pt>
                <c:pt idx="641">
                  <c:v>43970</c:v>
                </c:pt>
                <c:pt idx="642">
                  <c:v>43977</c:v>
                </c:pt>
                <c:pt idx="643">
                  <c:v>43984</c:v>
                </c:pt>
                <c:pt idx="644">
                  <c:v>43991</c:v>
                </c:pt>
                <c:pt idx="645">
                  <c:v>43998</c:v>
                </c:pt>
                <c:pt idx="646">
                  <c:v>44005</c:v>
                </c:pt>
                <c:pt idx="647">
                  <c:v>44012</c:v>
                </c:pt>
                <c:pt idx="648">
                  <c:v>44019</c:v>
                </c:pt>
                <c:pt idx="649">
                  <c:v>44026</c:v>
                </c:pt>
                <c:pt idx="650">
                  <c:v>44033</c:v>
                </c:pt>
                <c:pt idx="651">
                  <c:v>44040</c:v>
                </c:pt>
                <c:pt idx="652">
                  <c:v>44047</c:v>
                </c:pt>
                <c:pt idx="653">
                  <c:v>44054</c:v>
                </c:pt>
                <c:pt idx="654">
                  <c:v>44061</c:v>
                </c:pt>
                <c:pt idx="655">
                  <c:v>44068</c:v>
                </c:pt>
                <c:pt idx="656">
                  <c:v>44075</c:v>
                </c:pt>
                <c:pt idx="657">
                  <c:v>44082</c:v>
                </c:pt>
                <c:pt idx="658">
                  <c:v>44089</c:v>
                </c:pt>
                <c:pt idx="659">
                  <c:v>44096</c:v>
                </c:pt>
                <c:pt idx="660">
                  <c:v>44103</c:v>
                </c:pt>
                <c:pt idx="661">
                  <c:v>44110</c:v>
                </c:pt>
                <c:pt idx="662">
                  <c:v>44117</c:v>
                </c:pt>
                <c:pt idx="663">
                  <c:v>44124</c:v>
                </c:pt>
                <c:pt idx="664">
                  <c:v>44131</c:v>
                </c:pt>
                <c:pt idx="665">
                  <c:v>44138</c:v>
                </c:pt>
                <c:pt idx="666">
                  <c:v>44145</c:v>
                </c:pt>
                <c:pt idx="667">
                  <c:v>44152</c:v>
                </c:pt>
                <c:pt idx="668">
                  <c:v>44159</c:v>
                </c:pt>
                <c:pt idx="669">
                  <c:v>44166</c:v>
                </c:pt>
                <c:pt idx="670">
                  <c:v>44173</c:v>
                </c:pt>
                <c:pt idx="671">
                  <c:v>44180</c:v>
                </c:pt>
                <c:pt idx="672">
                  <c:v>44187</c:v>
                </c:pt>
                <c:pt idx="673">
                  <c:v>44194</c:v>
                </c:pt>
                <c:pt idx="674">
                  <c:v>44201</c:v>
                </c:pt>
                <c:pt idx="675">
                  <c:v>44208</c:v>
                </c:pt>
                <c:pt idx="676">
                  <c:v>44215</c:v>
                </c:pt>
                <c:pt idx="677">
                  <c:v>44222</c:v>
                </c:pt>
                <c:pt idx="678">
                  <c:v>44229</c:v>
                </c:pt>
                <c:pt idx="679">
                  <c:v>44236</c:v>
                </c:pt>
                <c:pt idx="680">
                  <c:v>44243</c:v>
                </c:pt>
                <c:pt idx="681">
                  <c:v>44250</c:v>
                </c:pt>
                <c:pt idx="682">
                  <c:v>44257</c:v>
                </c:pt>
                <c:pt idx="683">
                  <c:v>44264</c:v>
                </c:pt>
                <c:pt idx="684">
                  <c:v>44271</c:v>
                </c:pt>
                <c:pt idx="685">
                  <c:v>44278</c:v>
                </c:pt>
                <c:pt idx="686">
                  <c:v>44285</c:v>
                </c:pt>
                <c:pt idx="687">
                  <c:v>44292</c:v>
                </c:pt>
                <c:pt idx="688">
                  <c:v>44299</c:v>
                </c:pt>
                <c:pt idx="689">
                  <c:v>44306</c:v>
                </c:pt>
                <c:pt idx="690">
                  <c:v>44313</c:v>
                </c:pt>
                <c:pt idx="691">
                  <c:v>44320</c:v>
                </c:pt>
                <c:pt idx="692">
                  <c:v>44327</c:v>
                </c:pt>
                <c:pt idx="693">
                  <c:v>44334</c:v>
                </c:pt>
                <c:pt idx="694">
                  <c:v>44341</c:v>
                </c:pt>
                <c:pt idx="695">
                  <c:v>44348</c:v>
                </c:pt>
                <c:pt idx="696">
                  <c:v>44355</c:v>
                </c:pt>
                <c:pt idx="697">
                  <c:v>44362</c:v>
                </c:pt>
                <c:pt idx="698">
                  <c:v>44369</c:v>
                </c:pt>
                <c:pt idx="699">
                  <c:v>44376</c:v>
                </c:pt>
                <c:pt idx="700">
                  <c:v>44383</c:v>
                </c:pt>
                <c:pt idx="701">
                  <c:v>44390</c:v>
                </c:pt>
                <c:pt idx="702">
                  <c:v>44397</c:v>
                </c:pt>
                <c:pt idx="703">
                  <c:v>44404</c:v>
                </c:pt>
                <c:pt idx="704">
                  <c:v>44411</c:v>
                </c:pt>
                <c:pt idx="705">
                  <c:v>44418</c:v>
                </c:pt>
                <c:pt idx="706">
                  <c:v>44425</c:v>
                </c:pt>
                <c:pt idx="707">
                  <c:v>44432</c:v>
                </c:pt>
                <c:pt idx="708">
                  <c:v>44439</c:v>
                </c:pt>
                <c:pt idx="709">
                  <c:v>44446</c:v>
                </c:pt>
                <c:pt idx="710">
                  <c:v>44453</c:v>
                </c:pt>
                <c:pt idx="711">
                  <c:v>44460</c:v>
                </c:pt>
                <c:pt idx="712">
                  <c:v>44467</c:v>
                </c:pt>
                <c:pt idx="713">
                  <c:v>44474</c:v>
                </c:pt>
                <c:pt idx="714">
                  <c:v>44481</c:v>
                </c:pt>
                <c:pt idx="715">
                  <c:v>44488</c:v>
                </c:pt>
                <c:pt idx="716">
                  <c:v>44495</c:v>
                </c:pt>
                <c:pt idx="717">
                  <c:v>44502</c:v>
                </c:pt>
                <c:pt idx="718">
                  <c:v>44509</c:v>
                </c:pt>
                <c:pt idx="719">
                  <c:v>44516</c:v>
                </c:pt>
                <c:pt idx="720">
                  <c:v>44523</c:v>
                </c:pt>
                <c:pt idx="721">
                  <c:v>44530</c:v>
                </c:pt>
                <c:pt idx="722">
                  <c:v>44537</c:v>
                </c:pt>
                <c:pt idx="723">
                  <c:v>44544</c:v>
                </c:pt>
                <c:pt idx="724">
                  <c:v>44551</c:v>
                </c:pt>
                <c:pt idx="725">
                  <c:v>44558</c:v>
                </c:pt>
                <c:pt idx="726">
                  <c:v>44565</c:v>
                </c:pt>
                <c:pt idx="727">
                  <c:v>44572</c:v>
                </c:pt>
                <c:pt idx="728">
                  <c:v>44579</c:v>
                </c:pt>
                <c:pt idx="729">
                  <c:v>44586</c:v>
                </c:pt>
                <c:pt idx="730">
                  <c:v>44593</c:v>
                </c:pt>
                <c:pt idx="731">
                  <c:v>44600</c:v>
                </c:pt>
                <c:pt idx="732">
                  <c:v>44607</c:v>
                </c:pt>
                <c:pt idx="733">
                  <c:v>44614</c:v>
                </c:pt>
                <c:pt idx="734">
                  <c:v>44621</c:v>
                </c:pt>
                <c:pt idx="735">
                  <c:v>44628</c:v>
                </c:pt>
                <c:pt idx="736">
                  <c:v>44635</c:v>
                </c:pt>
                <c:pt idx="737">
                  <c:v>44642</c:v>
                </c:pt>
                <c:pt idx="738">
                  <c:v>44649</c:v>
                </c:pt>
                <c:pt idx="739">
                  <c:v>44656</c:v>
                </c:pt>
                <c:pt idx="740">
                  <c:v>44663</c:v>
                </c:pt>
                <c:pt idx="741">
                  <c:v>44670</c:v>
                </c:pt>
                <c:pt idx="742">
                  <c:v>44677</c:v>
                </c:pt>
                <c:pt idx="743">
                  <c:v>44684</c:v>
                </c:pt>
                <c:pt idx="744">
                  <c:v>44691</c:v>
                </c:pt>
                <c:pt idx="745">
                  <c:v>44698</c:v>
                </c:pt>
                <c:pt idx="746">
                  <c:v>44705</c:v>
                </c:pt>
                <c:pt idx="747">
                  <c:v>44712</c:v>
                </c:pt>
                <c:pt idx="748">
                  <c:v>44719</c:v>
                </c:pt>
                <c:pt idx="749">
                  <c:v>44726</c:v>
                </c:pt>
                <c:pt idx="750">
                  <c:v>44733</c:v>
                </c:pt>
                <c:pt idx="751">
                  <c:v>44740</c:v>
                </c:pt>
                <c:pt idx="752">
                  <c:v>44747</c:v>
                </c:pt>
                <c:pt idx="753">
                  <c:v>44754</c:v>
                </c:pt>
                <c:pt idx="754">
                  <c:v>44761</c:v>
                </c:pt>
                <c:pt idx="755">
                  <c:v>44768</c:v>
                </c:pt>
                <c:pt idx="756">
                  <c:v>44775</c:v>
                </c:pt>
                <c:pt idx="757">
                  <c:v>44782</c:v>
                </c:pt>
                <c:pt idx="758">
                  <c:v>44789</c:v>
                </c:pt>
                <c:pt idx="759">
                  <c:v>44796</c:v>
                </c:pt>
                <c:pt idx="760">
                  <c:v>44803</c:v>
                </c:pt>
                <c:pt idx="761">
                  <c:v>44810</c:v>
                </c:pt>
                <c:pt idx="762">
                  <c:v>44817</c:v>
                </c:pt>
                <c:pt idx="763">
                  <c:v>44824</c:v>
                </c:pt>
                <c:pt idx="764">
                  <c:v>44831</c:v>
                </c:pt>
                <c:pt idx="765">
                  <c:v>44838</c:v>
                </c:pt>
                <c:pt idx="766">
                  <c:v>44845</c:v>
                </c:pt>
                <c:pt idx="767">
                  <c:v>44852</c:v>
                </c:pt>
                <c:pt idx="768">
                  <c:v>44859</c:v>
                </c:pt>
                <c:pt idx="769">
                  <c:v>44866</c:v>
                </c:pt>
                <c:pt idx="770">
                  <c:v>44873</c:v>
                </c:pt>
                <c:pt idx="771">
                  <c:v>44880</c:v>
                </c:pt>
                <c:pt idx="772">
                  <c:v>44887</c:v>
                </c:pt>
                <c:pt idx="773">
                  <c:v>44894</c:v>
                </c:pt>
                <c:pt idx="774">
                  <c:v>44901</c:v>
                </c:pt>
                <c:pt idx="775">
                  <c:v>44908</c:v>
                </c:pt>
                <c:pt idx="776">
                  <c:v>44915</c:v>
                </c:pt>
                <c:pt idx="777">
                  <c:v>44922</c:v>
                </c:pt>
                <c:pt idx="778">
                  <c:v>44929</c:v>
                </c:pt>
                <c:pt idx="779">
                  <c:v>44936</c:v>
                </c:pt>
                <c:pt idx="780">
                  <c:v>44943</c:v>
                </c:pt>
                <c:pt idx="781">
                  <c:v>44950</c:v>
                </c:pt>
                <c:pt idx="782">
                  <c:v>44957</c:v>
                </c:pt>
                <c:pt idx="783">
                  <c:v>44964</c:v>
                </c:pt>
                <c:pt idx="784">
                  <c:v>44971</c:v>
                </c:pt>
                <c:pt idx="785">
                  <c:v>44978</c:v>
                </c:pt>
                <c:pt idx="786">
                  <c:v>44985</c:v>
                </c:pt>
                <c:pt idx="787">
                  <c:v>44992</c:v>
                </c:pt>
                <c:pt idx="788">
                  <c:v>44999</c:v>
                </c:pt>
                <c:pt idx="789">
                  <c:v>45006</c:v>
                </c:pt>
                <c:pt idx="790">
                  <c:v>45013</c:v>
                </c:pt>
                <c:pt idx="791">
                  <c:v>45020</c:v>
                </c:pt>
                <c:pt idx="792">
                  <c:v>45027</c:v>
                </c:pt>
                <c:pt idx="793">
                  <c:v>45034</c:v>
                </c:pt>
                <c:pt idx="794">
                  <c:v>45041</c:v>
                </c:pt>
                <c:pt idx="795">
                  <c:v>45048</c:v>
                </c:pt>
                <c:pt idx="796">
                  <c:v>45055</c:v>
                </c:pt>
                <c:pt idx="797">
                  <c:v>45062</c:v>
                </c:pt>
                <c:pt idx="798">
                  <c:v>45069</c:v>
                </c:pt>
                <c:pt idx="799">
                  <c:v>45076</c:v>
                </c:pt>
                <c:pt idx="800">
                  <c:v>45083</c:v>
                </c:pt>
                <c:pt idx="801">
                  <c:v>45090</c:v>
                </c:pt>
                <c:pt idx="802">
                  <c:v>45097</c:v>
                </c:pt>
                <c:pt idx="803">
                  <c:v>45104</c:v>
                </c:pt>
                <c:pt idx="804">
                  <c:v>45111</c:v>
                </c:pt>
                <c:pt idx="805">
                  <c:v>45118</c:v>
                </c:pt>
                <c:pt idx="806">
                  <c:v>45125</c:v>
                </c:pt>
                <c:pt idx="807">
                  <c:v>45132</c:v>
                </c:pt>
                <c:pt idx="808">
                  <c:v>45139</c:v>
                </c:pt>
                <c:pt idx="809">
                  <c:v>45146</c:v>
                </c:pt>
                <c:pt idx="810">
                  <c:v>45153</c:v>
                </c:pt>
                <c:pt idx="811">
                  <c:v>45160</c:v>
                </c:pt>
                <c:pt idx="812">
                  <c:v>45167</c:v>
                </c:pt>
                <c:pt idx="813">
                  <c:v>45174</c:v>
                </c:pt>
                <c:pt idx="814">
                  <c:v>45181</c:v>
                </c:pt>
                <c:pt idx="815">
                  <c:v>45188</c:v>
                </c:pt>
                <c:pt idx="816">
                  <c:v>45195</c:v>
                </c:pt>
                <c:pt idx="817">
                  <c:v>45202</c:v>
                </c:pt>
                <c:pt idx="818">
                  <c:v>45209</c:v>
                </c:pt>
                <c:pt idx="819">
                  <c:v>45216</c:v>
                </c:pt>
                <c:pt idx="820">
                  <c:v>45223</c:v>
                </c:pt>
                <c:pt idx="821">
                  <c:v>45230</c:v>
                </c:pt>
                <c:pt idx="822">
                  <c:v>45237</c:v>
                </c:pt>
                <c:pt idx="823">
                  <c:v>45244</c:v>
                </c:pt>
                <c:pt idx="824">
                  <c:v>45251</c:v>
                </c:pt>
                <c:pt idx="825">
                  <c:v>45258</c:v>
                </c:pt>
                <c:pt idx="826">
                  <c:v>45265</c:v>
                </c:pt>
                <c:pt idx="827">
                  <c:v>45272</c:v>
                </c:pt>
                <c:pt idx="828">
                  <c:v>45279</c:v>
                </c:pt>
                <c:pt idx="829">
                  <c:v>45286</c:v>
                </c:pt>
                <c:pt idx="830">
                  <c:v>45293</c:v>
                </c:pt>
                <c:pt idx="831">
                  <c:v>45300</c:v>
                </c:pt>
                <c:pt idx="832">
                  <c:v>45307</c:v>
                </c:pt>
                <c:pt idx="833">
                  <c:v>45314</c:v>
                </c:pt>
                <c:pt idx="834">
                  <c:v>45321</c:v>
                </c:pt>
                <c:pt idx="835">
                  <c:v>45328</c:v>
                </c:pt>
                <c:pt idx="836">
                  <c:v>45335</c:v>
                </c:pt>
                <c:pt idx="837">
                  <c:v>45342</c:v>
                </c:pt>
                <c:pt idx="838">
                  <c:v>45349</c:v>
                </c:pt>
                <c:pt idx="839">
                  <c:v>45356</c:v>
                </c:pt>
                <c:pt idx="840">
                  <c:v>45363</c:v>
                </c:pt>
                <c:pt idx="841">
                  <c:v>45370</c:v>
                </c:pt>
                <c:pt idx="842">
                  <c:v>45377</c:v>
                </c:pt>
                <c:pt idx="843">
                  <c:v>45384</c:v>
                </c:pt>
                <c:pt idx="844">
                  <c:v>45391</c:v>
                </c:pt>
                <c:pt idx="845">
                  <c:v>45398</c:v>
                </c:pt>
                <c:pt idx="846">
                  <c:v>45405</c:v>
                </c:pt>
                <c:pt idx="847">
                  <c:v>45412</c:v>
                </c:pt>
                <c:pt idx="848">
                  <c:v>45419</c:v>
                </c:pt>
                <c:pt idx="849">
                  <c:v>45426</c:v>
                </c:pt>
                <c:pt idx="850">
                  <c:v>45433</c:v>
                </c:pt>
                <c:pt idx="851">
                  <c:v>45440</c:v>
                </c:pt>
                <c:pt idx="852">
                  <c:v>45447</c:v>
                </c:pt>
                <c:pt idx="853">
                  <c:v>45454</c:v>
                </c:pt>
                <c:pt idx="854">
                  <c:v>45461</c:v>
                </c:pt>
                <c:pt idx="855">
                  <c:v>45468</c:v>
                </c:pt>
                <c:pt idx="856">
                  <c:v>45475</c:v>
                </c:pt>
                <c:pt idx="857">
                  <c:v>45482</c:v>
                </c:pt>
                <c:pt idx="858">
                  <c:v>45489</c:v>
                </c:pt>
                <c:pt idx="859">
                  <c:v>45496</c:v>
                </c:pt>
                <c:pt idx="860">
                  <c:v>45503</c:v>
                </c:pt>
                <c:pt idx="861">
                  <c:v>45510</c:v>
                </c:pt>
                <c:pt idx="862">
                  <c:v>45517</c:v>
                </c:pt>
                <c:pt idx="863">
                  <c:v>45524</c:v>
                </c:pt>
                <c:pt idx="864">
                  <c:v>45531</c:v>
                </c:pt>
                <c:pt idx="865">
                  <c:v>45538</c:v>
                </c:pt>
                <c:pt idx="866">
                  <c:v>45545</c:v>
                </c:pt>
                <c:pt idx="867">
                  <c:v>45552</c:v>
                </c:pt>
                <c:pt idx="868">
                  <c:v>45559</c:v>
                </c:pt>
                <c:pt idx="869">
                  <c:v>45566</c:v>
                </c:pt>
                <c:pt idx="870">
                  <c:v>45573</c:v>
                </c:pt>
                <c:pt idx="871">
                  <c:v>45580</c:v>
                </c:pt>
                <c:pt idx="872">
                  <c:v>45587</c:v>
                </c:pt>
                <c:pt idx="873">
                  <c:v>45594</c:v>
                </c:pt>
                <c:pt idx="874">
                  <c:v>45601</c:v>
                </c:pt>
                <c:pt idx="875">
                  <c:v>45608</c:v>
                </c:pt>
                <c:pt idx="876">
                  <c:v>45615</c:v>
                </c:pt>
                <c:pt idx="877">
                  <c:v>45622</c:v>
                </c:pt>
                <c:pt idx="878">
                  <c:v>45629</c:v>
                </c:pt>
                <c:pt idx="879">
                  <c:v>45636</c:v>
                </c:pt>
                <c:pt idx="880">
                  <c:v>45643</c:v>
                </c:pt>
                <c:pt idx="881">
                  <c:v>45650</c:v>
                </c:pt>
                <c:pt idx="882">
                  <c:v>45657</c:v>
                </c:pt>
                <c:pt idx="883">
                  <c:v>45664</c:v>
                </c:pt>
                <c:pt idx="884">
                  <c:v>45671</c:v>
                </c:pt>
                <c:pt idx="885">
                  <c:v>45678</c:v>
                </c:pt>
                <c:pt idx="886">
                  <c:v>45685</c:v>
                </c:pt>
                <c:pt idx="887">
                  <c:v>45692</c:v>
                </c:pt>
                <c:pt idx="888">
                  <c:v>45699</c:v>
                </c:pt>
                <c:pt idx="889">
                  <c:v>45706</c:v>
                </c:pt>
                <c:pt idx="890">
                  <c:v>45713</c:v>
                </c:pt>
                <c:pt idx="891">
                  <c:v>45720</c:v>
                </c:pt>
                <c:pt idx="892">
                  <c:v>45727</c:v>
                </c:pt>
                <c:pt idx="893">
                  <c:v>45734</c:v>
                </c:pt>
                <c:pt idx="894">
                  <c:v>45741</c:v>
                </c:pt>
                <c:pt idx="895">
                  <c:v>45748</c:v>
                </c:pt>
                <c:pt idx="896">
                  <c:v>45755</c:v>
                </c:pt>
                <c:pt idx="897">
                  <c:v>45762</c:v>
                </c:pt>
                <c:pt idx="898">
                  <c:v>45769</c:v>
                </c:pt>
                <c:pt idx="899">
                  <c:v>45776</c:v>
                </c:pt>
                <c:pt idx="900">
                  <c:v>45783</c:v>
                </c:pt>
                <c:pt idx="901">
                  <c:v>45790</c:v>
                </c:pt>
                <c:pt idx="902">
                  <c:v>45797</c:v>
                </c:pt>
                <c:pt idx="903">
                  <c:v>45804</c:v>
                </c:pt>
                <c:pt idx="904">
                  <c:v>45811</c:v>
                </c:pt>
                <c:pt idx="905">
                  <c:v>45818</c:v>
                </c:pt>
                <c:pt idx="906">
                  <c:v>45825</c:v>
                </c:pt>
                <c:pt idx="907">
                  <c:v>45832</c:v>
                </c:pt>
                <c:pt idx="908">
                  <c:v>45839</c:v>
                </c:pt>
                <c:pt idx="909">
                  <c:v>45846</c:v>
                </c:pt>
                <c:pt idx="910">
                  <c:v>45853</c:v>
                </c:pt>
                <c:pt idx="911">
                  <c:v>45860</c:v>
                </c:pt>
                <c:pt idx="912">
                  <c:v>45867</c:v>
                </c:pt>
                <c:pt idx="913">
                  <c:v>45874</c:v>
                </c:pt>
                <c:pt idx="914">
                  <c:v>45881</c:v>
                </c:pt>
                <c:pt idx="915">
                  <c:v>45888</c:v>
                </c:pt>
                <c:pt idx="916">
                  <c:v>45895</c:v>
                </c:pt>
                <c:pt idx="917">
                  <c:v>45902</c:v>
                </c:pt>
                <c:pt idx="918">
                  <c:v>45909</c:v>
                </c:pt>
                <c:pt idx="919">
                  <c:v>45916</c:v>
                </c:pt>
                <c:pt idx="920">
                  <c:v>45923</c:v>
                </c:pt>
                <c:pt idx="921">
                  <c:v>45930</c:v>
                </c:pt>
                <c:pt idx="922">
                  <c:v>45937</c:v>
                </c:pt>
                <c:pt idx="923">
                  <c:v>45944</c:v>
                </c:pt>
                <c:pt idx="924">
                  <c:v>45951</c:v>
                </c:pt>
                <c:pt idx="925">
                  <c:v>45958</c:v>
                </c:pt>
                <c:pt idx="926">
                  <c:v>45965</c:v>
                </c:pt>
                <c:pt idx="927">
                  <c:v>45972</c:v>
                </c:pt>
                <c:pt idx="928">
                  <c:v>45979</c:v>
                </c:pt>
                <c:pt idx="929">
                  <c:v>45986</c:v>
                </c:pt>
                <c:pt idx="930">
                  <c:v>45993</c:v>
                </c:pt>
                <c:pt idx="931">
                  <c:v>46000</c:v>
                </c:pt>
              </c:numCache>
            </c:numRef>
          </c:cat>
          <c:val>
            <c:numRef>
              <c:f>Sheet1!$L$123:$L$1231</c:f>
              <c:numCache>
                <c:formatCode>0%</c:formatCode>
                <c:ptCount val="1109"/>
                <c:pt idx="0">
                  <c:v>0.13470017636684317</c:v>
                </c:pt>
                <c:pt idx="1">
                  <c:v>0.15089740748947489</c:v>
                </c:pt>
                <c:pt idx="2">
                  <c:v>6.9793287397199366E-2</c:v>
                </c:pt>
                <c:pt idx="3">
                  <c:v>0.11255793423085425</c:v>
                </c:pt>
                <c:pt idx="4">
                  <c:v>9.8768100280959503E-2</c:v>
                </c:pt>
                <c:pt idx="5">
                  <c:v>0.12726875136671767</c:v>
                </c:pt>
                <c:pt idx="6">
                  <c:v>0.12781629116117865</c:v>
                </c:pt>
                <c:pt idx="7">
                  <c:v>0.1655500324184136</c:v>
                </c:pt>
                <c:pt idx="8">
                  <c:v>0.14024127531236541</c:v>
                </c:pt>
                <c:pt idx="9">
                  <c:v>0.13817330210772827</c:v>
                </c:pt>
                <c:pt idx="10">
                  <c:v>0.12005856515373359</c:v>
                </c:pt>
                <c:pt idx="11">
                  <c:v>0.11841004184100412</c:v>
                </c:pt>
                <c:pt idx="12">
                  <c:v>9.6385542168674565E-2</c:v>
                </c:pt>
                <c:pt idx="13">
                  <c:v>6.2783038287361093E-2</c:v>
                </c:pt>
                <c:pt idx="14">
                  <c:v>6.8808290155440321E-2</c:v>
                </c:pt>
                <c:pt idx="15">
                  <c:v>5.8302430984754627E-2</c:v>
                </c:pt>
                <c:pt idx="16">
                  <c:v>8.1041666666666679E-2</c:v>
                </c:pt>
                <c:pt idx="17">
                  <c:v>8.0923653006032659E-2</c:v>
                </c:pt>
                <c:pt idx="18">
                  <c:v>4.4918699186991873E-2</c:v>
                </c:pt>
                <c:pt idx="19">
                  <c:v>5.9358841778696991E-2</c:v>
                </c:pt>
                <c:pt idx="20">
                  <c:v>5.5784273363524095E-2</c:v>
                </c:pt>
                <c:pt idx="21">
                  <c:v>5.3314121037464135E-2</c:v>
                </c:pt>
                <c:pt idx="22">
                  <c:v>3.8793969849246324E-2</c:v>
                </c:pt>
                <c:pt idx="23">
                  <c:v>1.3913734843967518E-2</c:v>
                </c:pt>
                <c:pt idx="24">
                  <c:v>2.1031746031745957E-2</c:v>
                </c:pt>
                <c:pt idx="25">
                  <c:v>2.5819265143991466E-3</c:v>
                </c:pt>
                <c:pt idx="26">
                  <c:v>-6.6265060240964235E-3</c:v>
                </c:pt>
                <c:pt idx="27">
                  <c:v>-1.2326043737574621E-2</c:v>
                </c:pt>
                <c:pt idx="28">
                  <c:v>-3.0010070493454166E-2</c:v>
                </c:pt>
                <c:pt idx="29">
                  <c:v>-3.6518563603165077E-2</c:v>
                </c:pt>
                <c:pt idx="30">
                  <c:v>-4.8878205128205066E-2</c:v>
                </c:pt>
                <c:pt idx="31">
                  <c:v>-7.9913180741909895E-2</c:v>
                </c:pt>
                <c:pt idx="32">
                  <c:v>-0.13186599142968458</c:v>
                </c:pt>
                <c:pt idx="33">
                  <c:v>-0.13685030173252866</c:v>
                </c:pt>
                <c:pt idx="34">
                  <c:v>-0.10956022944550681</c:v>
                </c:pt>
                <c:pt idx="35">
                  <c:v>-0.15448224018041723</c:v>
                </c:pt>
                <c:pt idx="36">
                  <c:v>-0.18681732580037669</c:v>
                </c:pt>
                <c:pt idx="37">
                  <c:v>-0.17643678160919529</c:v>
                </c:pt>
                <c:pt idx="38">
                  <c:v>-0.21349599695005717</c:v>
                </c:pt>
                <c:pt idx="39">
                  <c:v>-0.28908002991772619</c:v>
                </c:pt>
                <c:pt idx="40">
                  <c:v>-0.23016022620169652</c:v>
                </c:pt>
                <c:pt idx="41">
                  <c:v>-0.29513165372229588</c:v>
                </c:pt>
                <c:pt idx="42">
                  <c:v>-0.28606219557886847</c:v>
                </c:pt>
                <c:pt idx="43">
                  <c:v>-0.25746127691726473</c:v>
                </c:pt>
                <c:pt idx="44">
                  <c:v>-0.22163288501610157</c:v>
                </c:pt>
                <c:pt idx="45">
                  <c:v>-0.20356727413726261</c:v>
                </c:pt>
                <c:pt idx="46">
                  <c:v>-0.15786350148367956</c:v>
                </c:pt>
                <c:pt idx="47">
                  <c:v>-0.15042667195872195</c:v>
                </c:pt>
                <c:pt idx="48">
                  <c:v>-0.17650451836185332</c:v>
                </c:pt>
                <c:pt idx="49">
                  <c:v>-0.23022947088943668</c:v>
                </c:pt>
                <c:pt idx="50">
                  <c:v>-0.2476644423260248</c:v>
                </c:pt>
                <c:pt idx="51">
                  <c:v>-0.21778477277198505</c:v>
                </c:pt>
                <c:pt idx="52">
                  <c:v>-0.20924810569263652</c:v>
                </c:pt>
                <c:pt idx="53">
                  <c:v>-0.28013092029264541</c:v>
                </c:pt>
                <c:pt idx="54">
                  <c:v>-0.22626220652399742</c:v>
                </c:pt>
                <c:pt idx="55">
                  <c:v>-0.29279904780797472</c:v>
                </c:pt>
                <c:pt idx="56">
                  <c:v>-0.29268292682926822</c:v>
                </c:pt>
                <c:pt idx="57">
                  <c:v>-0.32531522793404466</c:v>
                </c:pt>
                <c:pt idx="58">
                  <c:v>-0.31655781790242032</c:v>
                </c:pt>
                <c:pt idx="59">
                  <c:v>-0.33747450398664935</c:v>
                </c:pt>
                <c:pt idx="60">
                  <c:v>-0.29699603249574913</c:v>
                </c:pt>
                <c:pt idx="61">
                  <c:v>-0.34287317620650959</c:v>
                </c:pt>
                <c:pt idx="62">
                  <c:v>-0.34136321195144725</c:v>
                </c:pt>
                <c:pt idx="63">
                  <c:v>-0.34904601571268234</c:v>
                </c:pt>
                <c:pt idx="64">
                  <c:v>-0.35089048882152318</c:v>
                </c:pt>
                <c:pt idx="65">
                  <c:v>-0.33778810768932799</c:v>
                </c:pt>
                <c:pt idx="66">
                  <c:v>-0.35097925150281173</c:v>
                </c:pt>
                <c:pt idx="67">
                  <c:v>-0.33599377068327807</c:v>
                </c:pt>
                <c:pt idx="68">
                  <c:v>-0.3416843322412797</c:v>
                </c:pt>
                <c:pt idx="69">
                  <c:v>-0.32755966127790603</c:v>
                </c:pt>
                <c:pt idx="70">
                  <c:v>-0.37852557868119041</c:v>
                </c:pt>
                <c:pt idx="71">
                  <c:v>-0.36431081608746585</c:v>
                </c:pt>
                <c:pt idx="72">
                  <c:v>-0.36907779294209386</c:v>
                </c:pt>
                <c:pt idx="73">
                  <c:v>-0.36642564002345124</c:v>
                </c:pt>
                <c:pt idx="74">
                  <c:v>-0.40131578947368429</c:v>
                </c:pt>
                <c:pt idx="75">
                  <c:v>-0.39619682415212698</c:v>
                </c:pt>
                <c:pt idx="76">
                  <c:v>-0.41041585697629224</c:v>
                </c:pt>
                <c:pt idx="77">
                  <c:v>-0.39738510301109353</c:v>
                </c:pt>
                <c:pt idx="78">
                  <c:v>-0.38609258136244196</c:v>
                </c:pt>
                <c:pt idx="79">
                  <c:v>-0.40861513687600637</c:v>
                </c:pt>
                <c:pt idx="80">
                  <c:v>-0.40157807308970095</c:v>
                </c:pt>
                <c:pt idx="81">
                  <c:v>-0.38871341335017895</c:v>
                </c:pt>
                <c:pt idx="82">
                  <c:v>-0.37679022746419544</c:v>
                </c:pt>
                <c:pt idx="83">
                  <c:v>-0.47072699978554577</c:v>
                </c:pt>
                <c:pt idx="84">
                  <c:v>-0.43549472739510875</c:v>
                </c:pt>
                <c:pt idx="85">
                  <c:v>-0.43166441136671174</c:v>
                </c:pt>
                <c:pt idx="86">
                  <c:v>-0.44986042516641622</c:v>
                </c:pt>
                <c:pt idx="87">
                  <c:v>-0.47766170260057783</c:v>
                </c:pt>
                <c:pt idx="88">
                  <c:v>-0.44395553496989348</c:v>
                </c:pt>
                <c:pt idx="89">
                  <c:v>-0.4391719004419633</c:v>
                </c:pt>
                <c:pt idx="90">
                  <c:v>-0.40523509452254003</c:v>
                </c:pt>
                <c:pt idx="91">
                  <c:v>-0.36664913203577065</c:v>
                </c:pt>
                <c:pt idx="92">
                  <c:v>-0.45788442703232124</c:v>
                </c:pt>
                <c:pt idx="93">
                  <c:v>-0.38726148884708422</c:v>
                </c:pt>
                <c:pt idx="94">
                  <c:v>-0.42508527945421148</c:v>
                </c:pt>
                <c:pt idx="95">
                  <c:v>-0.44060035614347504</c:v>
                </c:pt>
                <c:pt idx="96">
                  <c:v>-0.494524215137503</c:v>
                </c:pt>
                <c:pt idx="97">
                  <c:v>-0.50219084712755602</c:v>
                </c:pt>
                <c:pt idx="98">
                  <c:v>-0.52337326755931413</c:v>
                </c:pt>
                <c:pt idx="99">
                  <c:v>-0.53702405979911227</c:v>
                </c:pt>
                <c:pt idx="100">
                  <c:v>-0.53070277842633673</c:v>
                </c:pt>
                <c:pt idx="101">
                  <c:v>-0.4572554816457256</c:v>
                </c:pt>
                <c:pt idx="102">
                  <c:v>-0.44804865686771422</c:v>
                </c:pt>
                <c:pt idx="103">
                  <c:v>-0.4517102615694164</c:v>
                </c:pt>
                <c:pt idx="104">
                  <c:v>-0.41990171990171987</c:v>
                </c:pt>
                <c:pt idx="105">
                  <c:v>-0.33618614602834973</c:v>
                </c:pt>
                <c:pt idx="106">
                  <c:v>-0.34908700322234165</c:v>
                </c:pt>
                <c:pt idx="107">
                  <c:v>-0.32230014025245446</c:v>
                </c:pt>
                <c:pt idx="108">
                  <c:v>-0.33120133481646286</c:v>
                </c:pt>
                <c:pt idx="109">
                  <c:v>-0.27630822311673386</c:v>
                </c:pt>
                <c:pt idx="110">
                  <c:v>-0.29117481731309725</c:v>
                </c:pt>
                <c:pt idx="111">
                  <c:v>-0.28379513014273716</c:v>
                </c:pt>
                <c:pt idx="112">
                  <c:v>-0.3241064230045686</c:v>
                </c:pt>
                <c:pt idx="113">
                  <c:v>-0.25362937660119556</c:v>
                </c:pt>
                <c:pt idx="114">
                  <c:v>-0.25715905869010491</c:v>
                </c:pt>
                <c:pt idx="115">
                  <c:v>-0.23275862068965514</c:v>
                </c:pt>
                <c:pt idx="116">
                  <c:v>-0.21949795680093409</c:v>
                </c:pt>
                <c:pt idx="117">
                  <c:v>-0.23223164668031593</c:v>
                </c:pt>
                <c:pt idx="118">
                  <c:v>-0.20764864057364796</c:v>
                </c:pt>
                <c:pt idx="119">
                  <c:v>-0.25505716798592792</c:v>
                </c:pt>
                <c:pt idx="120">
                  <c:v>-0.26375878220140514</c:v>
                </c:pt>
                <c:pt idx="121">
                  <c:v>-0.29192902117916431</c:v>
                </c:pt>
                <c:pt idx="122">
                  <c:v>-0.19467918622848202</c:v>
                </c:pt>
                <c:pt idx="123">
                  <c:v>-0.23249385749385743</c:v>
                </c:pt>
                <c:pt idx="124">
                  <c:v>-0.21106304079110016</c:v>
                </c:pt>
                <c:pt idx="125">
                  <c:v>-0.2242442936458976</c:v>
                </c:pt>
                <c:pt idx="126">
                  <c:v>-0.15837104072398178</c:v>
                </c:pt>
                <c:pt idx="127">
                  <c:v>-0.13019480519480531</c:v>
                </c:pt>
                <c:pt idx="128">
                  <c:v>-0.10975609756097549</c:v>
                </c:pt>
                <c:pt idx="129">
                  <c:v>-0.10124917817225509</c:v>
                </c:pt>
                <c:pt idx="130">
                  <c:v>-8.8903523213697766E-2</c:v>
                </c:pt>
                <c:pt idx="131">
                  <c:v>-4.4247787610620648E-3</c:v>
                </c:pt>
                <c:pt idx="132">
                  <c:v>1.0409437890352979E-3</c:v>
                </c:pt>
                <c:pt idx="133">
                  <c:v>-2.2046159145711397E-2</c:v>
                </c:pt>
                <c:pt idx="134">
                  <c:v>-5.3396417708685306E-2</c:v>
                </c:pt>
                <c:pt idx="135">
                  <c:v>0.17463533225283623</c:v>
                </c:pt>
                <c:pt idx="136">
                  <c:v>0.15063593004769471</c:v>
                </c:pt>
                <c:pt idx="137">
                  <c:v>0.18134920634920637</c:v>
                </c:pt>
                <c:pt idx="138">
                  <c:v>0.17720530835284931</c:v>
                </c:pt>
                <c:pt idx="139">
                  <c:v>0.31914893617021267</c:v>
                </c:pt>
                <c:pt idx="140">
                  <c:v>0.33985839233652659</c:v>
                </c:pt>
                <c:pt idx="141">
                  <c:v>0.33637494815429281</c:v>
                </c:pt>
                <c:pt idx="142">
                  <c:v>0.30440097799511001</c:v>
                </c:pt>
                <c:pt idx="143">
                  <c:v>0.35340531561461797</c:v>
                </c:pt>
                <c:pt idx="144">
                  <c:v>0.5307136404697379</c:v>
                </c:pt>
                <c:pt idx="145">
                  <c:v>0.48377192982456152</c:v>
                </c:pt>
                <c:pt idx="146">
                  <c:v>0.48699224098585137</c:v>
                </c:pt>
                <c:pt idx="147">
                  <c:v>0.47112323783537979</c:v>
                </c:pt>
                <c:pt idx="148">
                  <c:v>0.55560905151661055</c:v>
                </c:pt>
                <c:pt idx="149">
                  <c:v>0.62004889975550137</c:v>
                </c:pt>
                <c:pt idx="150">
                  <c:v>0.63824544110399217</c:v>
                </c:pt>
                <c:pt idx="151">
                  <c:v>0.65287588294651866</c:v>
                </c:pt>
                <c:pt idx="152">
                  <c:v>0.62786069651741294</c:v>
                </c:pt>
                <c:pt idx="153">
                  <c:v>0.5388107126645485</c:v>
                </c:pt>
                <c:pt idx="154">
                  <c:v>0.5133149678604223</c:v>
                </c:pt>
                <c:pt idx="155">
                  <c:v>0.58440366972477054</c:v>
                </c:pt>
                <c:pt idx="156">
                  <c:v>0.55781448538754752</c:v>
                </c:pt>
                <c:pt idx="157">
                  <c:v>0.52618855761482664</c:v>
                </c:pt>
                <c:pt idx="158">
                  <c:v>0.54826732673267342</c:v>
                </c:pt>
                <c:pt idx="159">
                  <c:v>0.53973509933774855</c:v>
                </c:pt>
                <c:pt idx="160">
                  <c:v>0.56507276507276516</c:v>
                </c:pt>
                <c:pt idx="161">
                  <c:v>0.53158522050059598</c:v>
                </c:pt>
                <c:pt idx="162">
                  <c:v>0.53211736716891367</c:v>
                </c:pt>
                <c:pt idx="163">
                  <c:v>0.51426338413442751</c:v>
                </c:pt>
                <c:pt idx="164">
                  <c:v>0.56580516898608346</c:v>
                </c:pt>
                <c:pt idx="165">
                  <c:v>0.4843630816170863</c:v>
                </c:pt>
                <c:pt idx="166">
                  <c:v>0.51106870229007639</c:v>
                </c:pt>
                <c:pt idx="167">
                  <c:v>0.50374531835205993</c:v>
                </c:pt>
                <c:pt idx="168">
                  <c:v>0.49027673896783841</c:v>
                </c:pt>
                <c:pt idx="169">
                  <c:v>0.5432380952380953</c:v>
                </c:pt>
                <c:pt idx="170">
                  <c:v>0.56674208144796379</c:v>
                </c:pt>
                <c:pt idx="171">
                  <c:v>0.59110586383313657</c:v>
                </c:pt>
                <c:pt idx="172">
                  <c:v>0.58767395626242536</c:v>
                </c:pt>
                <c:pt idx="173">
                  <c:v>0.60873080032336291</c:v>
                </c:pt>
                <c:pt idx="174">
                  <c:v>0.53012048192771077</c:v>
                </c:pt>
                <c:pt idx="175">
                  <c:v>0.59783913565426161</c:v>
                </c:pt>
                <c:pt idx="176">
                  <c:v>0.54249902075989054</c:v>
                </c:pt>
                <c:pt idx="177">
                  <c:v>0.55506958250497007</c:v>
                </c:pt>
                <c:pt idx="178">
                  <c:v>0.49692780337941622</c:v>
                </c:pt>
                <c:pt idx="179">
                  <c:v>0.47853676745054119</c:v>
                </c:pt>
                <c:pt idx="180">
                  <c:v>0.41318030359126245</c:v>
                </c:pt>
                <c:pt idx="181">
                  <c:v>0.396854425749817</c:v>
                </c:pt>
                <c:pt idx="182">
                  <c:v>0.40007228044813892</c:v>
                </c:pt>
                <c:pt idx="183">
                  <c:v>0.28547008547008557</c:v>
                </c:pt>
                <c:pt idx="184">
                  <c:v>0.29012131715771239</c:v>
                </c:pt>
                <c:pt idx="185">
                  <c:v>0.32969355406833389</c:v>
                </c:pt>
                <c:pt idx="186">
                  <c:v>0.34808996786861823</c:v>
                </c:pt>
                <c:pt idx="187">
                  <c:v>0.30458778889272153</c:v>
                </c:pt>
                <c:pt idx="188">
                  <c:v>0.27772020725388602</c:v>
                </c:pt>
                <c:pt idx="189">
                  <c:v>0.20356063150822989</c:v>
                </c:pt>
                <c:pt idx="190">
                  <c:v>0.19529177718832891</c:v>
                </c:pt>
                <c:pt idx="191">
                  <c:v>0.15064516129032257</c:v>
                </c:pt>
                <c:pt idx="192">
                  <c:v>7.5225365247124643E-2</c:v>
                </c:pt>
                <c:pt idx="193">
                  <c:v>0.12942271880819356</c:v>
                </c:pt>
                <c:pt idx="194">
                  <c:v>0.14120587316463595</c:v>
                </c:pt>
                <c:pt idx="195">
                  <c:v>0.14575023013194244</c:v>
                </c:pt>
                <c:pt idx="196">
                  <c:v>7.4948362348775444E-2</c:v>
                </c:pt>
                <c:pt idx="197">
                  <c:v>8.8383091930239521E-2</c:v>
                </c:pt>
                <c:pt idx="198">
                  <c:v>0.11694290976058919</c:v>
                </c:pt>
                <c:pt idx="199">
                  <c:v>0.11746522411128302</c:v>
                </c:pt>
                <c:pt idx="200">
                  <c:v>0.10399257195914591</c:v>
                </c:pt>
                <c:pt idx="201">
                  <c:v>0.13945064895864756</c:v>
                </c:pt>
                <c:pt idx="202">
                  <c:v>0.11221419975932623</c:v>
                </c:pt>
                <c:pt idx="203">
                  <c:v>0.13553113553113572</c:v>
                </c:pt>
                <c:pt idx="204">
                  <c:v>0.13416870415647919</c:v>
                </c:pt>
                <c:pt idx="205">
                  <c:v>8.9380530973451222E-2</c:v>
                </c:pt>
                <c:pt idx="206">
                  <c:v>9.8907766990291357E-2</c:v>
                </c:pt>
                <c:pt idx="207">
                  <c:v>5.2113491603937412E-2</c:v>
                </c:pt>
                <c:pt idx="208">
                  <c:v>-8.7003806416531271E-3</c:v>
                </c:pt>
                <c:pt idx="209">
                  <c:v>-3.5374868004223847E-2</c:v>
                </c:pt>
                <c:pt idx="210">
                  <c:v>-1.3855582200905991E-2</c:v>
                </c:pt>
                <c:pt idx="211">
                  <c:v>-1.2634408602150593E-2</c:v>
                </c:pt>
                <c:pt idx="212">
                  <c:v>-1.4346439957491963E-2</c:v>
                </c:pt>
                <c:pt idx="213">
                  <c:v>-3.6835278858625142E-2</c:v>
                </c:pt>
                <c:pt idx="214">
                  <c:v>-6.0300207039337472E-2</c:v>
                </c:pt>
                <c:pt idx="215">
                  <c:v>-6.2193548387096786E-2</c:v>
                </c:pt>
                <c:pt idx="216">
                  <c:v>-7.0594210259014689E-2</c:v>
                </c:pt>
                <c:pt idx="217">
                  <c:v>-5.2158273381294973E-2</c:v>
                </c:pt>
                <c:pt idx="218">
                  <c:v>-7.527153321545843E-2</c:v>
                </c:pt>
                <c:pt idx="219">
                  <c:v>-0.12278953922789537</c:v>
                </c:pt>
                <c:pt idx="220">
                  <c:v>-0.12496863237139266</c:v>
                </c:pt>
                <c:pt idx="221">
                  <c:v>-0.13576894593927435</c:v>
                </c:pt>
                <c:pt idx="222">
                  <c:v>-0.17472924187725636</c:v>
                </c:pt>
                <c:pt idx="223">
                  <c:v>-0.17338609943111549</c:v>
                </c:pt>
                <c:pt idx="224">
                  <c:v>-0.17931379914850987</c:v>
                </c:pt>
                <c:pt idx="225">
                  <c:v>-0.17889447236180911</c:v>
                </c:pt>
                <c:pt idx="226">
                  <c:v>-0.18110236220472431</c:v>
                </c:pt>
                <c:pt idx="227">
                  <c:v>-0.23165539694465309</c:v>
                </c:pt>
                <c:pt idx="228">
                  <c:v>-0.21762315896394113</c:v>
                </c:pt>
                <c:pt idx="229">
                  <c:v>-0.20710815648171821</c:v>
                </c:pt>
                <c:pt idx="230">
                  <c:v>-0.22139558748075938</c:v>
                </c:pt>
                <c:pt idx="231">
                  <c:v>-0.2451401161322897</c:v>
                </c:pt>
                <c:pt idx="232">
                  <c:v>-0.23604925334031968</c:v>
                </c:pt>
                <c:pt idx="233">
                  <c:v>-0.24587588373919878</c:v>
                </c:pt>
                <c:pt idx="234">
                  <c:v>-0.27361899845121318</c:v>
                </c:pt>
                <c:pt idx="235">
                  <c:v>-0.27659574468085102</c:v>
                </c:pt>
                <c:pt idx="236">
                  <c:v>-0.27646426652337452</c:v>
                </c:pt>
                <c:pt idx="237">
                  <c:v>-0.29854304635761586</c:v>
                </c:pt>
                <c:pt idx="238">
                  <c:v>-0.29025423728813549</c:v>
                </c:pt>
                <c:pt idx="239">
                  <c:v>-0.28556319407720787</c:v>
                </c:pt>
                <c:pt idx="240">
                  <c:v>-0.30116247634495807</c:v>
                </c:pt>
                <c:pt idx="241">
                  <c:v>-0.26569913480323759</c:v>
                </c:pt>
                <c:pt idx="242">
                  <c:v>-0.25908460471567274</c:v>
                </c:pt>
                <c:pt idx="243">
                  <c:v>-0.25679843005326619</c:v>
                </c:pt>
                <c:pt idx="244">
                  <c:v>-0.2723330442324372</c:v>
                </c:pt>
                <c:pt idx="245">
                  <c:v>-0.32069249793899424</c:v>
                </c:pt>
                <c:pt idx="246">
                  <c:v>-0.3115247741582261</c:v>
                </c:pt>
                <c:pt idx="247">
                  <c:v>-0.32940546331012321</c:v>
                </c:pt>
                <c:pt idx="248">
                  <c:v>-0.33982981059566297</c:v>
                </c:pt>
                <c:pt idx="249">
                  <c:v>-0.37452471482889738</c:v>
                </c:pt>
                <c:pt idx="250">
                  <c:v>-0.37702665567463589</c:v>
                </c:pt>
                <c:pt idx="251">
                  <c:v>-0.36874135546334719</c:v>
                </c:pt>
                <c:pt idx="252">
                  <c:v>-0.33922063358564614</c:v>
                </c:pt>
                <c:pt idx="253">
                  <c:v>-0.34092715231788073</c:v>
                </c:pt>
                <c:pt idx="254">
                  <c:v>-0.33405463889640241</c:v>
                </c:pt>
                <c:pt idx="255">
                  <c:v>-0.32983870967741946</c:v>
                </c:pt>
                <c:pt idx="256">
                  <c:v>-0.33063864187550518</c:v>
                </c:pt>
                <c:pt idx="257">
                  <c:v>-0.30923368535066342</c:v>
                </c:pt>
                <c:pt idx="258">
                  <c:v>-0.30231916068470455</c:v>
                </c:pt>
                <c:pt idx="259">
                  <c:v>-0.29554210236653822</c:v>
                </c:pt>
                <c:pt idx="260">
                  <c:v>-0.2808557323093801</c:v>
                </c:pt>
                <c:pt idx="261">
                  <c:v>-0.25424192665571976</c:v>
                </c:pt>
                <c:pt idx="262">
                  <c:v>-0.27857335855174281</c:v>
                </c:pt>
                <c:pt idx="263">
                  <c:v>-0.27416280969234963</c:v>
                </c:pt>
                <c:pt idx="264">
                  <c:v>-0.27762803234501343</c:v>
                </c:pt>
                <c:pt idx="265">
                  <c:v>-0.29194721249663347</c:v>
                </c:pt>
                <c:pt idx="266">
                  <c:v>-0.25970806940236846</c:v>
                </c:pt>
                <c:pt idx="267">
                  <c:v>-0.26114474408365429</c:v>
                </c:pt>
                <c:pt idx="268">
                  <c:v>-0.27486338797814214</c:v>
                </c:pt>
                <c:pt idx="269">
                  <c:v>-0.28327460016264572</c:v>
                </c:pt>
                <c:pt idx="270">
                  <c:v>-0.26222343621961208</c:v>
                </c:pt>
                <c:pt idx="271">
                  <c:v>-0.22260079500283925</c:v>
                </c:pt>
                <c:pt idx="272">
                  <c:v>-0.21049612847720101</c:v>
                </c:pt>
                <c:pt idx="273">
                  <c:v>-0.22850614110254208</c:v>
                </c:pt>
                <c:pt idx="274">
                  <c:v>-0.18635170603674533</c:v>
                </c:pt>
                <c:pt idx="275">
                  <c:v>-0.16906044284859367</c:v>
                </c:pt>
                <c:pt idx="276">
                  <c:v>-0.1605126640219714</c:v>
                </c:pt>
                <c:pt idx="277">
                  <c:v>-0.1655446756425949</c:v>
                </c:pt>
                <c:pt idx="278">
                  <c:v>-0.15570719602977678</c:v>
                </c:pt>
                <c:pt idx="279">
                  <c:v>-8.1812255541069079E-2</c:v>
                </c:pt>
                <c:pt idx="280">
                  <c:v>-7.5624797143784561E-2</c:v>
                </c:pt>
                <c:pt idx="281">
                  <c:v>-7.5459529184134122E-2</c:v>
                </c:pt>
                <c:pt idx="282">
                  <c:v>-8.0065897858319746E-2</c:v>
                </c:pt>
                <c:pt idx="283">
                  <c:v>-4.5819397993311028E-2</c:v>
                </c:pt>
                <c:pt idx="284">
                  <c:v>-4.2524005486968441E-2</c:v>
                </c:pt>
                <c:pt idx="285">
                  <c:v>-4.5138888888888173E-3</c:v>
                </c:pt>
                <c:pt idx="286">
                  <c:v>1.2437810945273631E-2</c:v>
                </c:pt>
                <c:pt idx="287">
                  <c:v>6.25E-2</c:v>
                </c:pt>
                <c:pt idx="288">
                  <c:v>7.7608614927590081E-2</c:v>
                </c:pt>
                <c:pt idx="289">
                  <c:v>9.138972809667667E-2</c:v>
                </c:pt>
                <c:pt idx="290">
                  <c:v>9.1791044776119435E-2</c:v>
                </c:pt>
                <c:pt idx="291">
                  <c:v>7.9570688378978405E-2</c:v>
                </c:pt>
                <c:pt idx="292">
                  <c:v>0.12456479690522237</c:v>
                </c:pt>
                <c:pt idx="293">
                  <c:v>0.11098441657164582</c:v>
                </c:pt>
                <c:pt idx="294">
                  <c:v>0.10520404342942724</c:v>
                </c:pt>
                <c:pt idx="295">
                  <c:v>0.12485854394568108</c:v>
                </c:pt>
                <c:pt idx="296">
                  <c:v>0.20937624155740964</c:v>
                </c:pt>
                <c:pt idx="297">
                  <c:v>0.23220064724919087</c:v>
                </c:pt>
                <c:pt idx="298">
                  <c:v>0.19801192842942328</c:v>
                </c:pt>
                <c:pt idx="299">
                  <c:v>0.21725239616613412</c:v>
                </c:pt>
                <c:pt idx="300">
                  <c:v>0.27525987525987539</c:v>
                </c:pt>
                <c:pt idx="301">
                  <c:v>0.32870169344333489</c:v>
                </c:pt>
                <c:pt idx="302">
                  <c:v>0.34406704896338791</c:v>
                </c:pt>
                <c:pt idx="303">
                  <c:v>0.34355828220858897</c:v>
                </c:pt>
                <c:pt idx="304">
                  <c:v>0.30547305897327104</c:v>
                </c:pt>
                <c:pt idx="305">
                  <c:v>0.12660771704180052</c:v>
                </c:pt>
                <c:pt idx="306">
                  <c:v>0.14541023558082844</c:v>
                </c:pt>
                <c:pt idx="307">
                  <c:v>0.12555154432410753</c:v>
                </c:pt>
                <c:pt idx="308">
                  <c:v>0.12600644122383264</c:v>
                </c:pt>
                <c:pt idx="309">
                  <c:v>0.15484123872990985</c:v>
                </c:pt>
                <c:pt idx="310">
                  <c:v>0.14681440443213289</c:v>
                </c:pt>
                <c:pt idx="311">
                  <c:v>0.13945312499999996</c:v>
                </c:pt>
                <c:pt idx="312">
                  <c:v>9.6491228070175517E-2</c:v>
                </c:pt>
                <c:pt idx="313">
                  <c:v>7.1192660550458697E-2</c:v>
                </c:pt>
                <c:pt idx="314">
                  <c:v>8.8764044943820286E-2</c:v>
                </c:pt>
                <c:pt idx="315">
                  <c:v>0.10540135033758435</c:v>
                </c:pt>
                <c:pt idx="316">
                  <c:v>0.10783582089552235</c:v>
                </c:pt>
                <c:pt idx="317">
                  <c:v>0.13008748573602125</c:v>
                </c:pt>
                <c:pt idx="318">
                  <c:v>0.14694940476190466</c:v>
                </c:pt>
                <c:pt idx="319">
                  <c:v>0.157169459962756</c:v>
                </c:pt>
                <c:pt idx="320">
                  <c:v>0.17332328560663157</c:v>
                </c:pt>
                <c:pt idx="321">
                  <c:v>0.16641452344931928</c:v>
                </c:pt>
                <c:pt idx="322">
                  <c:v>0.17660125879303967</c:v>
                </c:pt>
                <c:pt idx="323">
                  <c:v>0.15924032140248356</c:v>
                </c:pt>
                <c:pt idx="324">
                  <c:v>0.14674900108972033</c:v>
                </c:pt>
                <c:pt idx="325">
                  <c:v>0.16216216216216206</c:v>
                </c:pt>
                <c:pt idx="326">
                  <c:v>0.15627240143369181</c:v>
                </c:pt>
                <c:pt idx="327">
                  <c:v>0.17140799423838682</c:v>
                </c:pt>
                <c:pt idx="328">
                  <c:v>0.16466739367502736</c:v>
                </c:pt>
                <c:pt idx="329">
                  <c:v>0.17271727172717277</c:v>
                </c:pt>
                <c:pt idx="330">
                  <c:v>0.16789125642909619</c:v>
                </c:pt>
                <c:pt idx="331">
                  <c:v>0.15903443379481708</c:v>
                </c:pt>
                <c:pt idx="332">
                  <c:v>0.1400983146067416</c:v>
                </c:pt>
                <c:pt idx="333">
                  <c:v>0.13428671084757582</c:v>
                </c:pt>
                <c:pt idx="334">
                  <c:v>0.16547277936962757</c:v>
                </c:pt>
                <c:pt idx="335">
                  <c:v>0.17560462670872767</c:v>
                </c:pt>
                <c:pt idx="336">
                  <c:v>0.18982808022922648</c:v>
                </c:pt>
                <c:pt idx="337">
                  <c:v>0.15137774677363103</c:v>
                </c:pt>
                <c:pt idx="338">
                  <c:v>0.1505791505791505</c:v>
                </c:pt>
                <c:pt idx="339">
                  <c:v>0.13425605536332186</c:v>
                </c:pt>
                <c:pt idx="340">
                  <c:v>0.14955203308063392</c:v>
                </c:pt>
                <c:pt idx="341">
                  <c:v>0.15121107266435985</c:v>
                </c:pt>
                <c:pt idx="342">
                  <c:v>0.13328776486671212</c:v>
                </c:pt>
                <c:pt idx="343">
                  <c:v>0.12718546451834079</c:v>
                </c:pt>
                <c:pt idx="344">
                  <c:v>0.14482284141726853</c:v>
                </c:pt>
                <c:pt idx="345">
                  <c:v>0.11973999315771477</c:v>
                </c:pt>
                <c:pt idx="346">
                  <c:v>0.10975609756097549</c:v>
                </c:pt>
                <c:pt idx="347">
                  <c:v>9.7920858484238593E-2</c:v>
                </c:pt>
                <c:pt idx="348">
                  <c:v>7.9829172141918425E-2</c:v>
                </c:pt>
                <c:pt idx="349">
                  <c:v>8.2074852265265896E-2</c:v>
                </c:pt>
                <c:pt idx="350">
                  <c:v>9.4590109525390043E-2</c:v>
                </c:pt>
                <c:pt idx="351">
                  <c:v>8.6942257217847763E-2</c:v>
                </c:pt>
                <c:pt idx="352">
                  <c:v>8.2491033583306006E-2</c:v>
                </c:pt>
                <c:pt idx="353">
                  <c:v>9.5751633986928208E-2</c:v>
                </c:pt>
                <c:pt idx="354">
                  <c:v>9.156547423695427E-2</c:v>
                </c:pt>
                <c:pt idx="355">
                  <c:v>8.8388780169602166E-2</c:v>
                </c:pt>
                <c:pt idx="356">
                  <c:v>8.1247968800779891E-2</c:v>
                </c:pt>
                <c:pt idx="357">
                  <c:v>0.20371031038173393</c:v>
                </c:pt>
                <c:pt idx="358">
                  <c:v>0.19716312056737584</c:v>
                </c:pt>
                <c:pt idx="359">
                  <c:v>0.20634354953670697</c:v>
                </c:pt>
                <c:pt idx="360">
                  <c:v>0.18019306399713986</c:v>
                </c:pt>
                <c:pt idx="361">
                  <c:v>0.13883231500339432</c:v>
                </c:pt>
                <c:pt idx="362">
                  <c:v>0.13802622498274664</c:v>
                </c:pt>
                <c:pt idx="363">
                  <c:v>0.12032910524511475</c:v>
                </c:pt>
                <c:pt idx="364">
                  <c:v>0.13008695652173907</c:v>
                </c:pt>
                <c:pt idx="365">
                  <c:v>0.11682082905104485</c:v>
                </c:pt>
                <c:pt idx="366">
                  <c:v>0.14310285517715848</c:v>
                </c:pt>
                <c:pt idx="367">
                  <c:v>0.14116050220563281</c:v>
                </c:pt>
                <c:pt idx="368">
                  <c:v>0.14078814415628171</c:v>
                </c:pt>
                <c:pt idx="369">
                  <c:v>0.13463480309660047</c:v>
                </c:pt>
                <c:pt idx="370">
                  <c:v>0.10541680181641255</c:v>
                </c:pt>
                <c:pt idx="371">
                  <c:v>5.5037013196008955E-2</c:v>
                </c:pt>
                <c:pt idx="372">
                  <c:v>4.1746949261400212E-2</c:v>
                </c:pt>
                <c:pt idx="373">
                  <c:v>8.0090791180285281E-2</c:v>
                </c:pt>
                <c:pt idx="374">
                  <c:v>4.7199496538703478E-2</c:v>
                </c:pt>
                <c:pt idx="375">
                  <c:v>5.828607435412736E-2</c:v>
                </c:pt>
                <c:pt idx="376">
                  <c:v>4.8463731390560705E-2</c:v>
                </c:pt>
                <c:pt idx="377">
                  <c:v>5.9573112456196231E-2</c:v>
                </c:pt>
                <c:pt idx="378">
                  <c:v>5.1766893986360696E-2</c:v>
                </c:pt>
                <c:pt idx="379">
                  <c:v>6.8244697202582305E-2</c:v>
                </c:pt>
                <c:pt idx="380">
                  <c:v>8.895131086142305E-2</c:v>
                </c:pt>
                <c:pt idx="381">
                  <c:v>7.879924953095685E-2</c:v>
                </c:pt>
                <c:pt idx="382">
                  <c:v>6.5429380308273055E-2</c:v>
                </c:pt>
                <c:pt idx="383">
                  <c:v>7.1056661562021395E-2</c:v>
                </c:pt>
                <c:pt idx="384">
                  <c:v>8.5309516476747893E-2</c:v>
                </c:pt>
                <c:pt idx="385">
                  <c:v>8.825338253382542E-2</c:v>
                </c:pt>
                <c:pt idx="386">
                  <c:v>8.4511370620774295E-2</c:v>
                </c:pt>
                <c:pt idx="387">
                  <c:v>5.6648777579010101E-2</c:v>
                </c:pt>
                <c:pt idx="388">
                  <c:v>4.4551475015051301E-2</c:v>
                </c:pt>
                <c:pt idx="389">
                  <c:v>5.634656164798546E-2</c:v>
                </c:pt>
                <c:pt idx="390">
                  <c:v>5.6436851738865146E-2</c:v>
                </c:pt>
                <c:pt idx="391">
                  <c:v>6.436851738865168E-2</c:v>
                </c:pt>
                <c:pt idx="392">
                  <c:v>4.9760191846522694E-2</c:v>
                </c:pt>
                <c:pt idx="393">
                  <c:v>5.8911932672077061E-2</c:v>
                </c:pt>
                <c:pt idx="394">
                  <c:v>6.4535585042219568E-2</c:v>
                </c:pt>
                <c:pt idx="395">
                  <c:v>0.10462287104622892</c:v>
                </c:pt>
                <c:pt idx="396">
                  <c:v>7.8425480769230838E-2</c:v>
                </c:pt>
                <c:pt idx="397">
                  <c:v>9.0742438130155811E-2</c:v>
                </c:pt>
                <c:pt idx="398">
                  <c:v>9.7374847374847473E-2</c:v>
                </c:pt>
                <c:pt idx="399">
                  <c:v>8.5216860109957215E-2</c:v>
                </c:pt>
                <c:pt idx="400">
                  <c:v>9.5832065713416403E-2</c:v>
                </c:pt>
                <c:pt idx="401">
                  <c:v>9.4356796116505048E-2</c:v>
                </c:pt>
                <c:pt idx="402">
                  <c:v>0.10764099454214682</c:v>
                </c:pt>
                <c:pt idx="403">
                  <c:v>9.9909447630546211E-2</c:v>
                </c:pt>
                <c:pt idx="404">
                  <c:v>6.8373493975903754E-2</c:v>
                </c:pt>
                <c:pt idx="405">
                  <c:v>5.7262153295556173E-2</c:v>
                </c:pt>
                <c:pt idx="406">
                  <c:v>4.1491280817799181E-2</c:v>
                </c:pt>
                <c:pt idx="407">
                  <c:v>3.2664069523524075E-2</c:v>
                </c:pt>
                <c:pt idx="408">
                  <c:v>3.1259392846408218E-2</c:v>
                </c:pt>
                <c:pt idx="409">
                  <c:v>3.7937166567871827E-2</c:v>
                </c:pt>
                <c:pt idx="410">
                  <c:v>5.9241706161137442E-2</c:v>
                </c:pt>
                <c:pt idx="411">
                  <c:v>5.6720827178729838E-2</c:v>
                </c:pt>
                <c:pt idx="412">
                  <c:v>9.4213874583459534E-2</c:v>
                </c:pt>
                <c:pt idx="413">
                  <c:v>7.2429210134128175E-2</c:v>
                </c:pt>
                <c:pt idx="414">
                  <c:v>8.7325651910248547E-2</c:v>
                </c:pt>
                <c:pt idx="415">
                  <c:v>0.10771113831089352</c:v>
                </c:pt>
                <c:pt idx="416">
                  <c:v>0.11757463835026161</c:v>
                </c:pt>
                <c:pt idx="417">
                  <c:v>0.14539877300613502</c:v>
                </c:pt>
                <c:pt idx="418">
                  <c:v>0.14083659343966293</c:v>
                </c:pt>
                <c:pt idx="419">
                  <c:v>0.17900683913172766</c:v>
                </c:pt>
                <c:pt idx="420">
                  <c:v>0.15205196338943017</c:v>
                </c:pt>
                <c:pt idx="421">
                  <c:v>0.15069712251557399</c:v>
                </c:pt>
                <c:pt idx="422">
                  <c:v>0.11883802816901423</c:v>
                </c:pt>
                <c:pt idx="423">
                  <c:v>0.18334350213544837</c:v>
                </c:pt>
                <c:pt idx="424">
                  <c:v>0.20252774352651026</c:v>
                </c:pt>
                <c:pt idx="425">
                  <c:v>0.18252776943860716</c:v>
                </c:pt>
                <c:pt idx="426">
                  <c:v>0.17818509615384626</c:v>
                </c:pt>
                <c:pt idx="427">
                  <c:v>0.18547186662697235</c:v>
                </c:pt>
                <c:pt idx="428">
                  <c:v>0.20181268882175241</c:v>
                </c:pt>
                <c:pt idx="429">
                  <c:v>0.19573060733613934</c:v>
                </c:pt>
                <c:pt idx="430">
                  <c:v>0.15826702033598594</c:v>
                </c:pt>
                <c:pt idx="431">
                  <c:v>0.15021582733812933</c:v>
                </c:pt>
                <c:pt idx="432">
                  <c:v>0.1177987962166811</c:v>
                </c:pt>
                <c:pt idx="433">
                  <c:v>0.11362318840579699</c:v>
                </c:pt>
                <c:pt idx="434">
                  <c:v>0.12134632418069091</c:v>
                </c:pt>
                <c:pt idx="435">
                  <c:v>8.4929939948527267E-2</c:v>
                </c:pt>
                <c:pt idx="436">
                  <c:v>9.3076049943246364E-2</c:v>
                </c:pt>
                <c:pt idx="437">
                  <c:v>7.374964679287932E-2</c:v>
                </c:pt>
                <c:pt idx="438">
                  <c:v>8.2459620289033753E-2</c:v>
                </c:pt>
                <c:pt idx="439">
                  <c:v>4.5428893905191892E-2</c:v>
                </c:pt>
                <c:pt idx="440">
                  <c:v>6.945244956772334E-2</c:v>
                </c:pt>
                <c:pt idx="441">
                  <c:v>6.4525379982793174E-2</c:v>
                </c:pt>
                <c:pt idx="442">
                  <c:v>5.8619693907016934E-2</c:v>
                </c:pt>
                <c:pt idx="443">
                  <c:v>5.1590713671539223E-2</c:v>
                </c:pt>
                <c:pt idx="444">
                  <c:v>6.0536836093660895E-2</c:v>
                </c:pt>
                <c:pt idx="445">
                  <c:v>4.655123474311651E-2</c:v>
                </c:pt>
                <c:pt idx="446">
                  <c:v>5.2974504249291954E-2</c:v>
                </c:pt>
                <c:pt idx="447">
                  <c:v>2.4504405286343678E-2</c:v>
                </c:pt>
                <c:pt idx="448">
                  <c:v>5.8512120367790743E-3</c:v>
                </c:pt>
                <c:pt idx="449">
                  <c:v>8.7675070028011337E-2</c:v>
                </c:pt>
                <c:pt idx="450">
                  <c:v>7.7885952712100082E-2</c:v>
                </c:pt>
                <c:pt idx="451">
                  <c:v>8.246552209400515E-2</c:v>
                </c:pt>
                <c:pt idx="452">
                  <c:v>6.9405885619100438E-2</c:v>
                </c:pt>
                <c:pt idx="453">
                  <c:v>5.9606321042417587E-2</c:v>
                </c:pt>
                <c:pt idx="454">
                  <c:v>2.2447303586093481E-2</c:v>
                </c:pt>
                <c:pt idx="455">
                  <c:v>1.3995609220636585E-2</c:v>
                </c:pt>
                <c:pt idx="456">
                  <c:v>2.593741189737786E-2</c:v>
                </c:pt>
                <c:pt idx="457">
                  <c:v>3.2157968970380812E-2</c:v>
                </c:pt>
                <c:pt idx="458">
                  <c:v>5.3695150115473433E-2</c:v>
                </c:pt>
                <c:pt idx="459">
                  <c:v>3.4242600116076494E-2</c:v>
                </c:pt>
                <c:pt idx="460">
                  <c:v>2.8854561352375407E-2</c:v>
                </c:pt>
                <c:pt idx="461">
                  <c:v>3.1410622501428787E-3</c:v>
                </c:pt>
                <c:pt idx="462">
                  <c:v>-8.1096196868009063E-3</c:v>
                </c:pt>
                <c:pt idx="463">
                  <c:v>-1.4537321778026246E-2</c:v>
                </c:pt>
                <c:pt idx="464">
                  <c:v>-4.7895902547065328E-2</c:v>
                </c:pt>
                <c:pt idx="465">
                  <c:v>-3.6409116175653122E-2</c:v>
                </c:pt>
                <c:pt idx="466">
                  <c:v>-2.6491912994980438E-2</c:v>
                </c:pt>
                <c:pt idx="467">
                  <c:v>-1.7127071823204498E-2</c:v>
                </c:pt>
                <c:pt idx="468">
                  <c:v>-6.3343431561552199E-3</c:v>
                </c:pt>
                <c:pt idx="469">
                  <c:v>-2.1424745581146265E-2</c:v>
                </c:pt>
                <c:pt idx="470">
                  <c:v>-7.9134792930625197E-3</c:v>
                </c:pt>
                <c:pt idx="471">
                  <c:v>-6.279949558638076E-2</c:v>
                </c:pt>
                <c:pt idx="472">
                  <c:v>-5.356227575602257E-2</c:v>
                </c:pt>
                <c:pt idx="473">
                  <c:v>-4.5630317092034023E-2</c:v>
                </c:pt>
                <c:pt idx="474">
                  <c:v>-1.5473380540257042E-2</c:v>
                </c:pt>
                <c:pt idx="475">
                  <c:v>-3.7122969837587005E-2</c:v>
                </c:pt>
                <c:pt idx="476">
                  <c:v>-3.9220712637785038E-2</c:v>
                </c:pt>
                <c:pt idx="477">
                  <c:v>-3.4526529576034526E-2</c:v>
                </c:pt>
                <c:pt idx="478">
                  <c:v>-2.3973476154042328E-2</c:v>
                </c:pt>
                <c:pt idx="479">
                  <c:v>-4.6710195881466743E-2</c:v>
                </c:pt>
                <c:pt idx="480">
                  <c:v>-4.9522373051784863E-2</c:v>
                </c:pt>
                <c:pt idx="481">
                  <c:v>-4.3248679909479448E-2</c:v>
                </c:pt>
                <c:pt idx="482">
                  <c:v>-1.2722646310432628E-2</c:v>
                </c:pt>
                <c:pt idx="483">
                  <c:v>-2.3267450587940997E-2</c:v>
                </c:pt>
                <c:pt idx="484">
                  <c:v>-2.5641025641021109E-4</c:v>
                </c:pt>
                <c:pt idx="485">
                  <c:v>2.8370640291514926E-2</c:v>
                </c:pt>
                <c:pt idx="486">
                  <c:v>5.2659294365455578E-2</c:v>
                </c:pt>
                <c:pt idx="487">
                  <c:v>5.5350553505534972E-2</c:v>
                </c:pt>
                <c:pt idx="488">
                  <c:v>5.2440290758047903E-2</c:v>
                </c:pt>
                <c:pt idx="489">
                  <c:v>6.3421052631579045E-2</c:v>
                </c:pt>
                <c:pt idx="490">
                  <c:v>5.1308900523560297E-2</c:v>
                </c:pt>
                <c:pt idx="491">
                  <c:v>9.0148448043184892E-2</c:v>
                </c:pt>
                <c:pt idx="492">
                  <c:v>0.11075181891673402</c:v>
                </c:pt>
                <c:pt idx="493">
                  <c:v>0.11557112068965503</c:v>
                </c:pt>
                <c:pt idx="494">
                  <c:v>0.13747954173486088</c:v>
                </c:pt>
                <c:pt idx="495">
                  <c:v>0.1417279912782774</c:v>
                </c:pt>
                <c:pt idx="496">
                  <c:v>0.15051157781367785</c:v>
                </c:pt>
                <c:pt idx="497">
                  <c:v>0.1529698942229456</c:v>
                </c:pt>
                <c:pt idx="498">
                  <c:v>0.14097390368576801</c:v>
                </c:pt>
                <c:pt idx="499">
                  <c:v>0.14431604407417353</c:v>
                </c:pt>
                <c:pt idx="500">
                  <c:v>0.20193905817174529</c:v>
                </c:pt>
                <c:pt idx="501">
                  <c:v>0.12129796549060012</c:v>
                </c:pt>
                <c:pt idx="502">
                  <c:v>0.12980645161290316</c:v>
                </c:pt>
                <c:pt idx="503">
                  <c:v>0.14014560582423297</c:v>
                </c:pt>
                <c:pt idx="504">
                  <c:v>0.11915887850467288</c:v>
                </c:pt>
                <c:pt idx="505">
                  <c:v>0.13710099424385147</c:v>
                </c:pt>
                <c:pt idx="506">
                  <c:v>0.16492637215528783</c:v>
                </c:pt>
                <c:pt idx="507">
                  <c:v>0.16752368064952639</c:v>
                </c:pt>
                <c:pt idx="508">
                  <c:v>0.18988733168452887</c:v>
                </c:pt>
                <c:pt idx="509">
                  <c:v>0.19458868543317864</c:v>
                </c:pt>
                <c:pt idx="510">
                  <c:v>0.19150684931506867</c:v>
                </c:pt>
                <c:pt idx="511">
                  <c:v>0.23204264870931546</c:v>
                </c:pt>
                <c:pt idx="512">
                  <c:v>0.24419263456090667</c:v>
                </c:pt>
                <c:pt idx="513">
                  <c:v>0.26131511528608042</c:v>
                </c:pt>
                <c:pt idx="514">
                  <c:v>0.22864392444319126</c:v>
                </c:pt>
                <c:pt idx="515">
                  <c:v>0.23035460992907808</c:v>
                </c:pt>
                <c:pt idx="516">
                  <c:v>0.27275370747310257</c:v>
                </c:pt>
                <c:pt idx="517">
                  <c:v>0.26593596769541383</c:v>
                </c:pt>
                <c:pt idx="518">
                  <c:v>0.28587797192781439</c:v>
                </c:pt>
                <c:pt idx="519">
                  <c:v>0.25182686902754359</c:v>
                </c:pt>
                <c:pt idx="520">
                  <c:v>0.28104212860310418</c:v>
                </c:pt>
                <c:pt idx="521">
                  <c:v>0.27148330596606463</c:v>
                </c:pt>
                <c:pt idx="522">
                  <c:v>0.29832491358681201</c:v>
                </c:pt>
                <c:pt idx="523">
                  <c:v>0.31216361679224969</c:v>
                </c:pt>
                <c:pt idx="524">
                  <c:v>0.3233143785540209</c:v>
                </c:pt>
                <c:pt idx="525">
                  <c:v>0.31766612641815239</c:v>
                </c:pt>
                <c:pt idx="526">
                  <c:v>0.29914757591901964</c:v>
                </c:pt>
                <c:pt idx="527">
                  <c:v>0.31807228915662655</c:v>
                </c:pt>
                <c:pt idx="528">
                  <c:v>0.31323372465314825</c:v>
                </c:pt>
                <c:pt idx="529">
                  <c:v>0.28293452537470398</c:v>
                </c:pt>
                <c:pt idx="530">
                  <c:v>0.28168278024562321</c:v>
                </c:pt>
                <c:pt idx="531">
                  <c:v>0.28003161222339301</c:v>
                </c:pt>
                <c:pt idx="532">
                  <c:v>0.29119280613594278</c:v>
                </c:pt>
                <c:pt idx="533">
                  <c:v>0.28094612352168191</c:v>
                </c:pt>
                <c:pt idx="534">
                  <c:v>0.24845360824742269</c:v>
                </c:pt>
                <c:pt idx="535">
                  <c:v>0.22284836065573765</c:v>
                </c:pt>
                <c:pt idx="536">
                  <c:v>0.21390100025647585</c:v>
                </c:pt>
                <c:pt idx="537">
                  <c:v>0.19944317894203989</c:v>
                </c:pt>
                <c:pt idx="538">
                  <c:v>0.18034017008504244</c:v>
                </c:pt>
                <c:pt idx="539">
                  <c:v>0.15909090909090917</c:v>
                </c:pt>
                <c:pt idx="540">
                  <c:v>0.12629501726689685</c:v>
                </c:pt>
                <c:pt idx="541">
                  <c:v>0.13981687701064072</c:v>
                </c:pt>
                <c:pt idx="542">
                  <c:v>0.12300796812749004</c:v>
                </c:pt>
                <c:pt idx="543">
                  <c:v>0.12874473879673198</c:v>
                </c:pt>
                <c:pt idx="544">
                  <c:v>0.10892770499757387</c:v>
                </c:pt>
                <c:pt idx="545">
                  <c:v>0.10915237865249949</c:v>
                </c:pt>
                <c:pt idx="546">
                  <c:v>9.568345323741001E-2</c:v>
                </c:pt>
                <c:pt idx="547">
                  <c:v>9.5249462878968627E-2</c:v>
                </c:pt>
                <c:pt idx="548">
                  <c:v>7.301661596068354E-2</c:v>
                </c:pt>
                <c:pt idx="549">
                  <c:v>6.9630675135262221E-2</c:v>
                </c:pt>
                <c:pt idx="550">
                  <c:v>5.6354633341193283E-2</c:v>
                </c:pt>
                <c:pt idx="551">
                  <c:v>6.0826679192109046E-2</c:v>
                </c:pt>
                <c:pt idx="552">
                  <c:v>5.41599446877159E-2</c:v>
                </c:pt>
                <c:pt idx="553">
                  <c:v>4.317868626550303E-2</c:v>
                </c:pt>
                <c:pt idx="554">
                  <c:v>4.1114664230242015E-2</c:v>
                </c:pt>
                <c:pt idx="555">
                  <c:v>4.7434435575826717E-2</c:v>
                </c:pt>
                <c:pt idx="556">
                  <c:v>7.2604964045465126E-2</c:v>
                </c:pt>
                <c:pt idx="557">
                  <c:v>5.0851357570179445E-2</c:v>
                </c:pt>
                <c:pt idx="558">
                  <c:v>4.3208457825787194E-2</c:v>
                </c:pt>
                <c:pt idx="559">
                  <c:v>6.4673157162725925E-2</c:v>
                </c:pt>
                <c:pt idx="560">
                  <c:v>5.9122401847575112E-2</c:v>
                </c:pt>
                <c:pt idx="561">
                  <c:v>4.4383436284602951E-2</c:v>
                </c:pt>
                <c:pt idx="562">
                  <c:v>5.4265348355943877E-2</c:v>
                </c:pt>
                <c:pt idx="563">
                  <c:v>3.3477567752220549E-2</c:v>
                </c:pt>
                <c:pt idx="564">
                  <c:v>4.0072859744990641E-2</c:v>
                </c:pt>
                <c:pt idx="565">
                  <c:v>2.0988490182803021E-2</c:v>
                </c:pt>
                <c:pt idx="566">
                  <c:v>6.8838916934373717E-2</c:v>
                </c:pt>
                <c:pt idx="567">
                  <c:v>7.1708554300207616E-2</c:v>
                </c:pt>
                <c:pt idx="568">
                  <c:v>7.1053232807859246E-2</c:v>
                </c:pt>
                <c:pt idx="569">
                  <c:v>6.3340168603326363E-2</c:v>
                </c:pt>
                <c:pt idx="570">
                  <c:v>5.9033192247716526E-2</c:v>
                </c:pt>
                <c:pt idx="571">
                  <c:v>6.5783565334530891E-2</c:v>
                </c:pt>
                <c:pt idx="572">
                  <c:v>2.8559065339679668E-2</c:v>
                </c:pt>
                <c:pt idx="573">
                  <c:v>1.8295307791648785E-2</c:v>
                </c:pt>
                <c:pt idx="574">
                  <c:v>-4.3415932828179349E-2</c:v>
                </c:pt>
                <c:pt idx="575">
                  <c:v>-3.2198523379819544E-2</c:v>
                </c:pt>
                <c:pt idx="576">
                  <c:v>-4.2152649887456373E-2</c:v>
                </c:pt>
                <c:pt idx="577">
                  <c:v>-3.8335383353833574E-2</c:v>
                </c:pt>
                <c:pt idx="578">
                  <c:v>-3.1781833094115086E-2</c:v>
                </c:pt>
                <c:pt idx="579">
                  <c:v>-4.6313223644119383E-2</c:v>
                </c:pt>
                <c:pt idx="580">
                  <c:v>-4.8760666395773922E-2</c:v>
                </c:pt>
                <c:pt idx="581">
                  <c:v>-3.8327526132404088E-2</c:v>
                </c:pt>
                <c:pt idx="582">
                  <c:v>-4.8725790010193615E-2</c:v>
                </c:pt>
                <c:pt idx="583">
                  <c:v>-4.2395554640872746E-2</c:v>
                </c:pt>
                <c:pt idx="584">
                  <c:v>-3.9123310118803767E-2</c:v>
                </c:pt>
                <c:pt idx="585">
                  <c:v>-3.5494460402133776E-2</c:v>
                </c:pt>
                <c:pt idx="586">
                  <c:v>-3.6540049545830011E-2</c:v>
                </c:pt>
                <c:pt idx="587">
                  <c:v>-6.284038542103132E-3</c:v>
                </c:pt>
                <c:pt idx="588">
                  <c:v>-5.2820621170504012E-3</c:v>
                </c:pt>
                <c:pt idx="589">
                  <c:v>-9.4956741928676758E-3</c:v>
                </c:pt>
                <c:pt idx="590">
                  <c:v>-4.4500953591862791E-3</c:v>
                </c:pt>
                <c:pt idx="591">
                  <c:v>9.4807153630682706E-3</c:v>
                </c:pt>
                <c:pt idx="592">
                  <c:v>2.1901007446342602E-2</c:v>
                </c:pt>
                <c:pt idx="593">
                  <c:v>1.8671298306556672E-2</c:v>
                </c:pt>
                <c:pt idx="594">
                  <c:v>2.7716186252771724E-2</c:v>
                </c:pt>
                <c:pt idx="595">
                  <c:v>3.2682605834612799E-2</c:v>
                </c:pt>
                <c:pt idx="596">
                  <c:v>3.2159264931087339E-2</c:v>
                </c:pt>
                <c:pt idx="597">
                  <c:v>1.6982364467668321E-2</c:v>
                </c:pt>
                <c:pt idx="598">
                  <c:v>2.4731888815933578E-2</c:v>
                </c:pt>
                <c:pt idx="599">
                  <c:v>9.372275501307703E-3</c:v>
                </c:pt>
                <c:pt idx="600">
                  <c:v>1.6357688113413316E-2</c:v>
                </c:pt>
                <c:pt idx="601">
                  <c:v>2.3312073894875773E-2</c:v>
                </c:pt>
                <c:pt idx="602">
                  <c:v>4.0624999999999911E-2</c:v>
                </c:pt>
                <c:pt idx="603">
                  <c:v>2.2138587558113709E-2</c:v>
                </c:pt>
                <c:pt idx="604">
                  <c:v>1.0931351114997767E-2</c:v>
                </c:pt>
                <c:pt idx="605">
                  <c:v>1.0347864376926585E-2</c:v>
                </c:pt>
                <c:pt idx="606">
                  <c:v>1.491882404563416E-2</c:v>
                </c:pt>
                <c:pt idx="607">
                  <c:v>9.1443500979750958E-3</c:v>
                </c:pt>
                <c:pt idx="608">
                  <c:v>-4.9740484429064979E-3</c:v>
                </c:pt>
                <c:pt idx="609">
                  <c:v>1.2042916575432328E-2</c:v>
                </c:pt>
                <c:pt idx="610">
                  <c:v>1.6523463317911435E-2</c:v>
                </c:pt>
                <c:pt idx="611">
                  <c:v>1.5022860875244959E-2</c:v>
                </c:pt>
                <c:pt idx="612">
                  <c:v>1.7008286088094016E-2</c:v>
                </c:pt>
                <c:pt idx="613">
                  <c:v>1.2048192771084265E-2</c:v>
                </c:pt>
                <c:pt idx="614">
                  <c:v>1.2431842966194262E-2</c:v>
                </c:pt>
                <c:pt idx="615">
                  <c:v>1.8289995592772224E-2</c:v>
                </c:pt>
                <c:pt idx="616">
                  <c:v>1.5761821366024442E-2</c:v>
                </c:pt>
                <c:pt idx="617">
                  <c:v>1.8788682581786009E-2</c:v>
                </c:pt>
                <c:pt idx="618">
                  <c:v>-4.2936882782329544E-4</c:v>
                </c:pt>
                <c:pt idx="619">
                  <c:v>1.9363166953529909E-3</c:v>
                </c:pt>
                <c:pt idx="620">
                  <c:v>-3.1996587030715951E-3</c:v>
                </c:pt>
                <c:pt idx="621">
                  <c:v>-4.2854081851295689E-3</c:v>
                </c:pt>
                <c:pt idx="622">
                  <c:v>3.9966344131259213E-3</c:v>
                </c:pt>
                <c:pt idx="623">
                  <c:v>-2.1065936380859629E-4</c:v>
                </c:pt>
                <c:pt idx="624">
                  <c:v>-3.1552376945729321E-3</c:v>
                </c:pt>
                <c:pt idx="625">
                  <c:v>1.9234834073134754E-2</c:v>
                </c:pt>
                <c:pt idx="626">
                  <c:v>3.6180689359879947E-2</c:v>
                </c:pt>
                <c:pt idx="627">
                  <c:v>3.3481669845306206E-2</c:v>
                </c:pt>
                <c:pt idx="628">
                  <c:v>3.2685323648792952E-2</c:v>
                </c:pt>
                <c:pt idx="629">
                  <c:v>2.4515028778512082E-2</c:v>
                </c:pt>
                <c:pt idx="630">
                  <c:v>2.2236340533672072E-2</c:v>
                </c:pt>
                <c:pt idx="631">
                  <c:v>5.9850905218317374E-2</c:v>
                </c:pt>
                <c:pt idx="632">
                  <c:v>7.9880392994446714E-2</c:v>
                </c:pt>
                <c:pt idx="633">
                  <c:v>4.9445865302642833E-2</c:v>
                </c:pt>
                <c:pt idx="634">
                  <c:v>3.3433347621088627E-2</c:v>
                </c:pt>
                <c:pt idx="635">
                  <c:v>3.6535568450462241E-2</c:v>
                </c:pt>
                <c:pt idx="636">
                  <c:v>-9.3796631848218626E-3</c:v>
                </c:pt>
                <c:pt idx="637">
                  <c:v>-7.0197830248882598E-3</c:v>
                </c:pt>
                <c:pt idx="638">
                  <c:v>-1.9498607242339872E-2</c:v>
                </c:pt>
                <c:pt idx="639">
                  <c:v>-4.5109612141652544E-2</c:v>
                </c:pt>
                <c:pt idx="640">
                  <c:v>-4.6516567544604981E-2</c:v>
                </c:pt>
                <c:pt idx="641">
                  <c:v>-4.0051129100979965E-2</c:v>
                </c:pt>
                <c:pt idx="642">
                  <c:v>-4.2784163473818748E-2</c:v>
                </c:pt>
                <c:pt idx="643">
                  <c:v>-3.9060832443970073E-2</c:v>
                </c:pt>
                <c:pt idx="644">
                  <c:v>-0.10758679811401639</c:v>
                </c:pt>
                <c:pt idx="645">
                  <c:v>-0.10421994884910479</c:v>
                </c:pt>
                <c:pt idx="646">
                  <c:v>-0.1031283710895361</c:v>
                </c:pt>
                <c:pt idx="647">
                  <c:v>-0.11045029736618528</c:v>
                </c:pt>
                <c:pt idx="648">
                  <c:v>-0.17189487070792708</c:v>
                </c:pt>
                <c:pt idx="649">
                  <c:v>-0.1421537144080498</c:v>
                </c:pt>
                <c:pt idx="650">
                  <c:v>-0.13477146518581806</c:v>
                </c:pt>
                <c:pt idx="651">
                  <c:v>-0.11358237961563378</c:v>
                </c:pt>
                <c:pt idx="652">
                  <c:v>-9.9785407725321851E-2</c:v>
                </c:pt>
                <c:pt idx="653">
                  <c:v>-9.7571459273586902E-2</c:v>
                </c:pt>
                <c:pt idx="654">
                  <c:v>-9.7597597597597563E-2</c:v>
                </c:pt>
                <c:pt idx="655">
                  <c:v>-7.8189300411522611E-2</c:v>
                </c:pt>
                <c:pt idx="656">
                  <c:v>-8.6937716262975639E-2</c:v>
                </c:pt>
                <c:pt idx="657">
                  <c:v>-7.648725212464591E-2</c:v>
                </c:pt>
                <c:pt idx="658">
                  <c:v>-9.5330739299611E-2</c:v>
                </c:pt>
                <c:pt idx="659">
                  <c:v>-9.2988133764832837E-2</c:v>
                </c:pt>
                <c:pt idx="660">
                  <c:v>-9.5196696370354217E-2</c:v>
                </c:pt>
                <c:pt idx="661">
                  <c:v>-0.10233665080051924</c:v>
                </c:pt>
                <c:pt idx="662">
                  <c:v>-9.8396185522323321E-2</c:v>
                </c:pt>
                <c:pt idx="663">
                  <c:v>-0.10789360789360791</c:v>
                </c:pt>
                <c:pt idx="664">
                  <c:v>-9.7555746140651878E-2</c:v>
                </c:pt>
                <c:pt idx="665">
                  <c:v>-8.3333333333333259E-2</c:v>
                </c:pt>
                <c:pt idx="666">
                  <c:v>-9.7587246876346456E-2</c:v>
                </c:pt>
                <c:pt idx="667">
                  <c:v>-8.1367669335641657E-2</c:v>
                </c:pt>
                <c:pt idx="668">
                  <c:v>-7.9741379310344862E-2</c:v>
                </c:pt>
                <c:pt idx="669">
                  <c:v>-7.2466912562377916E-2</c:v>
                </c:pt>
                <c:pt idx="670">
                  <c:v>-7.5171821305841879E-2</c:v>
                </c:pt>
                <c:pt idx="671">
                  <c:v>-7.0216877818337964E-2</c:v>
                </c:pt>
                <c:pt idx="672">
                  <c:v>-7.0832441686282999E-2</c:v>
                </c:pt>
                <c:pt idx="673">
                  <c:v>-6.391220142027132E-2</c:v>
                </c:pt>
                <c:pt idx="674">
                  <c:v>-8.3385711292688014E-2</c:v>
                </c:pt>
                <c:pt idx="675">
                  <c:v>-6.3421828908554634E-2</c:v>
                </c:pt>
                <c:pt idx="676">
                  <c:v>-6.9423929098965997E-2</c:v>
                </c:pt>
                <c:pt idx="677">
                  <c:v>-6.4288676897553021E-2</c:v>
                </c:pt>
                <c:pt idx="678">
                  <c:v>-5.7231404958677734E-2</c:v>
                </c:pt>
                <c:pt idx="679">
                  <c:v>-4.367438999384865E-2</c:v>
                </c:pt>
                <c:pt idx="680">
                  <c:v>-2.5237898220935029E-2</c:v>
                </c:pt>
                <c:pt idx="681">
                  <c:v>-1.3940907199334163E-2</c:v>
                </c:pt>
                <c:pt idx="682">
                  <c:v>-1.5123264967889072E-2</c:v>
                </c:pt>
                <c:pt idx="683">
                  <c:v>-4.2202572347266876E-2</c:v>
                </c:pt>
                <c:pt idx="684">
                  <c:v>-6.9224683544303778E-2</c:v>
                </c:pt>
                <c:pt idx="685">
                  <c:v>-4.3460601137286892E-2</c:v>
                </c:pt>
                <c:pt idx="686">
                  <c:v>-2.5508087930319445E-2</c:v>
                </c:pt>
                <c:pt idx="687">
                  <c:v>-3.0064275347294278E-2</c:v>
                </c:pt>
                <c:pt idx="688">
                  <c:v>1.5278674413600202E-2</c:v>
                </c:pt>
                <c:pt idx="689">
                  <c:v>1.8423307626392438E-2</c:v>
                </c:pt>
                <c:pt idx="690">
                  <c:v>6.0533216783216881E-2</c:v>
                </c:pt>
                <c:pt idx="691">
                  <c:v>8.5651214128035225E-2</c:v>
                </c:pt>
                <c:pt idx="692">
                  <c:v>0.11249721541545998</c:v>
                </c:pt>
                <c:pt idx="693">
                  <c:v>0.1165113182423434</c:v>
                </c:pt>
                <c:pt idx="694">
                  <c:v>0.12853013119857692</c:v>
                </c:pt>
                <c:pt idx="695">
                  <c:v>0.12794313638382948</c:v>
                </c:pt>
                <c:pt idx="696">
                  <c:v>0.22406340057636909</c:v>
                </c:pt>
                <c:pt idx="697">
                  <c:v>0.20770877944325461</c:v>
                </c:pt>
                <c:pt idx="698">
                  <c:v>0.21722395958623997</c:v>
                </c:pt>
                <c:pt idx="699">
                  <c:v>0.18720152817574043</c:v>
                </c:pt>
                <c:pt idx="700">
                  <c:v>0.29076017404658305</c:v>
                </c:pt>
                <c:pt idx="701">
                  <c:v>0.25255802345894707</c:v>
                </c:pt>
                <c:pt idx="702">
                  <c:v>0.23327573438657123</c:v>
                </c:pt>
                <c:pt idx="703">
                  <c:v>0.22509135200974417</c:v>
                </c:pt>
                <c:pt idx="704">
                  <c:v>0.22288438617401662</c:v>
                </c:pt>
                <c:pt idx="705">
                  <c:v>0.25172660157180293</c:v>
                </c:pt>
                <c:pt idx="706">
                  <c:v>0.23651057760874727</c:v>
                </c:pt>
                <c:pt idx="707">
                  <c:v>0.22109962406015038</c:v>
                </c:pt>
                <c:pt idx="708">
                  <c:v>0.23543344386546661</c:v>
                </c:pt>
                <c:pt idx="709">
                  <c:v>0.25578102878716358</c:v>
                </c:pt>
                <c:pt idx="710">
                  <c:v>0.27741935483870983</c:v>
                </c:pt>
                <c:pt idx="711">
                  <c:v>0.26998097050428171</c:v>
                </c:pt>
                <c:pt idx="712">
                  <c:v>0.27312034590439582</c:v>
                </c:pt>
                <c:pt idx="713">
                  <c:v>0.27211376235237394</c:v>
                </c:pt>
                <c:pt idx="714">
                  <c:v>0.28293269230769225</c:v>
                </c:pt>
                <c:pt idx="715">
                  <c:v>0.28396249098340953</c:v>
                </c:pt>
                <c:pt idx="716">
                  <c:v>0.29199334758850082</c:v>
                </c:pt>
                <c:pt idx="717">
                  <c:v>0.28972845336481678</c:v>
                </c:pt>
                <c:pt idx="718">
                  <c:v>0.32847935068035339</c:v>
                </c:pt>
                <c:pt idx="719">
                  <c:v>0.31354534746760887</c:v>
                </c:pt>
                <c:pt idx="720">
                  <c:v>0.28103044496487128</c:v>
                </c:pt>
                <c:pt idx="721">
                  <c:v>0.26596491228070174</c:v>
                </c:pt>
                <c:pt idx="722">
                  <c:v>0.2803065490013934</c:v>
                </c:pt>
                <c:pt idx="723">
                  <c:v>0.25866050808314101</c:v>
                </c:pt>
                <c:pt idx="724">
                  <c:v>0.25817595578074637</c:v>
                </c:pt>
                <c:pt idx="725">
                  <c:v>0.25425287356321857</c:v>
                </c:pt>
                <c:pt idx="726">
                  <c:v>0.24777142857142853</c:v>
                </c:pt>
                <c:pt idx="727">
                  <c:v>0.24274465691788527</c:v>
                </c:pt>
                <c:pt idx="728">
                  <c:v>0.25804988662131523</c:v>
                </c:pt>
                <c:pt idx="729">
                  <c:v>0.24933510638297873</c:v>
                </c:pt>
                <c:pt idx="730">
                  <c:v>0.27679158448389218</c:v>
                </c:pt>
                <c:pt idx="731">
                  <c:v>0.26222126929674094</c:v>
                </c:pt>
                <c:pt idx="732">
                  <c:v>0.2699490662139219</c:v>
                </c:pt>
                <c:pt idx="733">
                  <c:v>0.2570162481536189</c:v>
                </c:pt>
                <c:pt idx="734">
                  <c:v>0.246739587715608</c:v>
                </c:pt>
                <c:pt idx="735">
                  <c:v>0.23122114981116249</c:v>
                </c:pt>
                <c:pt idx="736">
                  <c:v>0.22141946451338712</c:v>
                </c:pt>
                <c:pt idx="737">
                  <c:v>0.23205944798301492</c:v>
                </c:pt>
                <c:pt idx="738">
                  <c:v>0.24111513087891034</c:v>
                </c:pt>
                <c:pt idx="739">
                  <c:v>0.25480974775545118</c:v>
                </c:pt>
                <c:pt idx="740">
                  <c:v>0.23696481559983051</c:v>
                </c:pt>
                <c:pt idx="741">
                  <c:v>0.21918384518300393</c:v>
                </c:pt>
                <c:pt idx="742">
                  <c:v>0.18730682052338765</c:v>
                </c:pt>
                <c:pt idx="743">
                  <c:v>0.15351769011793404</c:v>
                </c:pt>
                <c:pt idx="744">
                  <c:v>0.13556267521025234</c:v>
                </c:pt>
                <c:pt idx="745">
                  <c:v>0.12820512820512819</c:v>
                </c:pt>
                <c:pt idx="746">
                  <c:v>0.12039408866995061</c:v>
                </c:pt>
                <c:pt idx="747">
                  <c:v>0.13706183536825511</c:v>
                </c:pt>
                <c:pt idx="748">
                  <c:v>0.13988620757308201</c:v>
                </c:pt>
                <c:pt idx="749">
                  <c:v>0.14204097714736008</c:v>
                </c:pt>
                <c:pt idx="750">
                  <c:v>0.11640316205533607</c:v>
                </c:pt>
                <c:pt idx="751">
                  <c:v>0.15245374094931607</c:v>
                </c:pt>
                <c:pt idx="752">
                  <c:v>0.13146936347412264</c:v>
                </c:pt>
                <c:pt idx="753">
                  <c:v>0.11735405459254822</c:v>
                </c:pt>
                <c:pt idx="754">
                  <c:v>0.10308246597277826</c:v>
                </c:pt>
                <c:pt idx="755">
                  <c:v>9.6042950884867695E-2</c:v>
                </c:pt>
                <c:pt idx="756">
                  <c:v>5.8479532163742576E-2</c:v>
                </c:pt>
                <c:pt idx="757">
                  <c:v>5.2321156773211364E-2</c:v>
                </c:pt>
                <c:pt idx="758">
                  <c:v>6.6320645905420861E-2</c:v>
                </c:pt>
                <c:pt idx="759">
                  <c:v>6.2536078506830961E-2</c:v>
                </c:pt>
                <c:pt idx="760">
                  <c:v>4.2177914110429482E-2</c:v>
                </c:pt>
                <c:pt idx="761">
                  <c:v>2.1984216459977501E-2</c:v>
                </c:pt>
                <c:pt idx="762">
                  <c:v>8.4175084175084347E-3</c:v>
                </c:pt>
                <c:pt idx="763">
                  <c:v>2.210151713804076E-2</c:v>
                </c:pt>
                <c:pt idx="764">
                  <c:v>2.7358490566037785E-2</c:v>
                </c:pt>
                <c:pt idx="765">
                  <c:v>-5.873436907919638E-3</c:v>
                </c:pt>
                <c:pt idx="766">
                  <c:v>1.498969458497279E-2</c:v>
                </c:pt>
                <c:pt idx="767">
                  <c:v>-1.310861423220977E-2</c:v>
                </c:pt>
                <c:pt idx="768">
                  <c:v>-1.1769032732622309E-2</c:v>
                </c:pt>
                <c:pt idx="769">
                  <c:v>-2.2885389967045033E-2</c:v>
                </c:pt>
                <c:pt idx="770">
                  <c:v>-4.7978436657681978E-2</c:v>
                </c:pt>
                <c:pt idx="771">
                  <c:v>-3.5868005738880826E-2</c:v>
                </c:pt>
                <c:pt idx="772">
                  <c:v>1.1882998171846459E-2</c:v>
                </c:pt>
                <c:pt idx="773">
                  <c:v>1.5890613451589042E-2</c:v>
                </c:pt>
                <c:pt idx="774">
                  <c:v>5.9858516234356784E-3</c:v>
                </c:pt>
                <c:pt idx="775">
                  <c:v>3.1743119266055109E-2</c:v>
                </c:pt>
                <c:pt idx="776">
                  <c:v>4.1369211056196287E-2</c:v>
                </c:pt>
                <c:pt idx="777">
                  <c:v>4.14222873900294E-2</c:v>
                </c:pt>
                <c:pt idx="778">
                  <c:v>3.993405385601756E-2</c:v>
                </c:pt>
                <c:pt idx="779">
                  <c:v>3.2947139753801702E-2</c:v>
                </c:pt>
                <c:pt idx="780">
                  <c:v>4.3439077144917126E-2</c:v>
                </c:pt>
                <c:pt idx="781">
                  <c:v>3.4060670569451945E-2</c:v>
                </c:pt>
                <c:pt idx="782">
                  <c:v>7.5523515276347819E-3</c:v>
                </c:pt>
                <c:pt idx="783">
                  <c:v>6.1151690164771288E-3</c:v>
                </c:pt>
                <c:pt idx="784">
                  <c:v>-2.1390374331550777E-2</c:v>
                </c:pt>
                <c:pt idx="785">
                  <c:v>-1.3261708913882786E-2</c:v>
                </c:pt>
                <c:pt idx="786">
                  <c:v>-8.942129239075447E-3</c:v>
                </c:pt>
                <c:pt idx="787">
                  <c:v>6.9870483980911668E-3</c:v>
                </c:pt>
                <c:pt idx="788">
                  <c:v>2.5574112734864096E-2</c:v>
                </c:pt>
                <c:pt idx="789">
                  <c:v>2.8088919524384082E-2</c:v>
                </c:pt>
                <c:pt idx="790">
                  <c:v>2.5548696844993168E-2</c:v>
                </c:pt>
                <c:pt idx="791">
                  <c:v>2.7257240204429323E-2</c:v>
                </c:pt>
                <c:pt idx="792">
                  <c:v>5.8773132282385232E-2</c:v>
                </c:pt>
                <c:pt idx="793">
                  <c:v>6.0386473429951737E-2</c:v>
                </c:pt>
                <c:pt idx="794">
                  <c:v>6.8899687608469318E-2</c:v>
                </c:pt>
                <c:pt idx="795">
                  <c:v>8.4963863916798887E-2</c:v>
                </c:pt>
                <c:pt idx="796">
                  <c:v>9.9806030682419333E-2</c:v>
                </c:pt>
                <c:pt idx="797">
                  <c:v>0.10095137420718814</c:v>
                </c:pt>
                <c:pt idx="798">
                  <c:v>9.1452690819556981E-2</c:v>
                </c:pt>
                <c:pt idx="799">
                  <c:v>6.6505022514721235E-2</c:v>
                </c:pt>
                <c:pt idx="800">
                  <c:v>6.6953528399311679E-2</c:v>
                </c:pt>
                <c:pt idx="801">
                  <c:v>0.10608935656373997</c:v>
                </c:pt>
                <c:pt idx="802">
                  <c:v>0.14675163745795716</c:v>
                </c:pt>
                <c:pt idx="803">
                  <c:v>0.13856893542757409</c:v>
                </c:pt>
                <c:pt idx="804">
                  <c:v>0.14808973010865745</c:v>
                </c:pt>
                <c:pt idx="805">
                  <c:v>0.17760342368045667</c:v>
                </c:pt>
                <c:pt idx="806">
                  <c:v>0.20595173289784063</c:v>
                </c:pt>
                <c:pt idx="807">
                  <c:v>0.2340348330914368</c:v>
                </c:pt>
                <c:pt idx="808">
                  <c:v>0.22983425414364644</c:v>
                </c:pt>
                <c:pt idx="809">
                  <c:v>0.21460856987886467</c:v>
                </c:pt>
                <c:pt idx="810">
                  <c:v>0.20749954930593129</c:v>
                </c:pt>
                <c:pt idx="811">
                  <c:v>0.21296631655197396</c:v>
                </c:pt>
                <c:pt idx="812">
                  <c:v>0.22240618101545251</c:v>
                </c:pt>
                <c:pt idx="813">
                  <c:v>0.21823864681007543</c:v>
                </c:pt>
                <c:pt idx="814">
                  <c:v>0.22240771656464475</c:v>
                </c:pt>
                <c:pt idx="815">
                  <c:v>0.21055525013743814</c:v>
                </c:pt>
                <c:pt idx="816">
                  <c:v>0.21193755739210274</c:v>
                </c:pt>
                <c:pt idx="817">
                  <c:v>0.24776062511911556</c:v>
                </c:pt>
                <c:pt idx="818">
                  <c:v>0.20694111131622672</c:v>
                </c:pt>
                <c:pt idx="819">
                  <c:v>0.25104364326375728</c:v>
                </c:pt>
                <c:pt idx="820">
                  <c:v>0.21622627465574995</c:v>
                </c:pt>
                <c:pt idx="821">
                  <c:v>0.22484541877459252</c:v>
                </c:pt>
                <c:pt idx="822">
                  <c:v>0.23707059267648178</c:v>
                </c:pt>
                <c:pt idx="823">
                  <c:v>0.23046875</c:v>
                </c:pt>
                <c:pt idx="824">
                  <c:v>0.21210478771454366</c:v>
                </c:pt>
                <c:pt idx="825">
                  <c:v>0.23044743543106572</c:v>
                </c:pt>
                <c:pt idx="826">
                  <c:v>0.22394518571943745</c:v>
                </c:pt>
                <c:pt idx="827">
                  <c:v>0.19758136226213763</c:v>
                </c:pt>
                <c:pt idx="828">
                  <c:v>0.1740200386711197</c:v>
                </c:pt>
                <c:pt idx="829">
                  <c:v>0.19940161914818733</c:v>
                </c:pt>
                <c:pt idx="830">
                  <c:v>0.20327637836885692</c:v>
                </c:pt>
                <c:pt idx="831">
                  <c:v>0.19628461268839792</c:v>
                </c:pt>
                <c:pt idx="832">
                  <c:v>0.17153221627224058</c:v>
                </c:pt>
                <c:pt idx="833">
                  <c:v>0.1619488763081145</c:v>
                </c:pt>
                <c:pt idx="834">
                  <c:v>0.15621805792163546</c:v>
                </c:pt>
                <c:pt idx="835">
                  <c:v>0.14165119027519824</c:v>
                </c:pt>
                <c:pt idx="836">
                  <c:v>0.14105191256830607</c:v>
                </c:pt>
                <c:pt idx="837">
                  <c:v>0.13899285471248723</c:v>
                </c:pt>
                <c:pt idx="838">
                  <c:v>0.15117466802860058</c:v>
                </c:pt>
                <c:pt idx="839">
                  <c:v>0.15789473684210531</c:v>
                </c:pt>
                <c:pt idx="840">
                  <c:v>0.14418999151823586</c:v>
                </c:pt>
                <c:pt idx="841">
                  <c:v>0.13325511230305054</c:v>
                </c:pt>
                <c:pt idx="842">
                  <c:v>0.12422671794014395</c:v>
                </c:pt>
                <c:pt idx="843">
                  <c:v>0.11227197346600315</c:v>
                </c:pt>
                <c:pt idx="844">
                  <c:v>7.3636510762259189E-2</c:v>
                </c:pt>
                <c:pt idx="845">
                  <c:v>8.8350146436706911E-2</c:v>
                </c:pt>
                <c:pt idx="846">
                  <c:v>6.5107972073388476E-2</c:v>
                </c:pt>
                <c:pt idx="847">
                  <c:v>6.9212022745735124E-2</c:v>
                </c:pt>
                <c:pt idx="848">
                  <c:v>4.0885040885040969E-2</c:v>
                </c:pt>
                <c:pt idx="849">
                  <c:v>4.048647783645376E-2</c:v>
                </c:pt>
                <c:pt idx="850">
                  <c:v>4.9145987753786535E-2</c:v>
                </c:pt>
                <c:pt idx="851">
                  <c:v>6.1545956479376329E-2</c:v>
                </c:pt>
                <c:pt idx="852">
                  <c:v>5.6138086788191544E-2</c:v>
                </c:pt>
                <c:pt idx="853">
                  <c:v>1.1384903306300709E-2</c:v>
                </c:pt>
                <c:pt idx="854">
                  <c:v>-1.2503859215807323E-2</c:v>
                </c:pt>
                <c:pt idx="855">
                  <c:v>-1.7320662170447698E-2</c:v>
                </c:pt>
                <c:pt idx="856">
                  <c:v>-2.4881697450770957E-2</c:v>
                </c:pt>
                <c:pt idx="857">
                  <c:v>-3.8612961841308246E-2</c:v>
                </c:pt>
                <c:pt idx="858">
                  <c:v>-3.8669876617514198E-2</c:v>
                </c:pt>
                <c:pt idx="859">
                  <c:v>-5.8218171126139362E-2</c:v>
                </c:pt>
                <c:pt idx="860">
                  <c:v>-4.5672356993111674E-2</c:v>
                </c:pt>
                <c:pt idx="861">
                  <c:v>-7.0556713307531993E-2</c:v>
                </c:pt>
                <c:pt idx="862">
                  <c:v>-5.6434756643774286E-2</c:v>
                </c:pt>
                <c:pt idx="863">
                  <c:v>-5.5389668557778493E-2</c:v>
                </c:pt>
                <c:pt idx="864">
                  <c:v>-3.5364936042136863E-2</c:v>
                </c:pt>
                <c:pt idx="865">
                  <c:v>-2.76184726833687E-2</c:v>
                </c:pt>
                <c:pt idx="866">
                  <c:v>-4.4461305007587271E-2</c:v>
                </c:pt>
                <c:pt idx="867">
                  <c:v>-4.9197699061459321E-2</c:v>
                </c:pt>
                <c:pt idx="868">
                  <c:v>-3.9702985300803184E-2</c:v>
                </c:pt>
                <c:pt idx="869">
                  <c:v>-2.9020925614785309E-2</c:v>
                </c:pt>
                <c:pt idx="870">
                  <c:v>-4.037932089323959E-2</c:v>
                </c:pt>
                <c:pt idx="871">
                  <c:v>-5.5513423327771871E-2</c:v>
                </c:pt>
                <c:pt idx="872">
                  <c:v>-4.8500611995103915E-2</c:v>
                </c:pt>
                <c:pt idx="873">
                  <c:v>-5.7824690224873798E-2</c:v>
                </c:pt>
                <c:pt idx="874">
                  <c:v>-6.4540738480317383E-2</c:v>
                </c:pt>
                <c:pt idx="875">
                  <c:v>-7.2411186696900942E-2</c:v>
                </c:pt>
                <c:pt idx="876">
                  <c:v>-0.10955433000447157</c:v>
                </c:pt>
                <c:pt idx="877">
                  <c:v>-0.11840354767184025</c:v>
                </c:pt>
                <c:pt idx="878">
                  <c:v>-0.12949322333529767</c:v>
                </c:pt>
                <c:pt idx="879">
                  <c:v>-0.12696762696762698</c:v>
                </c:pt>
                <c:pt idx="880">
                  <c:v>-0.12067674801617012</c:v>
                </c:pt>
                <c:pt idx="881">
                  <c:v>-0.13778429933969183</c:v>
                </c:pt>
                <c:pt idx="882">
                  <c:v>-0.1485873225003661</c:v>
                </c:pt>
                <c:pt idx="883">
                  <c:v>-0.13932024611778493</c:v>
                </c:pt>
                <c:pt idx="884">
                  <c:v>-0.13476850486582126</c:v>
                </c:pt>
                <c:pt idx="885">
                  <c:v>-0.14985973719179091</c:v>
                </c:pt>
                <c:pt idx="886">
                  <c:v>-0.13113304847502572</c:v>
                </c:pt>
                <c:pt idx="887">
                  <c:v>-9.9970422951789262E-2</c:v>
                </c:pt>
                <c:pt idx="888">
                  <c:v>-8.0514815923376282E-2</c:v>
                </c:pt>
                <c:pt idx="889">
                  <c:v>-8.5436893203883479E-2</c:v>
                </c:pt>
                <c:pt idx="890">
                  <c:v>-7.9562259686483228E-2</c:v>
                </c:pt>
                <c:pt idx="891">
                  <c:v>-8.5939783688979809E-2</c:v>
                </c:pt>
                <c:pt idx="892">
                  <c:v>-6.7012601927353588E-2</c:v>
                </c:pt>
                <c:pt idx="893">
                  <c:v>-3.4166543410737993E-2</c:v>
                </c:pt>
                <c:pt idx="894">
                  <c:v>-2.9000594883997644E-2</c:v>
                </c:pt>
                <c:pt idx="895">
                  <c:v>-3.5634411808558197E-2</c:v>
                </c:pt>
                <c:pt idx="896">
                  <c:v>-1.7184202592704367E-2</c:v>
                </c:pt>
                <c:pt idx="897">
                  <c:v>-1.8836896397069869E-2</c:v>
                </c:pt>
                <c:pt idx="898">
                  <c:v>3.1859756097561087E-2</c:v>
                </c:pt>
                <c:pt idx="899">
                  <c:v>4.1938915058501669E-2</c:v>
                </c:pt>
                <c:pt idx="900">
                  <c:v>5.2526186075169568E-2</c:v>
                </c:pt>
                <c:pt idx="901">
                  <c:v>4.5678252845278378E-2</c:v>
                </c:pt>
                <c:pt idx="902">
                  <c:v>2.4113039471663322E-2</c:v>
                </c:pt>
                <c:pt idx="903">
                  <c:v>2.9065320483402157E-2</c:v>
                </c:pt>
                <c:pt idx="904">
                  <c:v>3.4825110737742637E-2</c:v>
                </c:pt>
                <c:pt idx="905">
                  <c:v>5.690053970701614E-2</c:v>
                </c:pt>
                <c:pt idx="906">
                  <c:v>7.3002970142254098E-2</c:v>
                </c:pt>
                <c:pt idx="907">
                  <c:v>7.8302916861644256E-2</c:v>
                </c:pt>
                <c:pt idx="908">
                  <c:v>8.8290544771446378E-2</c:v>
                </c:pt>
                <c:pt idx="909">
                  <c:v>0.11434871633328081</c:v>
                </c:pt>
                <c:pt idx="910">
                  <c:v>9.845046173110017E-2</c:v>
                </c:pt>
                <c:pt idx="911">
                  <c:v>9.0071807680299765E-2</c:v>
                </c:pt>
                <c:pt idx="912">
                  <c:v>0.10214969402165375</c:v>
                </c:pt>
                <c:pt idx="913">
                  <c:v>0.10329916720051258</c:v>
                </c:pt>
                <c:pt idx="914">
                  <c:v>0.10126582278481</c:v>
                </c:pt>
                <c:pt idx="915">
                  <c:v>0.10874031926663497</c:v>
                </c:pt>
                <c:pt idx="916">
                  <c:v>9.6567862714508568E-2</c:v>
                </c:pt>
                <c:pt idx="917">
                  <c:v>9.0020176936209895E-2</c:v>
                </c:pt>
                <c:pt idx="918">
                  <c:v>0.12148642210576477</c:v>
                </c:pt>
                <c:pt idx="919">
                  <c:v>0.12959719789842383</c:v>
                </c:pt>
                <c:pt idx="920">
                  <c:v>0.13034558939561314</c:v>
                </c:pt>
                <c:pt idx="921">
                  <c:v>0.12033978291647007</c:v>
                </c:pt>
                <c:pt idx="922">
                  <c:v>0.14105833598979922</c:v>
                </c:pt>
                <c:pt idx="923">
                  <c:v>0.14340774048498472</c:v>
                </c:pt>
                <c:pt idx="924">
                  <c:v>0.15195369030390737</c:v>
                </c:pt>
                <c:pt idx="925">
                  <c:v>0.16918330897873024</c:v>
                </c:pt>
                <c:pt idx="926">
                  <c:v>0.18104713749796097</c:v>
                </c:pt>
                <c:pt idx="927">
                  <c:v>0.17486962190352018</c:v>
                </c:pt>
                <c:pt idx="928">
                  <c:v>0.21292266488115175</c:v>
                </c:pt>
                <c:pt idx="929">
                  <c:v>0.21445338698859828</c:v>
                </c:pt>
                <c:pt idx="930">
                  <c:v>0.19140294466068708</c:v>
                </c:pt>
                <c:pt idx="931">
                  <c:v>0.21092022452798109</c:v>
                </c:pt>
              </c:numCache>
            </c:numRef>
          </c:val>
          <c:smooth val="0"/>
          <c:extLst>
            <c:ext xmlns:c16="http://schemas.microsoft.com/office/drawing/2014/chart" uri="{C3380CC4-5D6E-409C-BE32-E72D297353CC}">
              <c16:uniqueId val="{00000000-EF88-4294-A471-C1CAF7374304}"/>
            </c:ext>
          </c:extLst>
        </c:ser>
        <c:dLbls>
          <c:showLegendKey val="0"/>
          <c:showVal val="0"/>
          <c:showCatName val="0"/>
          <c:showSerName val="0"/>
          <c:showPercent val="0"/>
          <c:showBubbleSize val="0"/>
        </c:dLbls>
        <c:smooth val="0"/>
        <c:axId val="1226533328"/>
        <c:axId val="1226531408"/>
      </c:lineChart>
      <c:dateAx>
        <c:axId val="1226533328"/>
        <c:scaling>
          <c:orientation val="minMax"/>
          <c:min val="42005"/>
        </c:scaling>
        <c:delete val="0"/>
        <c:axPos val="b"/>
        <c:numFmt formatCode="yyyy" sourceLinked="0"/>
        <c:majorTickMark val="none"/>
        <c:minorTickMark val="none"/>
        <c:tickLblPos val="low"/>
        <c:spPr>
          <a:noFill/>
          <a:ln w="6350" cap="flat" cmpd="sng" algn="ctr">
            <a:solidFill>
              <a:srgbClr val="ECEBE4"/>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226531408"/>
        <c:crosses val="autoZero"/>
        <c:auto val="1"/>
        <c:lblOffset val="100"/>
        <c:baseTimeUnit val="days"/>
      </c:dateAx>
      <c:valAx>
        <c:axId val="1226531408"/>
        <c:scaling>
          <c:orientation val="minMax"/>
          <c:max val="0.4"/>
          <c:min val="-0.2"/>
        </c:scaling>
        <c:delete val="0"/>
        <c:axPos val="l"/>
        <c:majorGridlines>
          <c:spPr>
            <a:ln w="9525" cap="flat" cmpd="sng" algn="ctr">
              <a:solidFill>
                <a:schemeClr val="bg1">
                  <a:lumMod val="9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2265333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400">
          <a:latin typeface="Frutiger 45 Light" panose="020B060302020202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587813624901222E-2"/>
          <c:y val="6.9078655555826471E-2"/>
          <c:w val="0.89167666666666667"/>
          <c:h val="0.84551700631923421"/>
        </c:manualLayout>
      </c:layout>
      <c:barChart>
        <c:barDir val="col"/>
        <c:grouping val="clustered"/>
        <c:varyColors val="0"/>
        <c:ser>
          <c:idx val="0"/>
          <c:order val="0"/>
          <c:spPr>
            <a:solidFill>
              <a:srgbClr val="8E8D83"/>
            </a:solidFill>
            <a:ln w="9525">
              <a:solidFill>
                <a:srgbClr val="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24]Tabelle1!$A$3:$A$7</c:f>
              <c:numCache>
                <c:formatCode>General</c:formatCode>
                <c:ptCount val="5"/>
                <c:pt idx="0">
                  <c:v>2021</c:v>
                </c:pt>
                <c:pt idx="1">
                  <c:v>2022</c:v>
                </c:pt>
                <c:pt idx="2">
                  <c:v>2023</c:v>
                </c:pt>
                <c:pt idx="3">
                  <c:v>2024</c:v>
                </c:pt>
                <c:pt idx="4">
                  <c:v>2025</c:v>
                </c:pt>
              </c:numCache>
            </c:numRef>
          </c:cat>
          <c:val>
            <c:numRef>
              <c:f>[24]Tabelle1!$B$3:$B$7</c:f>
              <c:numCache>
                <c:formatCode>General</c:formatCode>
                <c:ptCount val="5"/>
                <c:pt idx="0">
                  <c:v>185</c:v>
                </c:pt>
                <c:pt idx="1">
                  <c:v>201</c:v>
                </c:pt>
                <c:pt idx="2">
                  <c:v>305</c:v>
                </c:pt>
                <c:pt idx="3">
                  <c:v>588</c:v>
                </c:pt>
                <c:pt idx="4">
                  <c:v>678</c:v>
                </c:pt>
              </c:numCache>
            </c:numRef>
          </c:val>
          <c:extLst>
            <c:ext xmlns:c16="http://schemas.microsoft.com/office/drawing/2014/chart" uri="{C3380CC4-5D6E-409C-BE32-E72D297353CC}">
              <c16:uniqueId val="{00000000-28E3-4954-BEE4-3597D9A046F5}"/>
            </c:ext>
          </c:extLst>
        </c:ser>
        <c:dLbls>
          <c:dLblPos val="outEnd"/>
          <c:showLegendKey val="0"/>
          <c:showVal val="1"/>
          <c:showCatName val="0"/>
          <c:showSerName val="0"/>
          <c:showPercent val="0"/>
          <c:showBubbleSize val="0"/>
        </c:dLbls>
        <c:gapWidth val="50"/>
        <c:axId val="634569791"/>
        <c:axId val="634574591"/>
      </c:barChart>
      <c:catAx>
        <c:axId val="634569791"/>
        <c:scaling>
          <c:orientation val="minMax"/>
        </c:scaling>
        <c:delete val="0"/>
        <c:axPos val="b"/>
        <c:numFmt formatCode="General" sourceLinked="1"/>
        <c:majorTickMark val="none"/>
        <c:minorTickMark val="none"/>
        <c:tickLblPos val="low"/>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634574591"/>
        <c:crosses val="autoZero"/>
        <c:auto val="1"/>
        <c:lblAlgn val="ctr"/>
        <c:lblOffset val="100"/>
        <c:noMultiLvlLbl val="0"/>
      </c:catAx>
      <c:valAx>
        <c:axId val="634574591"/>
        <c:scaling>
          <c:orientation val="minMax"/>
        </c:scaling>
        <c:delete val="0"/>
        <c:axPos val="l"/>
        <c:numFmt formatCode="#,##0" sourceLinked="0"/>
        <c:majorTickMark val="none"/>
        <c:minorTickMark val="none"/>
        <c:tickLblPos val="nextTo"/>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634569791"/>
        <c:crosses val="autoZero"/>
        <c:crossBetween val="between"/>
      </c:valAx>
      <c:spPr>
        <a:solidFill>
          <a:srgbClr val="FFFFFF"/>
        </a:solid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a:solidFill>
            <a:srgbClr val="000000"/>
          </a:solidFill>
          <a:latin typeface="Frutiger 45 Light" panose="020B0603020202020204" pitchFamily="34" charset="0"/>
          <a:ea typeface="+mn-ea"/>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1.1129660545353366E-2"/>
          <c:y val="0.1091118800461361"/>
          <c:w val="0.95826377295492482"/>
          <c:h val="0.77747214124186037"/>
        </c:manualLayout>
      </c:layout>
      <c:barChart>
        <c:barDir val="col"/>
        <c:grouping val="stacked"/>
        <c:varyColors val="0"/>
        <c:ser>
          <c:idx val="0"/>
          <c:order val="0"/>
          <c:tx>
            <c:strRef>
              <c:f>'2026 budget'!$F$2</c:f>
              <c:strCache>
                <c:ptCount val="1"/>
                <c:pt idx="0">
                  <c:v>Initial budget</c:v>
                </c:pt>
              </c:strCache>
            </c:strRef>
          </c:tx>
          <c:spPr>
            <a:solidFill>
              <a:srgbClr val="8E8D83"/>
            </a:solidFill>
            <a:ln w="12700" cap="flat" cmpd="sng" algn="ctr">
              <a:solidFill>
                <a:srgbClr val="FFFFFF"/>
              </a:solidFill>
              <a:prstDash val="solid"/>
              <a:round/>
              <a:headEnd type="none" w="med" len="med"/>
              <a:tailEnd type="none" w="med" len="med"/>
            </a:ln>
            <a:effectLst/>
          </c:spPr>
          <c:invertIfNegative val="0"/>
          <c:cat>
            <c:strRef>
              <c:f>'2026 budget'!$E$3:$E$19</c:f>
              <c:strCache>
                <c:ptCount val="17"/>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E</c:v>
                </c:pt>
              </c:strCache>
            </c:strRef>
          </c:cat>
          <c:val>
            <c:numRef>
              <c:f>'2026 budget'!$F$3:$F$19</c:f>
              <c:numCache>
                <c:formatCode>0.0</c:formatCode>
                <c:ptCount val="17"/>
                <c:pt idx="0">
                  <c:v>92.299192618999996</c:v>
                </c:pt>
                <c:pt idx="1">
                  <c:v>92.411612715000004</c:v>
                </c:pt>
                <c:pt idx="2">
                  <c:v>90.333931511000003</c:v>
                </c:pt>
                <c:pt idx="3">
                  <c:v>92.611539328000006</c:v>
                </c:pt>
                <c:pt idx="4">
                  <c:v>95.882302828999997</c:v>
                </c:pt>
                <c:pt idx="5">
                  <c:v>96.341950969999999</c:v>
                </c:pt>
                <c:pt idx="6">
                  <c:v>96.721841053999995</c:v>
                </c:pt>
                <c:pt idx="7">
                  <c:v>97.454709410000007</c:v>
                </c:pt>
                <c:pt idx="8">
                  <c:v>97.712769410999996</c:v>
                </c:pt>
                <c:pt idx="9">
                  <c:v>101.45709357</c:v>
                </c:pt>
                <c:pt idx="10">
                  <c:v>102.65797132599999</c:v>
                </c:pt>
                <c:pt idx="11">
                  <c:v>106.609707875</c:v>
                </c:pt>
                <c:pt idx="12">
                  <c:v>107.596424558</c:v>
                </c:pt>
                <c:pt idx="13">
                  <c:v>114.381235569</c:v>
                </c:pt>
                <c:pt idx="14">
                  <c:v>112.57168842199999</c:v>
                </c:pt>
                <c:pt idx="15">
                  <c:v>115.19784524799999</c:v>
                </c:pt>
                <c:pt idx="16">
                  <c:v>117.50180215296</c:v>
                </c:pt>
              </c:numCache>
            </c:numRef>
          </c:val>
          <c:extLst>
            <c:ext xmlns:c16="http://schemas.microsoft.com/office/drawing/2014/chart" uri="{C3380CC4-5D6E-409C-BE32-E72D297353CC}">
              <c16:uniqueId val="{00000000-3F02-441E-B45F-4666B00EEEDF}"/>
            </c:ext>
          </c:extLst>
        </c:ser>
        <c:ser>
          <c:idx val="1"/>
          <c:order val="1"/>
          <c:tx>
            <c:strRef>
              <c:f>'2026 budget'!$G$2</c:f>
              <c:strCache>
                <c:ptCount val="1"/>
                <c:pt idx="0">
                  <c:v>Supplementary budget</c:v>
                </c:pt>
              </c:strCache>
            </c:strRef>
          </c:tx>
          <c:spPr>
            <a:solidFill>
              <a:srgbClr val="BD000C"/>
            </a:solidFill>
            <a:ln w="12700" cap="flat" cmpd="sng" algn="ctr">
              <a:solidFill>
                <a:srgbClr val="FFFFFF"/>
              </a:solidFill>
              <a:prstDash val="solid"/>
              <a:round/>
              <a:headEnd type="none" w="med" len="med"/>
              <a:tailEnd type="none" w="med" len="med"/>
            </a:ln>
            <a:effectLst/>
          </c:spPr>
          <c:invertIfNegative val="0"/>
          <c:cat>
            <c:strRef>
              <c:f>'2026 budget'!$E$3:$E$19</c:f>
              <c:strCache>
                <c:ptCount val="17"/>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E</c:v>
                </c:pt>
              </c:strCache>
            </c:strRef>
          </c:cat>
          <c:val>
            <c:numRef>
              <c:f>'2026 budget'!$G$3:$G$19</c:f>
              <c:numCache>
                <c:formatCode>0.0</c:formatCode>
                <c:ptCount val="17"/>
                <c:pt idx="0">
                  <c:v>14.010154222000001</c:v>
                </c:pt>
                <c:pt idx="1">
                  <c:v>4.4292000659999999</c:v>
                </c:pt>
                <c:pt idx="2">
                  <c:v>15.098854141</c:v>
                </c:pt>
                <c:pt idx="3">
                  <c:v>10.202717433</c:v>
                </c:pt>
                <c:pt idx="4">
                  <c:v>5.465428138</c:v>
                </c:pt>
                <c:pt idx="5">
                  <c:v>3.1180348640000002</c:v>
                </c:pt>
                <c:pt idx="6">
                  <c:v>3.3213239969999999</c:v>
                </c:pt>
                <c:pt idx="7">
                  <c:v>3.5001737159999999</c:v>
                </c:pt>
                <c:pt idx="8">
                  <c:v>1.6547781420000001</c:v>
                </c:pt>
                <c:pt idx="9">
                  <c:v>3.6452918560000001</c:v>
                </c:pt>
                <c:pt idx="10">
                  <c:v>3.1945714980000002</c:v>
                </c:pt>
                <c:pt idx="11">
                  <c:v>73.029796028999996</c:v>
                </c:pt>
                <c:pt idx="12">
                  <c:v>35.989510824</c:v>
                </c:pt>
                <c:pt idx="13">
                  <c:v>31.623144538999998</c:v>
                </c:pt>
                <c:pt idx="14">
                  <c:v>13.199164262</c:v>
                </c:pt>
                <c:pt idx="15">
                  <c:v>13.943285304</c:v>
                </c:pt>
                <c:pt idx="16">
                  <c:v>21.3</c:v>
                </c:pt>
              </c:numCache>
            </c:numRef>
          </c:val>
          <c:extLst>
            <c:ext xmlns:c16="http://schemas.microsoft.com/office/drawing/2014/chart" uri="{C3380CC4-5D6E-409C-BE32-E72D297353CC}">
              <c16:uniqueId val="{00000001-3F02-441E-B45F-4666B00EEEDF}"/>
            </c:ext>
          </c:extLst>
        </c:ser>
        <c:dLbls>
          <c:showLegendKey val="0"/>
          <c:showVal val="0"/>
          <c:showCatName val="0"/>
          <c:showSerName val="0"/>
          <c:showPercent val="0"/>
          <c:showBubbleSize val="0"/>
        </c:dLbls>
        <c:gapWidth val="50"/>
        <c:overlap val="100"/>
        <c:axId val="469898703"/>
        <c:axId val="469896303"/>
      </c:barChart>
      <c:catAx>
        <c:axId val="469898703"/>
        <c:scaling>
          <c:orientation val="minMax"/>
        </c:scaling>
        <c:delete val="0"/>
        <c:axPos val="b"/>
        <c:numFmt formatCode="General" sourceLinked="1"/>
        <c:majorTickMark val="none"/>
        <c:minorTickMark val="none"/>
        <c:tickLblPos val="low"/>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69896303"/>
        <c:crosses val="autoZero"/>
        <c:auto val="1"/>
        <c:lblAlgn val="ctr"/>
        <c:lblOffset val="100"/>
        <c:noMultiLvlLbl val="0"/>
      </c:catAx>
      <c:valAx>
        <c:axId val="469896303"/>
        <c:scaling>
          <c:orientation val="minMax"/>
        </c:scaling>
        <c:delete val="0"/>
        <c:axPos val="l"/>
        <c:majorGridlines>
          <c:spPr>
            <a:ln w="6350" cap="flat" cmpd="sng" algn="ctr">
              <a:solidFill>
                <a:srgbClr val="ECEBE4"/>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698987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00">
          <a:solidFill>
            <a:srgbClr val="000000"/>
          </a:solidFill>
          <a:latin typeface="+mn-lt"/>
          <a:ea typeface="+mn-ea"/>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22528097659305"/>
          <c:y val="0.12056535502045611"/>
          <c:w val="0.78136454448525505"/>
          <c:h val="0.61667664171453029"/>
        </c:manualLayout>
      </c:layout>
      <c:barChart>
        <c:barDir val="col"/>
        <c:grouping val="clustered"/>
        <c:varyColors val="0"/>
        <c:ser>
          <c:idx val="0"/>
          <c:order val="1"/>
          <c:tx>
            <c:strRef>
              <c:f>'3 takaichi approval'!$D$1</c:f>
              <c:strCache>
                <c:ptCount val="1"/>
                <c:pt idx="0">
                  <c:v>Seats of leading party (rhs)</c:v>
                </c:pt>
              </c:strCache>
            </c:strRef>
          </c:tx>
          <c:spPr>
            <a:solidFill>
              <a:srgbClr val="8E8D83"/>
            </a:solidFill>
            <a:ln w="12700" cap="flat" cmpd="sng" algn="ctr">
              <a:solidFill>
                <a:srgbClr val="FFFFFF"/>
              </a:solidFill>
              <a:prstDash val="solid"/>
              <a:round/>
              <a:headEnd type="none" w="med" len="med"/>
              <a:tailEnd type="none" w="med" len="med"/>
            </a:ln>
            <a:effectLst/>
          </c:spPr>
          <c:invertIfNegative val="0"/>
          <c:cat>
            <c:strRef>
              <c:f>'3 takaichi approval'!$B$2:$B$9</c:f>
              <c:strCache>
                <c:ptCount val="8"/>
                <c:pt idx="0">
                  <c:v>Takaichi 
2025</c:v>
                </c:pt>
                <c:pt idx="1">
                  <c:v>Ishiba
2024</c:v>
                </c:pt>
                <c:pt idx="2">
                  <c:v>Kishida
2021</c:v>
                </c:pt>
                <c:pt idx="3">
                  <c:v>Abe
2017</c:v>
                </c:pt>
                <c:pt idx="4">
                  <c:v>Abe
2014</c:v>
                </c:pt>
                <c:pt idx="5">
                  <c:v>Noda
2012
(CDPJ)</c:v>
                </c:pt>
                <c:pt idx="6">
                  <c:v>Aso
2009</c:v>
                </c:pt>
                <c:pt idx="7">
                  <c:v>Koizumi
2005</c:v>
                </c:pt>
              </c:strCache>
            </c:strRef>
          </c:cat>
          <c:val>
            <c:numRef>
              <c:f>'3 takaichi approval'!$D$2:$D$9</c:f>
              <c:numCache>
                <c:formatCode>General</c:formatCode>
                <c:ptCount val="8"/>
                <c:pt idx="0">
                  <c:v>316</c:v>
                </c:pt>
                <c:pt idx="1">
                  <c:v>191</c:v>
                </c:pt>
                <c:pt idx="2">
                  <c:v>261</c:v>
                </c:pt>
                <c:pt idx="3">
                  <c:v>281</c:v>
                </c:pt>
                <c:pt idx="4">
                  <c:v>290</c:v>
                </c:pt>
                <c:pt idx="5">
                  <c:v>57</c:v>
                </c:pt>
                <c:pt idx="6">
                  <c:v>119</c:v>
                </c:pt>
                <c:pt idx="7">
                  <c:v>296</c:v>
                </c:pt>
              </c:numCache>
            </c:numRef>
          </c:val>
          <c:extLst>
            <c:ext xmlns:c16="http://schemas.microsoft.com/office/drawing/2014/chart" uri="{C3380CC4-5D6E-409C-BE32-E72D297353CC}">
              <c16:uniqueId val="{00000000-22A1-4D62-B76E-BAED3787CE34}"/>
            </c:ext>
          </c:extLst>
        </c:ser>
        <c:dLbls>
          <c:showLegendKey val="0"/>
          <c:showVal val="0"/>
          <c:showCatName val="0"/>
          <c:showSerName val="0"/>
          <c:showPercent val="0"/>
          <c:showBubbleSize val="0"/>
        </c:dLbls>
        <c:gapWidth val="50"/>
        <c:axId val="288603680"/>
        <c:axId val="288609920"/>
      </c:barChart>
      <c:lineChart>
        <c:grouping val="standard"/>
        <c:varyColors val="0"/>
        <c:ser>
          <c:idx val="1"/>
          <c:order val="0"/>
          <c:tx>
            <c:strRef>
              <c:f>'3 takaichi approval'!$C$1</c:f>
              <c:strCache>
                <c:ptCount val="1"/>
                <c:pt idx="0">
                  <c:v>Approval rating (lhs)</c:v>
                </c:pt>
              </c:strCache>
            </c:strRef>
          </c:tx>
          <c:spPr>
            <a:ln w="12700" cap="rnd" cmpd="sng" algn="ctr">
              <a:noFill/>
              <a:prstDash val="solid"/>
              <a:round/>
              <a:headEnd type="none" w="med" len="med"/>
              <a:tailEnd type="none" w="med" len="med"/>
            </a:ln>
            <a:effectLst/>
          </c:spPr>
          <c:marker>
            <c:symbol val="circle"/>
            <c:size val="8"/>
            <c:spPr>
              <a:solidFill>
                <a:schemeClr val="tx2"/>
              </a:solidFill>
              <a:ln w="12700" cap="rnd" cmpd="sng" algn="ctr">
                <a:noFill/>
                <a:prstDash val="solid"/>
                <a:round/>
                <a:headEnd type="none" w="med" len="med"/>
                <a:tailEnd type="none" w="med" len="med"/>
              </a:ln>
              <a:effectLst/>
            </c:spPr>
          </c:marker>
          <c:cat>
            <c:strRef>
              <c:f>'3 takaichi approval'!$B$2:$B$9</c:f>
              <c:strCache>
                <c:ptCount val="8"/>
                <c:pt idx="0">
                  <c:v>Takaichi 
2025</c:v>
                </c:pt>
                <c:pt idx="1">
                  <c:v>Ishiba
2024</c:v>
                </c:pt>
                <c:pt idx="2">
                  <c:v>Kishida
2021</c:v>
                </c:pt>
                <c:pt idx="3">
                  <c:v>Abe
2017</c:v>
                </c:pt>
                <c:pt idx="4">
                  <c:v>Abe
2014</c:v>
                </c:pt>
                <c:pt idx="5">
                  <c:v>Noda
2012
(CDPJ)</c:v>
                </c:pt>
                <c:pt idx="6">
                  <c:v>Aso
2009</c:v>
                </c:pt>
                <c:pt idx="7">
                  <c:v>Koizumi
2005</c:v>
                </c:pt>
              </c:strCache>
            </c:strRef>
          </c:cat>
          <c:val>
            <c:numRef>
              <c:f>'3 takaichi approval'!$C$2:$C$9</c:f>
              <c:numCache>
                <c:formatCode>General</c:formatCode>
                <c:ptCount val="8"/>
                <c:pt idx="0">
                  <c:v>0.62</c:v>
                </c:pt>
                <c:pt idx="1">
                  <c:v>0.44</c:v>
                </c:pt>
                <c:pt idx="2">
                  <c:v>0.49</c:v>
                </c:pt>
                <c:pt idx="3">
                  <c:v>0.44</c:v>
                </c:pt>
                <c:pt idx="4">
                  <c:v>0.47</c:v>
                </c:pt>
                <c:pt idx="5">
                  <c:v>0.2</c:v>
                </c:pt>
                <c:pt idx="6">
                  <c:v>0.23</c:v>
                </c:pt>
                <c:pt idx="7">
                  <c:v>0.47</c:v>
                </c:pt>
              </c:numCache>
            </c:numRef>
          </c:val>
          <c:smooth val="0"/>
          <c:extLst>
            <c:ext xmlns:c16="http://schemas.microsoft.com/office/drawing/2014/chart" uri="{C3380CC4-5D6E-409C-BE32-E72D297353CC}">
              <c16:uniqueId val="{00000001-22A1-4D62-B76E-BAED3787CE34}"/>
            </c:ext>
          </c:extLst>
        </c:ser>
        <c:dLbls>
          <c:showLegendKey val="0"/>
          <c:showVal val="0"/>
          <c:showCatName val="0"/>
          <c:showSerName val="0"/>
          <c:showPercent val="0"/>
          <c:showBubbleSize val="0"/>
        </c:dLbls>
        <c:marker val="1"/>
        <c:smooth val="0"/>
        <c:axId val="288561920"/>
        <c:axId val="288548000"/>
      </c:lineChart>
      <c:lineChart>
        <c:grouping val="standard"/>
        <c:varyColors val="0"/>
        <c:ser>
          <c:idx val="2"/>
          <c:order val="2"/>
          <c:tx>
            <c:strRef>
              <c:f>'3 takaichi approval'!$E$1</c:f>
              <c:strCache>
                <c:ptCount val="1"/>
              </c:strCache>
            </c:strRef>
          </c:tx>
          <c:spPr>
            <a:ln w="12700" cap="rnd" cmpd="sng" algn="ctr">
              <a:solidFill>
                <a:srgbClr val="BD000C"/>
              </a:solidFill>
              <a:prstDash val="solid"/>
              <a:round/>
              <a:headEnd type="none" w="med" len="med"/>
              <a:tailEnd type="none" w="med" len="med"/>
            </a:ln>
            <a:effectLst/>
          </c:spPr>
          <c:marker>
            <c:symbol val="none"/>
          </c:marker>
          <c:cat>
            <c:strRef>
              <c:f>'3 takaichi approval'!$B$2:$B$9</c:f>
              <c:strCache>
                <c:ptCount val="8"/>
                <c:pt idx="0">
                  <c:v>Takaichi 
2025</c:v>
                </c:pt>
                <c:pt idx="1">
                  <c:v>Ishiba
2024</c:v>
                </c:pt>
                <c:pt idx="2">
                  <c:v>Kishida
2021</c:v>
                </c:pt>
                <c:pt idx="3">
                  <c:v>Abe
2017</c:v>
                </c:pt>
                <c:pt idx="4">
                  <c:v>Abe
2014</c:v>
                </c:pt>
                <c:pt idx="5">
                  <c:v>Noda
2012
(CDPJ)</c:v>
                </c:pt>
                <c:pt idx="6">
                  <c:v>Aso
2009</c:v>
                </c:pt>
                <c:pt idx="7">
                  <c:v>Koizumi
2005</c:v>
                </c:pt>
              </c:strCache>
            </c:strRef>
          </c:cat>
          <c:val>
            <c:numRef>
              <c:f>'3 takaichi approval'!$E$2:$E$9</c:f>
              <c:numCache>
                <c:formatCode>General</c:formatCode>
                <c:ptCount val="8"/>
                <c:pt idx="0">
                  <c:v>233</c:v>
                </c:pt>
                <c:pt idx="1">
                  <c:v>233</c:v>
                </c:pt>
                <c:pt idx="2">
                  <c:v>233</c:v>
                </c:pt>
                <c:pt idx="3">
                  <c:v>233</c:v>
                </c:pt>
                <c:pt idx="4">
                  <c:v>233</c:v>
                </c:pt>
                <c:pt idx="5">
                  <c:v>233</c:v>
                </c:pt>
                <c:pt idx="6">
                  <c:v>233</c:v>
                </c:pt>
                <c:pt idx="7">
                  <c:v>233</c:v>
                </c:pt>
              </c:numCache>
            </c:numRef>
          </c:val>
          <c:smooth val="0"/>
          <c:extLst>
            <c:ext xmlns:c16="http://schemas.microsoft.com/office/drawing/2014/chart" uri="{C3380CC4-5D6E-409C-BE32-E72D297353CC}">
              <c16:uniqueId val="{00000002-22A1-4D62-B76E-BAED3787CE34}"/>
            </c:ext>
          </c:extLst>
        </c:ser>
        <c:dLbls>
          <c:showLegendKey val="0"/>
          <c:showVal val="0"/>
          <c:showCatName val="0"/>
          <c:showSerName val="0"/>
          <c:showPercent val="0"/>
          <c:showBubbleSize val="0"/>
        </c:dLbls>
        <c:marker val="1"/>
        <c:smooth val="0"/>
        <c:axId val="288603680"/>
        <c:axId val="288609920"/>
      </c:lineChart>
      <c:catAx>
        <c:axId val="288561920"/>
        <c:scaling>
          <c:orientation val="minMax"/>
        </c:scaling>
        <c:delete val="0"/>
        <c:axPos val="b"/>
        <c:numFmt formatCode="General" sourceLinked="1"/>
        <c:majorTickMark val="none"/>
        <c:minorTickMark val="none"/>
        <c:tickLblPos val="low"/>
        <c:spPr>
          <a:noFill/>
          <a:ln w="12700" cap="flat" cmpd="sng" algn="ctr">
            <a:no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288548000"/>
        <c:crosses val="autoZero"/>
        <c:auto val="1"/>
        <c:lblAlgn val="ctr"/>
        <c:lblOffset val="100"/>
        <c:noMultiLvlLbl val="0"/>
      </c:catAx>
      <c:valAx>
        <c:axId val="288548000"/>
        <c:scaling>
          <c:orientation val="minMax"/>
        </c:scaling>
        <c:delete val="0"/>
        <c:axPos val="l"/>
        <c:majorGridlines>
          <c:spPr>
            <a:ln w="6350" cap="flat" cmpd="sng" algn="ctr">
              <a:solidFill>
                <a:srgbClr val="ECEBE4"/>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288561920"/>
        <c:crosses val="autoZero"/>
        <c:crossBetween val="between"/>
      </c:valAx>
      <c:valAx>
        <c:axId val="28860992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288603680"/>
        <c:crosses val="max"/>
        <c:crossBetween val="between"/>
      </c:valAx>
      <c:catAx>
        <c:axId val="288603680"/>
        <c:scaling>
          <c:orientation val="minMax"/>
        </c:scaling>
        <c:delete val="1"/>
        <c:axPos val="b"/>
        <c:numFmt formatCode="General" sourceLinked="1"/>
        <c:majorTickMark val="out"/>
        <c:minorTickMark val="none"/>
        <c:tickLblPos val="nextTo"/>
        <c:crossAx val="288609920"/>
        <c:crosses val="autoZero"/>
        <c:auto val="1"/>
        <c:lblAlgn val="ctr"/>
        <c:lblOffset val="100"/>
        <c:noMultiLvlLbl val="0"/>
      </c:catAx>
      <c:spPr>
        <a:noFill/>
        <a:ln>
          <a:noFill/>
        </a:ln>
        <a:effectLst/>
      </c:spPr>
    </c:plotArea>
    <c:legend>
      <c:legendPos val="b"/>
      <c:legendEntry>
        <c:idx val="2"/>
        <c:delete val="1"/>
      </c:legendEntry>
      <c:layout>
        <c:manualLayout>
          <c:xMode val="edge"/>
          <c:yMode val="edge"/>
          <c:x val="0.15105819273835347"/>
          <c:y val="0.92818606007582383"/>
          <c:w val="0.67238966411104317"/>
          <c:h val="7.1813939924176146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Frutiger 45 Light" panose="020B0603020202020204" pitchFamily="34" charset="0"/>
          <a:ea typeface="+mn-ea"/>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61839851525775"/>
          <c:y val="3.6276082297731285E-2"/>
          <c:w val="0.79216369199173464"/>
          <c:h val="0.71021606493482836"/>
        </c:manualLayout>
      </c:layout>
      <c:lineChart>
        <c:grouping val="standard"/>
        <c:varyColors val="0"/>
        <c:ser>
          <c:idx val="1"/>
          <c:order val="0"/>
          <c:tx>
            <c:strRef>
              <c:f>'Toipx EPS'!$K$323</c:f>
              <c:strCache>
                <c:ptCount val="1"/>
                <c:pt idx="0">
                  <c:v>Topix (LHS)</c:v>
                </c:pt>
              </c:strCache>
            </c:strRef>
          </c:tx>
          <c:spPr>
            <a:ln w="19050" cap="rnd" cmpd="sng" algn="ctr">
              <a:solidFill>
                <a:srgbClr val="8E8D83"/>
              </a:solidFill>
              <a:prstDash val="solid"/>
              <a:round/>
              <a:headEnd type="none" w="med" len="med"/>
              <a:tailEnd type="none" w="med" len="med"/>
            </a:ln>
            <a:effectLst/>
          </c:spPr>
          <c:marker>
            <c:symbol val="none"/>
          </c:marker>
          <c:cat>
            <c:numRef>
              <c:f>'Toipx EPS'!$B$2:$B$319</c:f>
              <c:numCache>
                <c:formatCode>m/d/yyyy</c:formatCode>
                <c:ptCount val="318"/>
                <c:pt idx="0">
                  <c:v>43833</c:v>
                </c:pt>
                <c:pt idx="1">
                  <c:v>43840</c:v>
                </c:pt>
                <c:pt idx="2">
                  <c:v>43847</c:v>
                </c:pt>
                <c:pt idx="3">
                  <c:v>43854</c:v>
                </c:pt>
                <c:pt idx="4">
                  <c:v>43861</c:v>
                </c:pt>
                <c:pt idx="5">
                  <c:v>43868</c:v>
                </c:pt>
                <c:pt idx="6">
                  <c:v>43875</c:v>
                </c:pt>
                <c:pt idx="7">
                  <c:v>43882</c:v>
                </c:pt>
                <c:pt idx="8">
                  <c:v>43889</c:v>
                </c:pt>
                <c:pt idx="9">
                  <c:v>43896</c:v>
                </c:pt>
                <c:pt idx="10">
                  <c:v>43903</c:v>
                </c:pt>
                <c:pt idx="11">
                  <c:v>43910</c:v>
                </c:pt>
                <c:pt idx="12">
                  <c:v>43917</c:v>
                </c:pt>
                <c:pt idx="13">
                  <c:v>43924</c:v>
                </c:pt>
                <c:pt idx="14">
                  <c:v>43931</c:v>
                </c:pt>
                <c:pt idx="15">
                  <c:v>43938</c:v>
                </c:pt>
                <c:pt idx="16">
                  <c:v>43945</c:v>
                </c:pt>
                <c:pt idx="17">
                  <c:v>43952</c:v>
                </c:pt>
                <c:pt idx="18">
                  <c:v>43959</c:v>
                </c:pt>
                <c:pt idx="19">
                  <c:v>43966</c:v>
                </c:pt>
                <c:pt idx="20">
                  <c:v>43973</c:v>
                </c:pt>
                <c:pt idx="21">
                  <c:v>43980</c:v>
                </c:pt>
                <c:pt idx="22">
                  <c:v>43987</c:v>
                </c:pt>
                <c:pt idx="23">
                  <c:v>43994</c:v>
                </c:pt>
                <c:pt idx="24">
                  <c:v>44001</c:v>
                </c:pt>
                <c:pt idx="25">
                  <c:v>44008</c:v>
                </c:pt>
                <c:pt idx="26">
                  <c:v>44015</c:v>
                </c:pt>
                <c:pt idx="27">
                  <c:v>44022</c:v>
                </c:pt>
                <c:pt idx="28">
                  <c:v>44029</c:v>
                </c:pt>
                <c:pt idx="29">
                  <c:v>44036</c:v>
                </c:pt>
                <c:pt idx="30">
                  <c:v>44043</c:v>
                </c:pt>
                <c:pt idx="31">
                  <c:v>44050</c:v>
                </c:pt>
                <c:pt idx="32">
                  <c:v>44057</c:v>
                </c:pt>
                <c:pt idx="33">
                  <c:v>44064</c:v>
                </c:pt>
                <c:pt idx="34">
                  <c:v>44071</c:v>
                </c:pt>
                <c:pt idx="35">
                  <c:v>44078</c:v>
                </c:pt>
                <c:pt idx="36">
                  <c:v>44085</c:v>
                </c:pt>
                <c:pt idx="37">
                  <c:v>44092</c:v>
                </c:pt>
                <c:pt idx="38">
                  <c:v>44099</c:v>
                </c:pt>
                <c:pt idx="39">
                  <c:v>44106</c:v>
                </c:pt>
                <c:pt idx="40">
                  <c:v>44113</c:v>
                </c:pt>
                <c:pt idx="41">
                  <c:v>44120</c:v>
                </c:pt>
                <c:pt idx="42">
                  <c:v>44127</c:v>
                </c:pt>
                <c:pt idx="43">
                  <c:v>44134</c:v>
                </c:pt>
                <c:pt idx="44">
                  <c:v>44141</c:v>
                </c:pt>
                <c:pt idx="45">
                  <c:v>44148</c:v>
                </c:pt>
                <c:pt idx="46">
                  <c:v>44155</c:v>
                </c:pt>
                <c:pt idx="47">
                  <c:v>44162</c:v>
                </c:pt>
                <c:pt idx="48">
                  <c:v>44169</c:v>
                </c:pt>
                <c:pt idx="49">
                  <c:v>44176</c:v>
                </c:pt>
                <c:pt idx="50">
                  <c:v>44183</c:v>
                </c:pt>
                <c:pt idx="51">
                  <c:v>44190</c:v>
                </c:pt>
                <c:pt idx="52">
                  <c:v>44197</c:v>
                </c:pt>
                <c:pt idx="53">
                  <c:v>44204</c:v>
                </c:pt>
                <c:pt idx="54">
                  <c:v>44211</c:v>
                </c:pt>
                <c:pt idx="55">
                  <c:v>44218</c:v>
                </c:pt>
                <c:pt idx="56">
                  <c:v>44225</c:v>
                </c:pt>
                <c:pt idx="57">
                  <c:v>44232</c:v>
                </c:pt>
                <c:pt idx="58">
                  <c:v>44239</c:v>
                </c:pt>
                <c:pt idx="59">
                  <c:v>44246</c:v>
                </c:pt>
                <c:pt idx="60">
                  <c:v>44253</c:v>
                </c:pt>
                <c:pt idx="61">
                  <c:v>44260</c:v>
                </c:pt>
                <c:pt idx="62">
                  <c:v>44267</c:v>
                </c:pt>
                <c:pt idx="63">
                  <c:v>44274</c:v>
                </c:pt>
                <c:pt idx="64">
                  <c:v>44281</c:v>
                </c:pt>
                <c:pt idx="65">
                  <c:v>44288</c:v>
                </c:pt>
                <c:pt idx="66">
                  <c:v>44295</c:v>
                </c:pt>
                <c:pt idx="67">
                  <c:v>44302</c:v>
                </c:pt>
                <c:pt idx="68">
                  <c:v>44309</c:v>
                </c:pt>
                <c:pt idx="69">
                  <c:v>44316</c:v>
                </c:pt>
                <c:pt idx="70">
                  <c:v>44323</c:v>
                </c:pt>
                <c:pt idx="71">
                  <c:v>44330</c:v>
                </c:pt>
                <c:pt idx="72">
                  <c:v>44337</c:v>
                </c:pt>
                <c:pt idx="73">
                  <c:v>44344</c:v>
                </c:pt>
                <c:pt idx="74">
                  <c:v>44351</c:v>
                </c:pt>
                <c:pt idx="75">
                  <c:v>44358</c:v>
                </c:pt>
                <c:pt idx="76">
                  <c:v>44365</c:v>
                </c:pt>
                <c:pt idx="77">
                  <c:v>44372</c:v>
                </c:pt>
                <c:pt idx="78">
                  <c:v>44379</c:v>
                </c:pt>
                <c:pt idx="79">
                  <c:v>44386</c:v>
                </c:pt>
                <c:pt idx="80">
                  <c:v>44393</c:v>
                </c:pt>
                <c:pt idx="81">
                  <c:v>44400</c:v>
                </c:pt>
                <c:pt idx="82">
                  <c:v>44407</c:v>
                </c:pt>
                <c:pt idx="83">
                  <c:v>44414</c:v>
                </c:pt>
                <c:pt idx="84">
                  <c:v>44421</c:v>
                </c:pt>
                <c:pt idx="85">
                  <c:v>44428</c:v>
                </c:pt>
                <c:pt idx="86">
                  <c:v>44435</c:v>
                </c:pt>
                <c:pt idx="87">
                  <c:v>44442</c:v>
                </c:pt>
                <c:pt idx="88">
                  <c:v>44449</c:v>
                </c:pt>
                <c:pt idx="89">
                  <c:v>44456</c:v>
                </c:pt>
                <c:pt idx="90">
                  <c:v>44463</c:v>
                </c:pt>
                <c:pt idx="91">
                  <c:v>44470</c:v>
                </c:pt>
                <c:pt idx="92">
                  <c:v>44477</c:v>
                </c:pt>
                <c:pt idx="93">
                  <c:v>44484</c:v>
                </c:pt>
                <c:pt idx="94">
                  <c:v>44491</c:v>
                </c:pt>
                <c:pt idx="95">
                  <c:v>44498</c:v>
                </c:pt>
                <c:pt idx="96">
                  <c:v>44505</c:v>
                </c:pt>
                <c:pt idx="97">
                  <c:v>44512</c:v>
                </c:pt>
                <c:pt idx="98">
                  <c:v>44519</c:v>
                </c:pt>
                <c:pt idx="99">
                  <c:v>44526</c:v>
                </c:pt>
                <c:pt idx="100">
                  <c:v>44533</c:v>
                </c:pt>
                <c:pt idx="101">
                  <c:v>44540</c:v>
                </c:pt>
                <c:pt idx="102">
                  <c:v>44547</c:v>
                </c:pt>
                <c:pt idx="103">
                  <c:v>44554</c:v>
                </c:pt>
                <c:pt idx="104">
                  <c:v>44561</c:v>
                </c:pt>
                <c:pt idx="105">
                  <c:v>44568</c:v>
                </c:pt>
                <c:pt idx="106">
                  <c:v>44575</c:v>
                </c:pt>
                <c:pt idx="107">
                  <c:v>44582</c:v>
                </c:pt>
                <c:pt idx="108">
                  <c:v>44589</c:v>
                </c:pt>
                <c:pt idx="109">
                  <c:v>44596</c:v>
                </c:pt>
                <c:pt idx="110">
                  <c:v>44603</c:v>
                </c:pt>
                <c:pt idx="111">
                  <c:v>44610</c:v>
                </c:pt>
                <c:pt idx="112">
                  <c:v>44617</c:v>
                </c:pt>
                <c:pt idx="113">
                  <c:v>44624</c:v>
                </c:pt>
                <c:pt idx="114">
                  <c:v>44631</c:v>
                </c:pt>
                <c:pt idx="115">
                  <c:v>44638</c:v>
                </c:pt>
                <c:pt idx="116">
                  <c:v>44645</c:v>
                </c:pt>
                <c:pt idx="117">
                  <c:v>44652</c:v>
                </c:pt>
                <c:pt idx="118">
                  <c:v>44659</c:v>
                </c:pt>
                <c:pt idx="119">
                  <c:v>44666</c:v>
                </c:pt>
                <c:pt idx="120">
                  <c:v>44673</c:v>
                </c:pt>
                <c:pt idx="121">
                  <c:v>44680</c:v>
                </c:pt>
                <c:pt idx="122">
                  <c:v>44687</c:v>
                </c:pt>
                <c:pt idx="123">
                  <c:v>44694</c:v>
                </c:pt>
                <c:pt idx="124">
                  <c:v>44701</c:v>
                </c:pt>
                <c:pt idx="125">
                  <c:v>44708</c:v>
                </c:pt>
                <c:pt idx="126">
                  <c:v>44715</c:v>
                </c:pt>
                <c:pt idx="127">
                  <c:v>44722</c:v>
                </c:pt>
                <c:pt idx="128">
                  <c:v>44729</c:v>
                </c:pt>
                <c:pt idx="129">
                  <c:v>44736</c:v>
                </c:pt>
                <c:pt idx="130">
                  <c:v>44743</c:v>
                </c:pt>
                <c:pt idx="131">
                  <c:v>44750</c:v>
                </c:pt>
                <c:pt idx="132">
                  <c:v>44757</c:v>
                </c:pt>
                <c:pt idx="133">
                  <c:v>44764</c:v>
                </c:pt>
                <c:pt idx="134">
                  <c:v>44771</c:v>
                </c:pt>
                <c:pt idx="135">
                  <c:v>44778</c:v>
                </c:pt>
                <c:pt idx="136">
                  <c:v>44785</c:v>
                </c:pt>
                <c:pt idx="137">
                  <c:v>44792</c:v>
                </c:pt>
                <c:pt idx="138">
                  <c:v>44799</c:v>
                </c:pt>
                <c:pt idx="139">
                  <c:v>44806</c:v>
                </c:pt>
                <c:pt idx="140">
                  <c:v>44813</c:v>
                </c:pt>
                <c:pt idx="141">
                  <c:v>44820</c:v>
                </c:pt>
                <c:pt idx="142">
                  <c:v>44827</c:v>
                </c:pt>
                <c:pt idx="143">
                  <c:v>44834</c:v>
                </c:pt>
                <c:pt idx="144">
                  <c:v>44841</c:v>
                </c:pt>
                <c:pt idx="145">
                  <c:v>44848</c:v>
                </c:pt>
                <c:pt idx="146">
                  <c:v>44855</c:v>
                </c:pt>
                <c:pt idx="147">
                  <c:v>44862</c:v>
                </c:pt>
                <c:pt idx="148">
                  <c:v>44869</c:v>
                </c:pt>
                <c:pt idx="149">
                  <c:v>44876</c:v>
                </c:pt>
                <c:pt idx="150">
                  <c:v>44883</c:v>
                </c:pt>
                <c:pt idx="151">
                  <c:v>44890</c:v>
                </c:pt>
                <c:pt idx="152">
                  <c:v>44897</c:v>
                </c:pt>
                <c:pt idx="153">
                  <c:v>44904</c:v>
                </c:pt>
                <c:pt idx="154">
                  <c:v>44911</c:v>
                </c:pt>
                <c:pt idx="155">
                  <c:v>44918</c:v>
                </c:pt>
                <c:pt idx="156">
                  <c:v>44925</c:v>
                </c:pt>
                <c:pt idx="157">
                  <c:v>44932</c:v>
                </c:pt>
                <c:pt idx="158">
                  <c:v>44939</c:v>
                </c:pt>
                <c:pt idx="159">
                  <c:v>44946</c:v>
                </c:pt>
                <c:pt idx="160">
                  <c:v>44953</c:v>
                </c:pt>
                <c:pt idx="161">
                  <c:v>44960</c:v>
                </c:pt>
                <c:pt idx="162">
                  <c:v>44967</c:v>
                </c:pt>
                <c:pt idx="163">
                  <c:v>44974</c:v>
                </c:pt>
                <c:pt idx="164">
                  <c:v>44981</c:v>
                </c:pt>
                <c:pt idx="165">
                  <c:v>44988</c:v>
                </c:pt>
                <c:pt idx="166">
                  <c:v>44995</c:v>
                </c:pt>
                <c:pt idx="167">
                  <c:v>45002</c:v>
                </c:pt>
                <c:pt idx="168">
                  <c:v>45009</c:v>
                </c:pt>
                <c:pt idx="169">
                  <c:v>45016</c:v>
                </c:pt>
                <c:pt idx="170">
                  <c:v>45023</c:v>
                </c:pt>
                <c:pt idx="171">
                  <c:v>45030</c:v>
                </c:pt>
                <c:pt idx="172">
                  <c:v>45037</c:v>
                </c:pt>
                <c:pt idx="173">
                  <c:v>45044</c:v>
                </c:pt>
                <c:pt idx="174">
                  <c:v>45051</c:v>
                </c:pt>
                <c:pt idx="175">
                  <c:v>45058</c:v>
                </c:pt>
                <c:pt idx="176">
                  <c:v>45065</c:v>
                </c:pt>
                <c:pt idx="177">
                  <c:v>45072</c:v>
                </c:pt>
                <c:pt idx="178">
                  <c:v>45079</c:v>
                </c:pt>
                <c:pt idx="179">
                  <c:v>45086</c:v>
                </c:pt>
                <c:pt idx="180">
                  <c:v>45093</c:v>
                </c:pt>
                <c:pt idx="181">
                  <c:v>45100</c:v>
                </c:pt>
                <c:pt idx="182">
                  <c:v>45107</c:v>
                </c:pt>
                <c:pt idx="183">
                  <c:v>45114</c:v>
                </c:pt>
                <c:pt idx="184">
                  <c:v>45121</c:v>
                </c:pt>
                <c:pt idx="185">
                  <c:v>45128</c:v>
                </c:pt>
                <c:pt idx="186">
                  <c:v>45135</c:v>
                </c:pt>
                <c:pt idx="187">
                  <c:v>45142</c:v>
                </c:pt>
                <c:pt idx="188">
                  <c:v>45149</c:v>
                </c:pt>
                <c:pt idx="189">
                  <c:v>45156</c:v>
                </c:pt>
                <c:pt idx="190">
                  <c:v>45163</c:v>
                </c:pt>
                <c:pt idx="191">
                  <c:v>45170</c:v>
                </c:pt>
                <c:pt idx="192">
                  <c:v>45177</c:v>
                </c:pt>
                <c:pt idx="193">
                  <c:v>45184</c:v>
                </c:pt>
                <c:pt idx="194">
                  <c:v>45191</c:v>
                </c:pt>
                <c:pt idx="195">
                  <c:v>45198</c:v>
                </c:pt>
                <c:pt idx="196">
                  <c:v>45205</c:v>
                </c:pt>
                <c:pt idx="197">
                  <c:v>45212</c:v>
                </c:pt>
                <c:pt idx="198">
                  <c:v>45219</c:v>
                </c:pt>
                <c:pt idx="199">
                  <c:v>45226</c:v>
                </c:pt>
                <c:pt idx="200">
                  <c:v>45233</c:v>
                </c:pt>
                <c:pt idx="201">
                  <c:v>45240</c:v>
                </c:pt>
                <c:pt idx="202">
                  <c:v>45247</c:v>
                </c:pt>
                <c:pt idx="203">
                  <c:v>45254</c:v>
                </c:pt>
                <c:pt idx="204">
                  <c:v>45261</c:v>
                </c:pt>
                <c:pt idx="205">
                  <c:v>45268</c:v>
                </c:pt>
                <c:pt idx="206">
                  <c:v>45275</c:v>
                </c:pt>
                <c:pt idx="207">
                  <c:v>45282</c:v>
                </c:pt>
                <c:pt idx="208">
                  <c:v>45289</c:v>
                </c:pt>
                <c:pt idx="209">
                  <c:v>45296</c:v>
                </c:pt>
                <c:pt idx="210">
                  <c:v>45303</c:v>
                </c:pt>
                <c:pt idx="211">
                  <c:v>45310</c:v>
                </c:pt>
                <c:pt idx="212">
                  <c:v>45317</c:v>
                </c:pt>
                <c:pt idx="213">
                  <c:v>45324</c:v>
                </c:pt>
                <c:pt idx="214">
                  <c:v>45331</c:v>
                </c:pt>
                <c:pt idx="215">
                  <c:v>45338</c:v>
                </c:pt>
                <c:pt idx="216">
                  <c:v>45345</c:v>
                </c:pt>
                <c:pt idx="217">
                  <c:v>45352</c:v>
                </c:pt>
                <c:pt idx="218">
                  <c:v>45359</c:v>
                </c:pt>
                <c:pt idx="219">
                  <c:v>45366</c:v>
                </c:pt>
                <c:pt idx="220">
                  <c:v>45373</c:v>
                </c:pt>
                <c:pt idx="221">
                  <c:v>45380</c:v>
                </c:pt>
                <c:pt idx="222">
                  <c:v>45387</c:v>
                </c:pt>
                <c:pt idx="223">
                  <c:v>45394</c:v>
                </c:pt>
                <c:pt idx="224">
                  <c:v>45401</c:v>
                </c:pt>
                <c:pt idx="225">
                  <c:v>45408</c:v>
                </c:pt>
                <c:pt idx="226">
                  <c:v>45415</c:v>
                </c:pt>
                <c:pt idx="227">
                  <c:v>45422</c:v>
                </c:pt>
                <c:pt idx="228">
                  <c:v>45429</c:v>
                </c:pt>
                <c:pt idx="229">
                  <c:v>45436</c:v>
                </c:pt>
                <c:pt idx="230">
                  <c:v>45443</c:v>
                </c:pt>
                <c:pt idx="231">
                  <c:v>45450</c:v>
                </c:pt>
                <c:pt idx="232">
                  <c:v>45457</c:v>
                </c:pt>
                <c:pt idx="233">
                  <c:v>45464</c:v>
                </c:pt>
                <c:pt idx="234">
                  <c:v>45471</c:v>
                </c:pt>
                <c:pt idx="235">
                  <c:v>45478</c:v>
                </c:pt>
                <c:pt idx="236">
                  <c:v>45485</c:v>
                </c:pt>
                <c:pt idx="237">
                  <c:v>45492</c:v>
                </c:pt>
                <c:pt idx="238">
                  <c:v>45499</c:v>
                </c:pt>
                <c:pt idx="239">
                  <c:v>45506</c:v>
                </c:pt>
                <c:pt idx="240">
                  <c:v>45513</c:v>
                </c:pt>
                <c:pt idx="241">
                  <c:v>45520</c:v>
                </c:pt>
                <c:pt idx="242">
                  <c:v>45527</c:v>
                </c:pt>
                <c:pt idx="243">
                  <c:v>45534</c:v>
                </c:pt>
                <c:pt idx="244">
                  <c:v>45541</c:v>
                </c:pt>
                <c:pt idx="245">
                  <c:v>45548</c:v>
                </c:pt>
                <c:pt idx="246">
                  <c:v>45555</c:v>
                </c:pt>
                <c:pt idx="247">
                  <c:v>45562</c:v>
                </c:pt>
                <c:pt idx="248">
                  <c:v>45569</c:v>
                </c:pt>
                <c:pt idx="249">
                  <c:v>45576</c:v>
                </c:pt>
                <c:pt idx="250">
                  <c:v>45583</c:v>
                </c:pt>
                <c:pt idx="251">
                  <c:v>45590</c:v>
                </c:pt>
                <c:pt idx="252">
                  <c:v>45597</c:v>
                </c:pt>
                <c:pt idx="253">
                  <c:v>45604</c:v>
                </c:pt>
                <c:pt idx="254">
                  <c:v>45611</c:v>
                </c:pt>
                <c:pt idx="255">
                  <c:v>45618</c:v>
                </c:pt>
                <c:pt idx="256">
                  <c:v>45625</c:v>
                </c:pt>
                <c:pt idx="257">
                  <c:v>45632</c:v>
                </c:pt>
                <c:pt idx="258">
                  <c:v>45639</c:v>
                </c:pt>
                <c:pt idx="259">
                  <c:v>45646</c:v>
                </c:pt>
                <c:pt idx="260">
                  <c:v>45653</c:v>
                </c:pt>
                <c:pt idx="261">
                  <c:v>45660</c:v>
                </c:pt>
                <c:pt idx="262">
                  <c:v>45667</c:v>
                </c:pt>
                <c:pt idx="263">
                  <c:v>45674</c:v>
                </c:pt>
                <c:pt idx="264">
                  <c:v>45681</c:v>
                </c:pt>
                <c:pt idx="265">
                  <c:v>45688</c:v>
                </c:pt>
                <c:pt idx="266">
                  <c:v>45695</c:v>
                </c:pt>
                <c:pt idx="267">
                  <c:v>45702</c:v>
                </c:pt>
                <c:pt idx="268">
                  <c:v>45709</c:v>
                </c:pt>
                <c:pt idx="269">
                  <c:v>45716</c:v>
                </c:pt>
                <c:pt idx="270">
                  <c:v>45723</c:v>
                </c:pt>
                <c:pt idx="271">
                  <c:v>45730</c:v>
                </c:pt>
                <c:pt idx="272">
                  <c:v>45737</c:v>
                </c:pt>
                <c:pt idx="273">
                  <c:v>45744</c:v>
                </c:pt>
                <c:pt idx="274">
                  <c:v>45751</c:v>
                </c:pt>
                <c:pt idx="275">
                  <c:v>45758</c:v>
                </c:pt>
                <c:pt idx="276">
                  <c:v>45765</c:v>
                </c:pt>
                <c:pt idx="277">
                  <c:v>45772</c:v>
                </c:pt>
                <c:pt idx="278">
                  <c:v>45779</c:v>
                </c:pt>
                <c:pt idx="279">
                  <c:v>45786</c:v>
                </c:pt>
                <c:pt idx="280">
                  <c:v>45793</c:v>
                </c:pt>
                <c:pt idx="281">
                  <c:v>45800</c:v>
                </c:pt>
                <c:pt idx="282">
                  <c:v>45807</c:v>
                </c:pt>
                <c:pt idx="283">
                  <c:v>45814</c:v>
                </c:pt>
                <c:pt idx="284">
                  <c:v>45821</c:v>
                </c:pt>
                <c:pt idx="285">
                  <c:v>45828</c:v>
                </c:pt>
                <c:pt idx="286">
                  <c:v>45835</c:v>
                </c:pt>
                <c:pt idx="287">
                  <c:v>45842</c:v>
                </c:pt>
                <c:pt idx="288">
                  <c:v>45849</c:v>
                </c:pt>
                <c:pt idx="289">
                  <c:v>45856</c:v>
                </c:pt>
                <c:pt idx="290">
                  <c:v>45863</c:v>
                </c:pt>
                <c:pt idx="291">
                  <c:v>45870</c:v>
                </c:pt>
                <c:pt idx="292">
                  <c:v>45877</c:v>
                </c:pt>
                <c:pt idx="293">
                  <c:v>45884</c:v>
                </c:pt>
                <c:pt idx="294">
                  <c:v>45891</c:v>
                </c:pt>
                <c:pt idx="295">
                  <c:v>45898</c:v>
                </c:pt>
                <c:pt idx="296">
                  <c:v>45905</c:v>
                </c:pt>
                <c:pt idx="297">
                  <c:v>45912</c:v>
                </c:pt>
                <c:pt idx="298">
                  <c:v>45919</c:v>
                </c:pt>
                <c:pt idx="299">
                  <c:v>45926</c:v>
                </c:pt>
                <c:pt idx="300">
                  <c:v>45933</c:v>
                </c:pt>
                <c:pt idx="301">
                  <c:v>45940</c:v>
                </c:pt>
                <c:pt idx="302">
                  <c:v>45947</c:v>
                </c:pt>
                <c:pt idx="303">
                  <c:v>45954</c:v>
                </c:pt>
                <c:pt idx="304">
                  <c:v>45961</c:v>
                </c:pt>
                <c:pt idx="305">
                  <c:v>45968</c:v>
                </c:pt>
                <c:pt idx="306">
                  <c:v>45975</c:v>
                </c:pt>
                <c:pt idx="307">
                  <c:v>45982</c:v>
                </c:pt>
                <c:pt idx="308">
                  <c:v>45989</c:v>
                </c:pt>
                <c:pt idx="309">
                  <c:v>45996</c:v>
                </c:pt>
                <c:pt idx="310">
                  <c:v>46003</c:v>
                </c:pt>
                <c:pt idx="311">
                  <c:v>46010</c:v>
                </c:pt>
                <c:pt idx="312">
                  <c:v>46017</c:v>
                </c:pt>
                <c:pt idx="313">
                  <c:v>46024</c:v>
                </c:pt>
                <c:pt idx="314">
                  <c:v>46031</c:v>
                </c:pt>
                <c:pt idx="315">
                  <c:v>46038</c:v>
                </c:pt>
                <c:pt idx="316">
                  <c:v>46043</c:v>
                </c:pt>
              </c:numCache>
            </c:numRef>
          </c:cat>
          <c:val>
            <c:numRef>
              <c:f>'Toipx EPS'!$C$2:$C$319</c:f>
              <c:numCache>
                <c:formatCode>_(* #,##0_);_(* \(#,##0\);_(* "-"_);_(@_)</c:formatCode>
                <c:ptCount val="318"/>
                <c:pt idx="0">
                  <c:v>1721.36</c:v>
                </c:pt>
                <c:pt idx="1">
                  <c:v>1735.16</c:v>
                </c:pt>
                <c:pt idx="2">
                  <c:v>1735.44</c:v>
                </c:pt>
                <c:pt idx="3">
                  <c:v>1730.44</c:v>
                </c:pt>
                <c:pt idx="4">
                  <c:v>1684.44</c:v>
                </c:pt>
                <c:pt idx="5">
                  <c:v>1732.14</c:v>
                </c:pt>
                <c:pt idx="6">
                  <c:v>1702.87</c:v>
                </c:pt>
                <c:pt idx="7">
                  <c:v>1674</c:v>
                </c:pt>
                <c:pt idx="8">
                  <c:v>1510.87</c:v>
                </c:pt>
                <c:pt idx="9">
                  <c:v>1471.46</c:v>
                </c:pt>
                <c:pt idx="10">
                  <c:v>1261.7</c:v>
                </c:pt>
                <c:pt idx="11">
                  <c:v>1283.22</c:v>
                </c:pt>
                <c:pt idx="12">
                  <c:v>1459.49</c:v>
                </c:pt>
                <c:pt idx="13">
                  <c:v>1325.13</c:v>
                </c:pt>
                <c:pt idx="14">
                  <c:v>1430.04</c:v>
                </c:pt>
                <c:pt idx="15">
                  <c:v>1442.54</c:v>
                </c:pt>
                <c:pt idx="16">
                  <c:v>1421.29</c:v>
                </c:pt>
                <c:pt idx="17">
                  <c:v>1431.26</c:v>
                </c:pt>
                <c:pt idx="18">
                  <c:v>1458.28</c:v>
                </c:pt>
                <c:pt idx="19">
                  <c:v>1453.77</c:v>
                </c:pt>
                <c:pt idx="20">
                  <c:v>1477.8</c:v>
                </c:pt>
                <c:pt idx="21">
                  <c:v>1563.67</c:v>
                </c:pt>
                <c:pt idx="22">
                  <c:v>1612.48</c:v>
                </c:pt>
                <c:pt idx="23">
                  <c:v>1570.68</c:v>
                </c:pt>
                <c:pt idx="24">
                  <c:v>1582.8</c:v>
                </c:pt>
                <c:pt idx="25">
                  <c:v>1577.37</c:v>
                </c:pt>
                <c:pt idx="26">
                  <c:v>1552.33</c:v>
                </c:pt>
                <c:pt idx="27">
                  <c:v>1535.2</c:v>
                </c:pt>
                <c:pt idx="28">
                  <c:v>1573.85</c:v>
                </c:pt>
                <c:pt idx="29">
                  <c:v>1572.96</c:v>
                </c:pt>
                <c:pt idx="30">
                  <c:v>1496.06</c:v>
                </c:pt>
                <c:pt idx="31">
                  <c:v>1546.74</c:v>
                </c:pt>
                <c:pt idx="32">
                  <c:v>1623.38</c:v>
                </c:pt>
                <c:pt idx="33">
                  <c:v>1604.06</c:v>
                </c:pt>
                <c:pt idx="34">
                  <c:v>1604.87</c:v>
                </c:pt>
                <c:pt idx="35">
                  <c:v>1616.6</c:v>
                </c:pt>
                <c:pt idx="36">
                  <c:v>1636.64</c:v>
                </c:pt>
                <c:pt idx="37">
                  <c:v>1646.42</c:v>
                </c:pt>
                <c:pt idx="38">
                  <c:v>1634.23</c:v>
                </c:pt>
                <c:pt idx="39">
                  <c:v>1609.22</c:v>
                </c:pt>
                <c:pt idx="40">
                  <c:v>1647.38</c:v>
                </c:pt>
                <c:pt idx="41">
                  <c:v>1617.69</c:v>
                </c:pt>
                <c:pt idx="42">
                  <c:v>1625.32</c:v>
                </c:pt>
                <c:pt idx="43">
                  <c:v>1579.33</c:v>
                </c:pt>
                <c:pt idx="44">
                  <c:v>1658.49</c:v>
                </c:pt>
                <c:pt idx="45">
                  <c:v>1703.22</c:v>
                </c:pt>
                <c:pt idx="46">
                  <c:v>1727.39</c:v>
                </c:pt>
                <c:pt idx="47">
                  <c:v>1786.52</c:v>
                </c:pt>
                <c:pt idx="48">
                  <c:v>1775.94</c:v>
                </c:pt>
                <c:pt idx="49">
                  <c:v>1782.01</c:v>
                </c:pt>
                <c:pt idx="50">
                  <c:v>1793.24</c:v>
                </c:pt>
                <c:pt idx="51">
                  <c:v>1778.41</c:v>
                </c:pt>
                <c:pt idx="52">
                  <c:v>1804.68</c:v>
                </c:pt>
                <c:pt idx="53">
                  <c:v>1854.94</c:v>
                </c:pt>
                <c:pt idx="54">
                  <c:v>1856.61</c:v>
                </c:pt>
                <c:pt idx="55">
                  <c:v>1856.64</c:v>
                </c:pt>
                <c:pt idx="56">
                  <c:v>1808.78</c:v>
                </c:pt>
                <c:pt idx="57">
                  <c:v>1890.95</c:v>
                </c:pt>
                <c:pt idx="58">
                  <c:v>1933.88</c:v>
                </c:pt>
                <c:pt idx="59">
                  <c:v>1928.95</c:v>
                </c:pt>
                <c:pt idx="60">
                  <c:v>1864.49</c:v>
                </c:pt>
                <c:pt idx="61">
                  <c:v>1896.18</c:v>
                </c:pt>
                <c:pt idx="62">
                  <c:v>1951.06</c:v>
                </c:pt>
                <c:pt idx="63">
                  <c:v>2012.21</c:v>
                </c:pt>
                <c:pt idx="64">
                  <c:v>1984.16</c:v>
                </c:pt>
                <c:pt idx="65">
                  <c:v>1971.62</c:v>
                </c:pt>
                <c:pt idx="66">
                  <c:v>1959.47</c:v>
                </c:pt>
                <c:pt idx="67">
                  <c:v>1960.87</c:v>
                </c:pt>
                <c:pt idx="68">
                  <c:v>1914.98</c:v>
                </c:pt>
                <c:pt idx="69">
                  <c:v>1898.24</c:v>
                </c:pt>
                <c:pt idx="70">
                  <c:v>1933.05</c:v>
                </c:pt>
                <c:pt idx="71">
                  <c:v>1883.42</c:v>
                </c:pt>
                <c:pt idx="72">
                  <c:v>1904.69</c:v>
                </c:pt>
                <c:pt idx="73">
                  <c:v>1947.44</c:v>
                </c:pt>
                <c:pt idx="74">
                  <c:v>1959.19</c:v>
                </c:pt>
                <c:pt idx="75">
                  <c:v>1954.02</c:v>
                </c:pt>
                <c:pt idx="76">
                  <c:v>1946.56</c:v>
                </c:pt>
                <c:pt idx="77">
                  <c:v>1962.65</c:v>
                </c:pt>
                <c:pt idx="78">
                  <c:v>1956.31</c:v>
                </c:pt>
                <c:pt idx="79">
                  <c:v>1912.38</c:v>
                </c:pt>
                <c:pt idx="80">
                  <c:v>1932.19</c:v>
                </c:pt>
                <c:pt idx="81">
                  <c:v>1904.41</c:v>
                </c:pt>
                <c:pt idx="82">
                  <c:v>1901.08</c:v>
                </c:pt>
                <c:pt idx="83">
                  <c:v>1929.34</c:v>
                </c:pt>
                <c:pt idx="84">
                  <c:v>1956.39</c:v>
                </c:pt>
                <c:pt idx="85">
                  <c:v>1880.68</c:v>
                </c:pt>
                <c:pt idx="86">
                  <c:v>1928.77</c:v>
                </c:pt>
                <c:pt idx="87">
                  <c:v>2015.45</c:v>
                </c:pt>
                <c:pt idx="88">
                  <c:v>2091.65</c:v>
                </c:pt>
                <c:pt idx="89">
                  <c:v>2100.17</c:v>
                </c:pt>
                <c:pt idx="90">
                  <c:v>2090.75</c:v>
                </c:pt>
                <c:pt idx="91">
                  <c:v>1986.31</c:v>
                </c:pt>
                <c:pt idx="92">
                  <c:v>1961.85</c:v>
                </c:pt>
                <c:pt idx="93">
                  <c:v>2023.93</c:v>
                </c:pt>
                <c:pt idx="94">
                  <c:v>2002.23</c:v>
                </c:pt>
                <c:pt idx="95">
                  <c:v>2001.18</c:v>
                </c:pt>
                <c:pt idx="96">
                  <c:v>2041.42</c:v>
                </c:pt>
                <c:pt idx="97">
                  <c:v>2040.6</c:v>
                </c:pt>
                <c:pt idx="98">
                  <c:v>2044.53</c:v>
                </c:pt>
                <c:pt idx="99">
                  <c:v>1984.98</c:v>
                </c:pt>
                <c:pt idx="100">
                  <c:v>1957.86</c:v>
                </c:pt>
                <c:pt idx="101">
                  <c:v>1975.48</c:v>
                </c:pt>
                <c:pt idx="102">
                  <c:v>1984.47</c:v>
                </c:pt>
                <c:pt idx="103">
                  <c:v>1986.78</c:v>
                </c:pt>
                <c:pt idx="104">
                  <c:v>1992.33</c:v>
                </c:pt>
                <c:pt idx="105">
                  <c:v>1995.68</c:v>
                </c:pt>
                <c:pt idx="106">
                  <c:v>1977.66</c:v>
                </c:pt>
                <c:pt idx="107">
                  <c:v>1927.18</c:v>
                </c:pt>
                <c:pt idx="108">
                  <c:v>1876.89</c:v>
                </c:pt>
                <c:pt idx="109">
                  <c:v>1930.56</c:v>
                </c:pt>
                <c:pt idx="110">
                  <c:v>1962.61</c:v>
                </c:pt>
                <c:pt idx="111">
                  <c:v>1924.31</c:v>
                </c:pt>
                <c:pt idx="112">
                  <c:v>1876.24</c:v>
                </c:pt>
                <c:pt idx="113">
                  <c:v>1844.94</c:v>
                </c:pt>
                <c:pt idx="114">
                  <c:v>1799.54</c:v>
                </c:pt>
                <c:pt idx="115">
                  <c:v>1909.27</c:v>
                </c:pt>
                <c:pt idx="116">
                  <c:v>1981.47</c:v>
                </c:pt>
                <c:pt idx="117">
                  <c:v>1944.27</c:v>
                </c:pt>
                <c:pt idx="118">
                  <c:v>1896.79</c:v>
                </c:pt>
                <c:pt idx="119">
                  <c:v>1896.31</c:v>
                </c:pt>
                <c:pt idx="120">
                  <c:v>1905.15</c:v>
                </c:pt>
                <c:pt idx="121">
                  <c:v>1899.62</c:v>
                </c:pt>
                <c:pt idx="122">
                  <c:v>1915.91</c:v>
                </c:pt>
                <c:pt idx="123">
                  <c:v>1864.2</c:v>
                </c:pt>
                <c:pt idx="124">
                  <c:v>1877.37</c:v>
                </c:pt>
                <c:pt idx="125">
                  <c:v>1887.3</c:v>
                </c:pt>
                <c:pt idx="126">
                  <c:v>1933.14</c:v>
                </c:pt>
                <c:pt idx="127">
                  <c:v>1943.09</c:v>
                </c:pt>
                <c:pt idx="128">
                  <c:v>1835.9</c:v>
                </c:pt>
                <c:pt idx="129">
                  <c:v>1866.72</c:v>
                </c:pt>
                <c:pt idx="130">
                  <c:v>1845.04</c:v>
                </c:pt>
                <c:pt idx="131">
                  <c:v>1887.43</c:v>
                </c:pt>
                <c:pt idx="132">
                  <c:v>1892.5</c:v>
                </c:pt>
                <c:pt idx="133">
                  <c:v>1955.97</c:v>
                </c:pt>
                <c:pt idx="134">
                  <c:v>1940.31</c:v>
                </c:pt>
                <c:pt idx="135">
                  <c:v>1947.17</c:v>
                </c:pt>
                <c:pt idx="136">
                  <c:v>1973.18</c:v>
                </c:pt>
                <c:pt idx="137">
                  <c:v>1994.52</c:v>
                </c:pt>
                <c:pt idx="138">
                  <c:v>1979.59</c:v>
                </c:pt>
                <c:pt idx="139">
                  <c:v>1930.17</c:v>
                </c:pt>
                <c:pt idx="140">
                  <c:v>1965.53</c:v>
                </c:pt>
                <c:pt idx="141">
                  <c:v>1938.56</c:v>
                </c:pt>
                <c:pt idx="142">
                  <c:v>1916.12</c:v>
                </c:pt>
                <c:pt idx="143">
                  <c:v>1835.94</c:v>
                </c:pt>
                <c:pt idx="144">
                  <c:v>1906.8</c:v>
                </c:pt>
                <c:pt idx="145">
                  <c:v>1898.19</c:v>
                </c:pt>
                <c:pt idx="146">
                  <c:v>1881.98</c:v>
                </c:pt>
                <c:pt idx="147">
                  <c:v>1899.05</c:v>
                </c:pt>
                <c:pt idx="148">
                  <c:v>1915.4</c:v>
                </c:pt>
                <c:pt idx="149">
                  <c:v>1977.76</c:v>
                </c:pt>
                <c:pt idx="150">
                  <c:v>1967.03</c:v>
                </c:pt>
                <c:pt idx="151">
                  <c:v>2018</c:v>
                </c:pt>
                <c:pt idx="152">
                  <c:v>1953.98</c:v>
                </c:pt>
                <c:pt idx="153">
                  <c:v>1961.56</c:v>
                </c:pt>
                <c:pt idx="154">
                  <c:v>1950.21</c:v>
                </c:pt>
                <c:pt idx="155">
                  <c:v>1897.94</c:v>
                </c:pt>
                <c:pt idx="156">
                  <c:v>1891.71</c:v>
                </c:pt>
                <c:pt idx="157">
                  <c:v>1875.76</c:v>
                </c:pt>
                <c:pt idx="158">
                  <c:v>1903.08</c:v>
                </c:pt>
                <c:pt idx="159">
                  <c:v>1926.87</c:v>
                </c:pt>
                <c:pt idx="160">
                  <c:v>1982.66</c:v>
                </c:pt>
                <c:pt idx="161">
                  <c:v>1970.26</c:v>
                </c:pt>
                <c:pt idx="162">
                  <c:v>1986.96</c:v>
                </c:pt>
                <c:pt idx="163">
                  <c:v>1991.93</c:v>
                </c:pt>
                <c:pt idx="164">
                  <c:v>1988.4</c:v>
                </c:pt>
                <c:pt idx="165">
                  <c:v>2019.52</c:v>
                </c:pt>
                <c:pt idx="166">
                  <c:v>2031.58</c:v>
                </c:pt>
                <c:pt idx="167">
                  <c:v>1959.42</c:v>
                </c:pt>
                <c:pt idx="168">
                  <c:v>1955.32</c:v>
                </c:pt>
                <c:pt idx="169">
                  <c:v>2003.5</c:v>
                </c:pt>
                <c:pt idx="170">
                  <c:v>1965.44</c:v>
                </c:pt>
                <c:pt idx="171">
                  <c:v>2018.72</c:v>
                </c:pt>
                <c:pt idx="172">
                  <c:v>2035.06</c:v>
                </c:pt>
                <c:pt idx="173">
                  <c:v>2057.48</c:v>
                </c:pt>
                <c:pt idx="174">
                  <c:v>2075.5300000000002</c:v>
                </c:pt>
                <c:pt idx="175">
                  <c:v>2096.39</c:v>
                </c:pt>
                <c:pt idx="176">
                  <c:v>2161.69</c:v>
                </c:pt>
                <c:pt idx="177">
                  <c:v>2145.84</c:v>
                </c:pt>
                <c:pt idx="178">
                  <c:v>2182.6999999999998</c:v>
                </c:pt>
                <c:pt idx="179">
                  <c:v>2224.3200000000002</c:v>
                </c:pt>
                <c:pt idx="180">
                  <c:v>2300.36</c:v>
                </c:pt>
                <c:pt idx="181">
                  <c:v>2264.73</c:v>
                </c:pt>
                <c:pt idx="182">
                  <c:v>2288.6</c:v>
                </c:pt>
                <c:pt idx="183">
                  <c:v>2254.9</c:v>
                </c:pt>
                <c:pt idx="184">
                  <c:v>2239.1</c:v>
                </c:pt>
                <c:pt idx="185">
                  <c:v>2262.1999999999998</c:v>
                </c:pt>
                <c:pt idx="186">
                  <c:v>2290.61</c:v>
                </c:pt>
                <c:pt idx="187">
                  <c:v>2274.63</c:v>
                </c:pt>
                <c:pt idx="188">
                  <c:v>2303.5100000000002</c:v>
                </c:pt>
                <c:pt idx="189">
                  <c:v>2237.29</c:v>
                </c:pt>
                <c:pt idx="190">
                  <c:v>2266.4</c:v>
                </c:pt>
                <c:pt idx="191">
                  <c:v>2349.75</c:v>
                </c:pt>
                <c:pt idx="192">
                  <c:v>2359.02</c:v>
                </c:pt>
                <c:pt idx="193">
                  <c:v>2428.38</c:v>
                </c:pt>
                <c:pt idx="194">
                  <c:v>2376.27</c:v>
                </c:pt>
                <c:pt idx="195">
                  <c:v>2323.39</c:v>
                </c:pt>
                <c:pt idx="196">
                  <c:v>2264.08</c:v>
                </c:pt>
                <c:pt idx="197">
                  <c:v>2308.75</c:v>
                </c:pt>
                <c:pt idx="198">
                  <c:v>2255.65</c:v>
                </c:pt>
                <c:pt idx="199">
                  <c:v>2254.65</c:v>
                </c:pt>
                <c:pt idx="200">
                  <c:v>2322.39</c:v>
                </c:pt>
                <c:pt idx="201">
                  <c:v>2336.7199999999998</c:v>
                </c:pt>
                <c:pt idx="202">
                  <c:v>2391.0500000000002</c:v>
                </c:pt>
                <c:pt idx="203">
                  <c:v>2390.94</c:v>
                </c:pt>
                <c:pt idx="204">
                  <c:v>2382.52</c:v>
                </c:pt>
                <c:pt idx="205">
                  <c:v>2324.4699999999998</c:v>
                </c:pt>
                <c:pt idx="206">
                  <c:v>2332.2800000000002</c:v>
                </c:pt>
                <c:pt idx="207">
                  <c:v>2336.4299999999998</c:v>
                </c:pt>
                <c:pt idx="208">
                  <c:v>2366.39</c:v>
                </c:pt>
                <c:pt idx="209">
                  <c:v>2393.54</c:v>
                </c:pt>
                <c:pt idx="210">
                  <c:v>2494.23</c:v>
                </c:pt>
                <c:pt idx="211">
                  <c:v>2510.0300000000002</c:v>
                </c:pt>
                <c:pt idx="212">
                  <c:v>2497.65</c:v>
                </c:pt>
                <c:pt idx="213">
                  <c:v>2539.6799999999998</c:v>
                </c:pt>
                <c:pt idx="214">
                  <c:v>2557.88</c:v>
                </c:pt>
                <c:pt idx="215">
                  <c:v>2624.73</c:v>
                </c:pt>
                <c:pt idx="216">
                  <c:v>2660.71</c:v>
                </c:pt>
                <c:pt idx="217">
                  <c:v>2709.42</c:v>
                </c:pt>
                <c:pt idx="218">
                  <c:v>2726.8</c:v>
                </c:pt>
                <c:pt idx="219">
                  <c:v>2670.8</c:v>
                </c:pt>
                <c:pt idx="220">
                  <c:v>2813.22</c:v>
                </c:pt>
                <c:pt idx="221">
                  <c:v>2768.62</c:v>
                </c:pt>
                <c:pt idx="222">
                  <c:v>2702.62</c:v>
                </c:pt>
                <c:pt idx="223">
                  <c:v>2759.64</c:v>
                </c:pt>
                <c:pt idx="224">
                  <c:v>2626.32</c:v>
                </c:pt>
                <c:pt idx="225">
                  <c:v>2686.48</c:v>
                </c:pt>
                <c:pt idx="226">
                  <c:v>2728.53</c:v>
                </c:pt>
                <c:pt idx="227">
                  <c:v>2728.21</c:v>
                </c:pt>
                <c:pt idx="228">
                  <c:v>2745.62</c:v>
                </c:pt>
                <c:pt idx="229">
                  <c:v>2742.54</c:v>
                </c:pt>
                <c:pt idx="230">
                  <c:v>2772.49</c:v>
                </c:pt>
                <c:pt idx="231">
                  <c:v>2755.03</c:v>
                </c:pt>
                <c:pt idx="232">
                  <c:v>2746.61</c:v>
                </c:pt>
                <c:pt idx="233">
                  <c:v>2724.69</c:v>
                </c:pt>
                <c:pt idx="234">
                  <c:v>2809.63</c:v>
                </c:pt>
                <c:pt idx="235">
                  <c:v>2884.18</c:v>
                </c:pt>
                <c:pt idx="236">
                  <c:v>2894.56</c:v>
                </c:pt>
                <c:pt idx="237">
                  <c:v>2860.83</c:v>
                </c:pt>
                <c:pt idx="238">
                  <c:v>2699.54</c:v>
                </c:pt>
                <c:pt idx="239">
                  <c:v>2537.6</c:v>
                </c:pt>
                <c:pt idx="240">
                  <c:v>2483.3000000000002</c:v>
                </c:pt>
                <c:pt idx="241">
                  <c:v>2678.6</c:v>
                </c:pt>
                <c:pt idx="242">
                  <c:v>2684.72</c:v>
                </c:pt>
                <c:pt idx="243">
                  <c:v>2712.63</c:v>
                </c:pt>
                <c:pt idx="244">
                  <c:v>2597.42</c:v>
                </c:pt>
                <c:pt idx="245">
                  <c:v>2571.14</c:v>
                </c:pt>
                <c:pt idx="246">
                  <c:v>2642.35</c:v>
                </c:pt>
                <c:pt idx="247">
                  <c:v>2740.94</c:v>
                </c:pt>
                <c:pt idx="248">
                  <c:v>2694.07</c:v>
                </c:pt>
                <c:pt idx="249">
                  <c:v>2706.2</c:v>
                </c:pt>
                <c:pt idx="250">
                  <c:v>2688.98</c:v>
                </c:pt>
                <c:pt idx="251">
                  <c:v>2618.3200000000002</c:v>
                </c:pt>
                <c:pt idx="252">
                  <c:v>2644.26</c:v>
                </c:pt>
                <c:pt idx="253">
                  <c:v>2742.15</c:v>
                </c:pt>
                <c:pt idx="254">
                  <c:v>2711.64</c:v>
                </c:pt>
                <c:pt idx="255">
                  <c:v>2696.53</c:v>
                </c:pt>
                <c:pt idx="256">
                  <c:v>2680.71</c:v>
                </c:pt>
                <c:pt idx="257">
                  <c:v>2727.22</c:v>
                </c:pt>
                <c:pt idx="258">
                  <c:v>2746.56</c:v>
                </c:pt>
                <c:pt idx="259">
                  <c:v>2701.99</c:v>
                </c:pt>
                <c:pt idx="260">
                  <c:v>2801.68</c:v>
                </c:pt>
                <c:pt idx="261">
                  <c:v>2784.92</c:v>
                </c:pt>
                <c:pt idx="262">
                  <c:v>2714.12</c:v>
                </c:pt>
                <c:pt idx="263">
                  <c:v>2679.42</c:v>
                </c:pt>
                <c:pt idx="264">
                  <c:v>2751.04</c:v>
                </c:pt>
                <c:pt idx="265">
                  <c:v>2788.66</c:v>
                </c:pt>
                <c:pt idx="266">
                  <c:v>2737.23</c:v>
                </c:pt>
                <c:pt idx="267">
                  <c:v>2759.21</c:v>
                </c:pt>
                <c:pt idx="268">
                  <c:v>2736.53</c:v>
                </c:pt>
                <c:pt idx="269">
                  <c:v>2682.09</c:v>
                </c:pt>
                <c:pt idx="270">
                  <c:v>2708.59</c:v>
                </c:pt>
                <c:pt idx="271">
                  <c:v>2715.85</c:v>
                </c:pt>
                <c:pt idx="272">
                  <c:v>2804.16</c:v>
                </c:pt>
                <c:pt idx="273">
                  <c:v>2757.25</c:v>
                </c:pt>
                <c:pt idx="274">
                  <c:v>2482.06</c:v>
                </c:pt>
                <c:pt idx="275">
                  <c:v>2466.91</c:v>
                </c:pt>
                <c:pt idx="276">
                  <c:v>2559.15</c:v>
                </c:pt>
                <c:pt idx="277">
                  <c:v>2628.03</c:v>
                </c:pt>
                <c:pt idx="278">
                  <c:v>2687.78</c:v>
                </c:pt>
                <c:pt idx="279">
                  <c:v>2733.49</c:v>
                </c:pt>
                <c:pt idx="280">
                  <c:v>2740.45</c:v>
                </c:pt>
                <c:pt idx="281">
                  <c:v>2735.52</c:v>
                </c:pt>
                <c:pt idx="282">
                  <c:v>2801.57</c:v>
                </c:pt>
                <c:pt idx="283">
                  <c:v>2769.33</c:v>
                </c:pt>
                <c:pt idx="284">
                  <c:v>2756.47</c:v>
                </c:pt>
                <c:pt idx="285">
                  <c:v>2771.26</c:v>
                </c:pt>
                <c:pt idx="286">
                  <c:v>2840.54</c:v>
                </c:pt>
                <c:pt idx="287">
                  <c:v>2827.95</c:v>
                </c:pt>
                <c:pt idx="288">
                  <c:v>2823.24</c:v>
                </c:pt>
                <c:pt idx="289">
                  <c:v>2834.48</c:v>
                </c:pt>
                <c:pt idx="290">
                  <c:v>2951.86</c:v>
                </c:pt>
                <c:pt idx="291">
                  <c:v>2948.65</c:v>
                </c:pt>
                <c:pt idx="292">
                  <c:v>3024.21</c:v>
                </c:pt>
                <c:pt idx="293">
                  <c:v>3107.68</c:v>
                </c:pt>
                <c:pt idx="294">
                  <c:v>3100.87</c:v>
                </c:pt>
                <c:pt idx="295">
                  <c:v>3075.18</c:v>
                </c:pt>
                <c:pt idx="296">
                  <c:v>3105.31</c:v>
                </c:pt>
                <c:pt idx="297">
                  <c:v>3160.49</c:v>
                </c:pt>
                <c:pt idx="298">
                  <c:v>3147.68</c:v>
                </c:pt>
                <c:pt idx="299">
                  <c:v>3187.02</c:v>
                </c:pt>
                <c:pt idx="300">
                  <c:v>3129.17</c:v>
                </c:pt>
                <c:pt idx="301">
                  <c:v>3197.59</c:v>
                </c:pt>
                <c:pt idx="302">
                  <c:v>3170.44</c:v>
                </c:pt>
                <c:pt idx="303">
                  <c:v>3269.45</c:v>
                </c:pt>
                <c:pt idx="304">
                  <c:v>3331.83</c:v>
                </c:pt>
                <c:pt idx="305">
                  <c:v>3208</c:v>
                </c:pt>
                <c:pt idx="306" formatCode="_(* #,##0_);_(* \(#,##0\);_(* &quot;-&quot;??_);_(@_)">
                  <c:v>3359</c:v>
                </c:pt>
                <c:pt idx="307" formatCode="_(* #,##0_);_(* \(#,##0\);_(* &quot;-&quot;??_);_(@_)">
                  <c:v>3297.73</c:v>
                </c:pt>
                <c:pt idx="308" formatCode="_(* #,##0_);_(* \(#,##0\);_(* &quot;-&quot;??_);_(@_)">
                  <c:v>3378.44</c:v>
                </c:pt>
                <c:pt idx="309" formatCode="_(* #,##0_);_(* \(#,##0\);_(* &quot;-&quot;??_);_(@_)">
                  <c:v>3362.56</c:v>
                </c:pt>
                <c:pt idx="310" formatCode="_(* #,##0_);_(* \(#,##0\);_(* &quot;-&quot;??_);_(@_)">
                  <c:v>3423.83</c:v>
                </c:pt>
                <c:pt idx="311" formatCode="_(* #,##0_);_(* \(#,##0\);_(* &quot;-&quot;??_);_(@_)">
                  <c:v>3383.66</c:v>
                </c:pt>
                <c:pt idx="312" formatCode="_(* #,##0_);_(* \(#,##0\);_(* &quot;-&quot;??_);_(@_)">
                  <c:v>3423.06</c:v>
                </c:pt>
                <c:pt idx="313" formatCode="_(* #,##0_);_(* \(#,##0\);_(* &quot;-&quot;??_);_(@_)">
                  <c:v>3408.97</c:v>
                </c:pt>
                <c:pt idx="314" formatCode="_(* #,##0_);_(* \(#,##0\);_(* &quot;-&quot;??_);_(@_)">
                  <c:v>3514.11</c:v>
                </c:pt>
                <c:pt idx="315" formatCode="_(* #,##0_);_(* \(#,##0\);_(* &quot;-&quot;??_);_(@_)">
                  <c:v>3658.68</c:v>
                </c:pt>
                <c:pt idx="316" formatCode="_(* #,##0_);_(* \(#,##0\);_(* &quot;-&quot;??_);_(@_)">
                  <c:v>3592</c:v>
                </c:pt>
              </c:numCache>
            </c:numRef>
          </c:val>
          <c:smooth val="0"/>
          <c:extLst>
            <c:ext xmlns:c16="http://schemas.microsoft.com/office/drawing/2014/chart" uri="{C3380CC4-5D6E-409C-BE32-E72D297353CC}">
              <c16:uniqueId val="{00000000-8D9D-42D4-8616-B9DD4DAAB5E7}"/>
            </c:ext>
          </c:extLst>
        </c:ser>
        <c:dLbls>
          <c:showLegendKey val="0"/>
          <c:showVal val="0"/>
          <c:showCatName val="0"/>
          <c:showSerName val="0"/>
          <c:showPercent val="0"/>
          <c:showBubbleSize val="0"/>
        </c:dLbls>
        <c:marker val="1"/>
        <c:smooth val="0"/>
        <c:axId val="2031705327"/>
        <c:axId val="2031698127"/>
      </c:lineChart>
      <c:lineChart>
        <c:grouping val="standard"/>
        <c:varyColors val="0"/>
        <c:ser>
          <c:idx val="2"/>
          <c:order val="1"/>
          <c:tx>
            <c:strRef>
              <c:f>'Toipx EPS'!$K$324</c:f>
              <c:strCache>
                <c:ptCount val="1"/>
                <c:pt idx="0">
                  <c:v>12M forward EPS (RHS)</c:v>
                </c:pt>
              </c:strCache>
            </c:strRef>
          </c:tx>
          <c:spPr>
            <a:ln w="19050" cap="rnd" cmpd="sng" algn="ctr">
              <a:solidFill>
                <a:srgbClr val="BD000C"/>
              </a:solidFill>
              <a:prstDash val="solid"/>
              <a:round/>
              <a:headEnd type="none" w="med" len="med"/>
              <a:tailEnd type="none" w="med" len="med"/>
            </a:ln>
            <a:effectLst/>
          </c:spPr>
          <c:marker>
            <c:symbol val="none"/>
          </c:marker>
          <c:val>
            <c:numRef>
              <c:f>'Toipx EPS'!$D$2:$D$319</c:f>
              <c:numCache>
                <c:formatCode>_(* #,##0_);_(* \(#,##0\);_(* "-"_);_(@_)</c:formatCode>
                <c:ptCount val="318"/>
                <c:pt idx="0">
                  <c:v>124.37</c:v>
                </c:pt>
                <c:pt idx="1">
                  <c:v>124.62</c:v>
                </c:pt>
                <c:pt idx="2">
                  <c:v>124.49</c:v>
                </c:pt>
                <c:pt idx="3">
                  <c:v>124.69</c:v>
                </c:pt>
                <c:pt idx="4">
                  <c:v>124.7</c:v>
                </c:pt>
                <c:pt idx="5">
                  <c:v>124.48</c:v>
                </c:pt>
                <c:pt idx="6">
                  <c:v>124.15</c:v>
                </c:pt>
                <c:pt idx="7">
                  <c:v>123.97</c:v>
                </c:pt>
                <c:pt idx="8">
                  <c:v>123.41</c:v>
                </c:pt>
                <c:pt idx="9">
                  <c:v>123.17</c:v>
                </c:pt>
                <c:pt idx="10">
                  <c:v>121.54</c:v>
                </c:pt>
                <c:pt idx="11">
                  <c:v>121.28</c:v>
                </c:pt>
                <c:pt idx="12">
                  <c:v>119.29</c:v>
                </c:pt>
                <c:pt idx="13">
                  <c:v>115.93</c:v>
                </c:pt>
                <c:pt idx="14">
                  <c:v>112.03</c:v>
                </c:pt>
                <c:pt idx="15">
                  <c:v>108.03</c:v>
                </c:pt>
                <c:pt idx="16">
                  <c:v>106.06</c:v>
                </c:pt>
                <c:pt idx="17">
                  <c:v>105.06</c:v>
                </c:pt>
                <c:pt idx="18">
                  <c:v>104.95</c:v>
                </c:pt>
                <c:pt idx="19">
                  <c:v>103.45</c:v>
                </c:pt>
                <c:pt idx="20">
                  <c:v>101.76</c:v>
                </c:pt>
                <c:pt idx="21">
                  <c:v>100.73</c:v>
                </c:pt>
                <c:pt idx="22">
                  <c:v>98.7</c:v>
                </c:pt>
                <c:pt idx="23">
                  <c:v>97.1</c:v>
                </c:pt>
                <c:pt idx="24">
                  <c:v>94.05</c:v>
                </c:pt>
                <c:pt idx="25">
                  <c:v>93.54</c:v>
                </c:pt>
                <c:pt idx="26">
                  <c:v>92.86</c:v>
                </c:pt>
                <c:pt idx="27">
                  <c:v>92.31</c:v>
                </c:pt>
                <c:pt idx="28">
                  <c:v>92.04</c:v>
                </c:pt>
                <c:pt idx="29">
                  <c:v>92.18</c:v>
                </c:pt>
                <c:pt idx="30">
                  <c:v>92.52</c:v>
                </c:pt>
                <c:pt idx="31">
                  <c:v>92.42</c:v>
                </c:pt>
                <c:pt idx="32">
                  <c:v>91.66</c:v>
                </c:pt>
                <c:pt idx="33">
                  <c:v>91.77</c:v>
                </c:pt>
                <c:pt idx="34">
                  <c:v>91.96</c:v>
                </c:pt>
                <c:pt idx="35">
                  <c:v>91.92</c:v>
                </c:pt>
                <c:pt idx="36">
                  <c:v>92.09</c:v>
                </c:pt>
                <c:pt idx="37">
                  <c:v>92.63</c:v>
                </c:pt>
                <c:pt idx="38">
                  <c:v>92.69</c:v>
                </c:pt>
                <c:pt idx="39">
                  <c:v>92.97</c:v>
                </c:pt>
                <c:pt idx="40">
                  <c:v>93.58</c:v>
                </c:pt>
                <c:pt idx="41">
                  <c:v>94.13</c:v>
                </c:pt>
                <c:pt idx="42">
                  <c:v>94.86</c:v>
                </c:pt>
                <c:pt idx="43">
                  <c:v>95.75</c:v>
                </c:pt>
                <c:pt idx="44">
                  <c:v>96.56</c:v>
                </c:pt>
                <c:pt idx="45">
                  <c:v>97.49</c:v>
                </c:pt>
                <c:pt idx="46">
                  <c:v>98</c:v>
                </c:pt>
                <c:pt idx="47">
                  <c:v>98.71</c:v>
                </c:pt>
                <c:pt idx="48">
                  <c:v>99.59</c:v>
                </c:pt>
                <c:pt idx="49">
                  <c:v>100.72</c:v>
                </c:pt>
                <c:pt idx="50">
                  <c:v>101.52</c:v>
                </c:pt>
                <c:pt idx="51">
                  <c:v>102.58</c:v>
                </c:pt>
                <c:pt idx="52">
                  <c:v>103.41</c:v>
                </c:pt>
                <c:pt idx="53">
                  <c:v>104.23</c:v>
                </c:pt>
                <c:pt idx="54">
                  <c:v>104.9</c:v>
                </c:pt>
                <c:pt idx="55">
                  <c:v>105.58</c:v>
                </c:pt>
                <c:pt idx="56">
                  <c:v>105.77</c:v>
                </c:pt>
                <c:pt idx="57">
                  <c:v>107.01</c:v>
                </c:pt>
                <c:pt idx="58">
                  <c:v>108.32</c:v>
                </c:pt>
                <c:pt idx="59">
                  <c:v>110.1</c:v>
                </c:pt>
                <c:pt idx="60">
                  <c:v>111.46</c:v>
                </c:pt>
                <c:pt idx="61">
                  <c:v>113.23</c:v>
                </c:pt>
                <c:pt idx="62">
                  <c:v>114.5</c:v>
                </c:pt>
                <c:pt idx="63">
                  <c:v>115.65</c:v>
                </c:pt>
                <c:pt idx="64">
                  <c:v>116.51</c:v>
                </c:pt>
                <c:pt idx="65">
                  <c:v>117.42</c:v>
                </c:pt>
                <c:pt idx="66">
                  <c:v>117.94</c:v>
                </c:pt>
                <c:pt idx="67">
                  <c:v>118.72</c:v>
                </c:pt>
                <c:pt idx="68">
                  <c:v>119.02</c:v>
                </c:pt>
                <c:pt idx="69">
                  <c:v>119.52</c:v>
                </c:pt>
                <c:pt idx="70">
                  <c:v>120.03</c:v>
                </c:pt>
                <c:pt idx="71">
                  <c:v>121.6</c:v>
                </c:pt>
                <c:pt idx="72">
                  <c:v>122.43</c:v>
                </c:pt>
                <c:pt idx="73">
                  <c:v>122.78</c:v>
                </c:pt>
                <c:pt idx="74">
                  <c:v>123.68</c:v>
                </c:pt>
                <c:pt idx="75">
                  <c:v>125.05</c:v>
                </c:pt>
                <c:pt idx="76">
                  <c:v>126.17</c:v>
                </c:pt>
                <c:pt idx="77">
                  <c:v>126.91</c:v>
                </c:pt>
                <c:pt idx="78">
                  <c:v>127.62</c:v>
                </c:pt>
                <c:pt idx="79">
                  <c:v>128.49</c:v>
                </c:pt>
                <c:pt idx="80">
                  <c:v>129.24</c:v>
                </c:pt>
                <c:pt idx="81">
                  <c:v>130.11000000000001</c:v>
                </c:pt>
                <c:pt idx="82">
                  <c:v>131.26</c:v>
                </c:pt>
                <c:pt idx="83">
                  <c:v>132.19999999999999</c:v>
                </c:pt>
                <c:pt idx="84">
                  <c:v>133.94999999999999</c:v>
                </c:pt>
                <c:pt idx="85">
                  <c:v>135.91999999999999</c:v>
                </c:pt>
                <c:pt idx="86">
                  <c:v>137.80000000000001</c:v>
                </c:pt>
                <c:pt idx="87">
                  <c:v>138.5</c:v>
                </c:pt>
                <c:pt idx="88">
                  <c:v>139.71</c:v>
                </c:pt>
                <c:pt idx="89">
                  <c:v>140.47</c:v>
                </c:pt>
                <c:pt idx="90">
                  <c:v>140.94</c:v>
                </c:pt>
                <c:pt idx="91">
                  <c:v>141.47</c:v>
                </c:pt>
                <c:pt idx="92">
                  <c:v>142.06</c:v>
                </c:pt>
                <c:pt idx="93">
                  <c:v>142.13</c:v>
                </c:pt>
                <c:pt idx="94">
                  <c:v>142.61000000000001</c:v>
                </c:pt>
                <c:pt idx="95">
                  <c:v>141.9</c:v>
                </c:pt>
                <c:pt idx="96">
                  <c:v>142.51</c:v>
                </c:pt>
                <c:pt idx="97">
                  <c:v>142.26</c:v>
                </c:pt>
                <c:pt idx="98">
                  <c:v>142.85</c:v>
                </c:pt>
                <c:pt idx="99">
                  <c:v>143.83000000000001</c:v>
                </c:pt>
                <c:pt idx="100">
                  <c:v>145.04</c:v>
                </c:pt>
                <c:pt idx="101">
                  <c:v>146.21</c:v>
                </c:pt>
                <c:pt idx="102">
                  <c:v>146.69999999999999</c:v>
                </c:pt>
                <c:pt idx="103">
                  <c:v>147.13</c:v>
                </c:pt>
                <c:pt idx="104">
                  <c:v>147.08000000000001</c:v>
                </c:pt>
                <c:pt idx="105">
                  <c:v>147.35</c:v>
                </c:pt>
                <c:pt idx="106">
                  <c:v>148.11000000000001</c:v>
                </c:pt>
                <c:pt idx="107">
                  <c:v>148.53720000000001</c:v>
                </c:pt>
                <c:pt idx="108">
                  <c:v>148.88570000000001</c:v>
                </c:pt>
                <c:pt idx="109">
                  <c:v>149.5361</c:v>
                </c:pt>
                <c:pt idx="110">
                  <c:v>149.8057</c:v>
                </c:pt>
                <c:pt idx="111">
                  <c:v>150.4178</c:v>
                </c:pt>
                <c:pt idx="112">
                  <c:v>151.19280000000001</c:v>
                </c:pt>
                <c:pt idx="113">
                  <c:v>152.6206</c:v>
                </c:pt>
                <c:pt idx="114">
                  <c:v>153.55000000000001</c:v>
                </c:pt>
                <c:pt idx="115">
                  <c:v>154.04</c:v>
                </c:pt>
                <c:pt idx="116">
                  <c:v>154.11000000000001</c:v>
                </c:pt>
                <c:pt idx="117">
                  <c:v>154.9</c:v>
                </c:pt>
                <c:pt idx="118">
                  <c:v>155.09</c:v>
                </c:pt>
                <c:pt idx="119">
                  <c:v>155.53</c:v>
                </c:pt>
                <c:pt idx="120">
                  <c:v>155.71</c:v>
                </c:pt>
                <c:pt idx="121">
                  <c:v>155.76</c:v>
                </c:pt>
                <c:pt idx="122">
                  <c:v>155.97999999999999</c:v>
                </c:pt>
                <c:pt idx="123">
                  <c:v>156.03</c:v>
                </c:pt>
                <c:pt idx="124">
                  <c:v>156.16</c:v>
                </c:pt>
                <c:pt idx="125">
                  <c:v>156.22</c:v>
                </c:pt>
                <c:pt idx="126">
                  <c:v>156.05000000000001</c:v>
                </c:pt>
                <c:pt idx="127">
                  <c:v>156.88</c:v>
                </c:pt>
                <c:pt idx="128">
                  <c:v>157.4</c:v>
                </c:pt>
                <c:pt idx="129">
                  <c:v>158.13</c:v>
                </c:pt>
                <c:pt idx="130">
                  <c:v>158.1</c:v>
                </c:pt>
                <c:pt idx="131">
                  <c:v>157.58000000000001</c:v>
                </c:pt>
                <c:pt idx="132">
                  <c:v>158</c:v>
                </c:pt>
                <c:pt idx="133">
                  <c:v>157.79</c:v>
                </c:pt>
                <c:pt idx="134">
                  <c:v>158.61000000000001</c:v>
                </c:pt>
                <c:pt idx="135">
                  <c:v>158.91</c:v>
                </c:pt>
                <c:pt idx="136">
                  <c:v>158.59</c:v>
                </c:pt>
                <c:pt idx="137">
                  <c:v>159</c:v>
                </c:pt>
                <c:pt idx="138">
                  <c:v>159.19999999999999</c:v>
                </c:pt>
                <c:pt idx="139">
                  <c:v>159.97</c:v>
                </c:pt>
                <c:pt idx="140">
                  <c:v>160.38999999999999</c:v>
                </c:pt>
                <c:pt idx="141">
                  <c:v>160.58000000000001</c:v>
                </c:pt>
                <c:pt idx="142">
                  <c:v>160.74</c:v>
                </c:pt>
                <c:pt idx="143">
                  <c:v>160.87</c:v>
                </c:pt>
                <c:pt idx="144">
                  <c:v>161.07</c:v>
                </c:pt>
                <c:pt idx="145">
                  <c:v>161.09</c:v>
                </c:pt>
                <c:pt idx="146">
                  <c:v>161.41999999999999</c:v>
                </c:pt>
                <c:pt idx="147">
                  <c:v>161.82</c:v>
                </c:pt>
                <c:pt idx="148">
                  <c:v>150.59180000000001</c:v>
                </c:pt>
                <c:pt idx="149">
                  <c:v>150.8091</c:v>
                </c:pt>
                <c:pt idx="150">
                  <c:v>151.5822</c:v>
                </c:pt>
                <c:pt idx="151">
                  <c:v>151.9178</c:v>
                </c:pt>
                <c:pt idx="152">
                  <c:v>152.83609999999999</c:v>
                </c:pt>
                <c:pt idx="153">
                  <c:v>152.12970000000001</c:v>
                </c:pt>
                <c:pt idx="154">
                  <c:v>151.40260000000001</c:v>
                </c:pt>
                <c:pt idx="155">
                  <c:v>152.40350000000001</c:v>
                </c:pt>
                <c:pt idx="156">
                  <c:v>153.3724</c:v>
                </c:pt>
                <c:pt idx="157">
                  <c:v>153.5318</c:v>
                </c:pt>
                <c:pt idx="158">
                  <c:v>153.4066</c:v>
                </c:pt>
                <c:pt idx="159">
                  <c:v>153.1405</c:v>
                </c:pt>
                <c:pt idx="160">
                  <c:v>153.21619999999999</c:v>
                </c:pt>
                <c:pt idx="161">
                  <c:v>152.6705</c:v>
                </c:pt>
                <c:pt idx="162">
                  <c:v>153.44929999999999</c:v>
                </c:pt>
                <c:pt idx="163">
                  <c:v>153.76759999999999</c:v>
                </c:pt>
                <c:pt idx="164">
                  <c:v>152.8382</c:v>
                </c:pt>
                <c:pt idx="165">
                  <c:v>153.47900000000001</c:v>
                </c:pt>
                <c:pt idx="166">
                  <c:v>154.27789999999999</c:v>
                </c:pt>
                <c:pt idx="167">
                  <c:v>154.1122</c:v>
                </c:pt>
                <c:pt idx="168">
                  <c:v>153.71619999999999</c:v>
                </c:pt>
                <c:pt idx="169">
                  <c:v>153.87360000000001</c:v>
                </c:pt>
                <c:pt idx="170">
                  <c:v>154.1935</c:v>
                </c:pt>
                <c:pt idx="171">
                  <c:v>154.30619999999999</c:v>
                </c:pt>
                <c:pt idx="172">
                  <c:v>154.3759</c:v>
                </c:pt>
                <c:pt idx="173">
                  <c:v>155.94229999999999</c:v>
                </c:pt>
                <c:pt idx="174">
                  <c:v>156.10239999999999</c:v>
                </c:pt>
                <c:pt idx="175">
                  <c:v>155.59379999999999</c:v>
                </c:pt>
                <c:pt idx="176">
                  <c:v>155.42189999999999</c:v>
                </c:pt>
                <c:pt idx="177">
                  <c:v>155.94040000000001</c:v>
                </c:pt>
                <c:pt idx="178">
                  <c:v>156.3289</c:v>
                </c:pt>
                <c:pt idx="179">
                  <c:v>155.61619999999999</c:v>
                </c:pt>
                <c:pt idx="180">
                  <c:v>155.0359</c:v>
                </c:pt>
                <c:pt idx="181">
                  <c:v>155.45869999999999</c:v>
                </c:pt>
                <c:pt idx="182">
                  <c:v>156.214</c:v>
                </c:pt>
                <c:pt idx="183">
                  <c:v>156.73929999999999</c:v>
                </c:pt>
                <c:pt idx="184">
                  <c:v>157.0607</c:v>
                </c:pt>
                <c:pt idx="185">
                  <c:v>157.3399</c:v>
                </c:pt>
                <c:pt idx="186">
                  <c:v>158.1508</c:v>
                </c:pt>
                <c:pt idx="187">
                  <c:v>159.94970000000001</c:v>
                </c:pt>
                <c:pt idx="188">
                  <c:v>156.9177</c:v>
                </c:pt>
                <c:pt idx="189">
                  <c:v>157.9101</c:v>
                </c:pt>
                <c:pt idx="190">
                  <c:v>158.10319999999999</c:v>
                </c:pt>
                <c:pt idx="191">
                  <c:v>158.69319999999999</c:v>
                </c:pt>
                <c:pt idx="192">
                  <c:v>160.27099999999999</c:v>
                </c:pt>
                <c:pt idx="193">
                  <c:v>160.06569999999999</c:v>
                </c:pt>
                <c:pt idx="194">
                  <c:v>160.26779999999999</c:v>
                </c:pt>
                <c:pt idx="195">
                  <c:v>160.2458</c:v>
                </c:pt>
                <c:pt idx="196">
                  <c:v>160.47069999999999</c:v>
                </c:pt>
                <c:pt idx="197">
                  <c:v>160.6448</c:v>
                </c:pt>
                <c:pt idx="198">
                  <c:v>160.7234</c:v>
                </c:pt>
                <c:pt idx="199">
                  <c:v>160.3451</c:v>
                </c:pt>
                <c:pt idx="200">
                  <c:v>162.37110000000001</c:v>
                </c:pt>
                <c:pt idx="201">
                  <c:v>161.66120000000001</c:v>
                </c:pt>
                <c:pt idx="202">
                  <c:v>161.74510000000001</c:v>
                </c:pt>
                <c:pt idx="203">
                  <c:v>162.0778</c:v>
                </c:pt>
                <c:pt idx="204">
                  <c:v>163.2724</c:v>
                </c:pt>
                <c:pt idx="205">
                  <c:v>164.0078</c:v>
                </c:pt>
                <c:pt idx="206">
                  <c:v>165.49</c:v>
                </c:pt>
                <c:pt idx="207">
                  <c:v>164.92</c:v>
                </c:pt>
                <c:pt idx="208">
                  <c:v>165.13</c:v>
                </c:pt>
                <c:pt idx="209">
                  <c:v>165.56</c:v>
                </c:pt>
                <c:pt idx="210">
                  <c:v>165.17</c:v>
                </c:pt>
                <c:pt idx="211">
                  <c:v>165</c:v>
                </c:pt>
                <c:pt idx="212">
                  <c:v>166.08</c:v>
                </c:pt>
                <c:pt idx="213">
                  <c:v>165.55</c:v>
                </c:pt>
                <c:pt idx="214">
                  <c:v>167.52</c:v>
                </c:pt>
                <c:pt idx="215">
                  <c:v>167.69</c:v>
                </c:pt>
                <c:pt idx="216">
                  <c:v>168.05</c:v>
                </c:pt>
                <c:pt idx="217">
                  <c:v>170.51</c:v>
                </c:pt>
                <c:pt idx="218">
                  <c:v>171.37</c:v>
                </c:pt>
                <c:pt idx="219">
                  <c:v>171.2</c:v>
                </c:pt>
                <c:pt idx="220">
                  <c:v>172.34</c:v>
                </c:pt>
                <c:pt idx="221">
                  <c:v>173.33</c:v>
                </c:pt>
                <c:pt idx="222">
                  <c:v>173.16</c:v>
                </c:pt>
                <c:pt idx="223">
                  <c:v>173.61</c:v>
                </c:pt>
                <c:pt idx="224">
                  <c:v>174.21</c:v>
                </c:pt>
                <c:pt idx="225">
                  <c:v>174.72</c:v>
                </c:pt>
                <c:pt idx="226">
                  <c:v>177.34</c:v>
                </c:pt>
                <c:pt idx="227">
                  <c:v>178.42</c:v>
                </c:pt>
                <c:pt idx="228">
                  <c:v>178.86</c:v>
                </c:pt>
                <c:pt idx="229">
                  <c:v>179.25</c:v>
                </c:pt>
                <c:pt idx="230">
                  <c:v>179.77090000000001</c:v>
                </c:pt>
                <c:pt idx="231">
                  <c:v>181.30940000000001</c:v>
                </c:pt>
                <c:pt idx="232">
                  <c:v>181.7448</c:v>
                </c:pt>
                <c:pt idx="233">
                  <c:v>183.34039999999999</c:v>
                </c:pt>
                <c:pt idx="234">
                  <c:v>184.69669999999999</c:v>
                </c:pt>
                <c:pt idx="235">
                  <c:v>183.4349</c:v>
                </c:pt>
                <c:pt idx="236">
                  <c:v>183.50819999999999</c:v>
                </c:pt>
                <c:pt idx="237">
                  <c:v>183.8373</c:v>
                </c:pt>
                <c:pt idx="238">
                  <c:v>184.5778</c:v>
                </c:pt>
                <c:pt idx="239">
                  <c:v>186.17490000000001</c:v>
                </c:pt>
                <c:pt idx="240">
                  <c:v>186.05119999999999</c:v>
                </c:pt>
                <c:pt idx="241">
                  <c:v>189.03210000000001</c:v>
                </c:pt>
                <c:pt idx="242">
                  <c:v>188.56870000000001</c:v>
                </c:pt>
                <c:pt idx="243">
                  <c:v>188.23159999999999</c:v>
                </c:pt>
                <c:pt idx="244">
                  <c:v>188.4684</c:v>
                </c:pt>
                <c:pt idx="245">
                  <c:v>188.4271</c:v>
                </c:pt>
                <c:pt idx="246">
                  <c:v>187.49170000000001</c:v>
                </c:pt>
                <c:pt idx="247">
                  <c:v>187.85640000000001</c:v>
                </c:pt>
                <c:pt idx="248">
                  <c:v>188.06030000000001</c:v>
                </c:pt>
                <c:pt idx="249">
                  <c:v>187.27520000000001</c:v>
                </c:pt>
                <c:pt idx="250">
                  <c:v>186.98050000000001</c:v>
                </c:pt>
                <c:pt idx="251">
                  <c:v>186.87180000000001</c:v>
                </c:pt>
                <c:pt idx="252">
                  <c:v>185.67930000000001</c:v>
                </c:pt>
                <c:pt idx="253">
                  <c:v>184.81229999999999</c:v>
                </c:pt>
                <c:pt idx="254">
                  <c:v>185.53380000000001</c:v>
                </c:pt>
                <c:pt idx="255">
                  <c:v>185.79740000000001</c:v>
                </c:pt>
                <c:pt idx="256">
                  <c:v>185.08609999999999</c:v>
                </c:pt>
                <c:pt idx="257">
                  <c:v>185.60579999999999</c:v>
                </c:pt>
                <c:pt idx="258">
                  <c:v>185.36369999999999</c:v>
                </c:pt>
                <c:pt idx="259">
                  <c:v>186.22120000000001</c:v>
                </c:pt>
                <c:pt idx="260">
                  <c:v>186.45959999999999</c:v>
                </c:pt>
                <c:pt idx="261">
                  <c:v>186.9042</c:v>
                </c:pt>
                <c:pt idx="262">
                  <c:v>186.99209999999999</c:v>
                </c:pt>
                <c:pt idx="263">
                  <c:v>186.78710000000001</c:v>
                </c:pt>
                <c:pt idx="264">
                  <c:v>186.8305</c:v>
                </c:pt>
                <c:pt idx="265">
                  <c:v>186.98920000000001</c:v>
                </c:pt>
                <c:pt idx="266">
                  <c:v>187.62309999999999</c:v>
                </c:pt>
                <c:pt idx="267">
                  <c:v>188.08940000000001</c:v>
                </c:pt>
                <c:pt idx="268">
                  <c:v>188.41040000000001</c:v>
                </c:pt>
                <c:pt idx="269">
                  <c:v>189.50649999999999</c:v>
                </c:pt>
                <c:pt idx="270">
                  <c:v>190.17439999999999</c:v>
                </c:pt>
                <c:pt idx="271">
                  <c:v>190.37690000000001</c:v>
                </c:pt>
                <c:pt idx="272">
                  <c:v>189.62950000000001</c:v>
                </c:pt>
                <c:pt idx="273">
                  <c:v>189.51079999999999</c:v>
                </c:pt>
                <c:pt idx="274">
                  <c:v>191.09110000000001</c:v>
                </c:pt>
                <c:pt idx="275">
                  <c:v>190.8597</c:v>
                </c:pt>
                <c:pt idx="276">
                  <c:v>189.95410000000001</c:v>
                </c:pt>
                <c:pt idx="277">
                  <c:v>190.0752</c:v>
                </c:pt>
                <c:pt idx="278">
                  <c:v>189.0692</c:v>
                </c:pt>
                <c:pt idx="279">
                  <c:v>189.24870000000001</c:v>
                </c:pt>
                <c:pt idx="280">
                  <c:v>189.774</c:v>
                </c:pt>
                <c:pt idx="281">
                  <c:v>189.7105</c:v>
                </c:pt>
                <c:pt idx="282">
                  <c:v>190.3562</c:v>
                </c:pt>
                <c:pt idx="283">
                  <c:v>190.96850000000001</c:v>
                </c:pt>
                <c:pt idx="284">
                  <c:v>188.78469999999999</c:v>
                </c:pt>
                <c:pt idx="285">
                  <c:v>187.0478</c:v>
                </c:pt>
                <c:pt idx="286">
                  <c:v>186.54900000000001</c:v>
                </c:pt>
                <c:pt idx="287">
                  <c:v>187.95769999999999</c:v>
                </c:pt>
                <c:pt idx="288">
                  <c:v>188.4102</c:v>
                </c:pt>
                <c:pt idx="289">
                  <c:v>188.53380000000001</c:v>
                </c:pt>
                <c:pt idx="290">
                  <c:v>189.15379999999999</c:v>
                </c:pt>
                <c:pt idx="291">
                  <c:v>190.25659999999999</c:v>
                </c:pt>
                <c:pt idx="292">
                  <c:v>191.05189999999999</c:v>
                </c:pt>
                <c:pt idx="293">
                  <c:v>192.94460000000001</c:v>
                </c:pt>
                <c:pt idx="294">
                  <c:v>196.4117</c:v>
                </c:pt>
                <c:pt idx="295">
                  <c:v>197.6463</c:v>
                </c:pt>
                <c:pt idx="296">
                  <c:v>198.39410000000001</c:v>
                </c:pt>
                <c:pt idx="297">
                  <c:v>198.559</c:v>
                </c:pt>
                <c:pt idx="298">
                  <c:v>198.49529999999999</c:v>
                </c:pt>
                <c:pt idx="299">
                  <c:v>198.3013</c:v>
                </c:pt>
                <c:pt idx="300">
                  <c:v>202.57679999999999</c:v>
                </c:pt>
                <c:pt idx="301">
                  <c:v>201.65049999999999</c:v>
                </c:pt>
                <c:pt idx="302">
                  <c:v>202.23390000000001</c:v>
                </c:pt>
                <c:pt idx="303">
                  <c:v>202.85149999999999</c:v>
                </c:pt>
                <c:pt idx="304">
                  <c:v>201.91990000000001</c:v>
                </c:pt>
                <c:pt idx="305">
                  <c:v>202.755</c:v>
                </c:pt>
                <c:pt idx="306" formatCode="_(* #,##0_);_(* \(#,##0\);_(* &quot;-&quot;??_);_(@_)">
                  <c:v>204.7405</c:v>
                </c:pt>
                <c:pt idx="307" formatCode="_(* #,##0_);_(* \(#,##0\);_(* &quot;-&quot;??_);_(@_)">
                  <c:v>205.71199999999999</c:v>
                </c:pt>
                <c:pt idx="308" formatCode="_(* #,##0_);_(* \(#,##0\);_(* &quot;-&quot;??_);_(@_)">
                  <c:v>207.76519999999999</c:v>
                </c:pt>
                <c:pt idx="309" formatCode="_(* #,##0_);_(* \(#,##0\);_(* &quot;-&quot;??_);_(@_)">
                  <c:v>208.9084</c:v>
                </c:pt>
                <c:pt idx="310" formatCode="_(* #,##0_);_(* \(#,##0\);_(* &quot;-&quot;??_);_(@_)">
                  <c:v>209.34469999999999</c:v>
                </c:pt>
                <c:pt idx="311" formatCode="_(* #,##0_);_(* \(#,##0\);_(* &quot;-&quot;??_);_(@_)">
                  <c:v>208.42359999999999</c:v>
                </c:pt>
                <c:pt idx="312" formatCode="_(* #,##0_);_(* \(#,##0\);_(* &quot;-&quot;??_);_(@_)">
                  <c:v>209.02670000000001</c:v>
                </c:pt>
                <c:pt idx="313" formatCode="_(* #,##0_);_(* \(#,##0\);_(* &quot;-&quot;??_);_(@_)">
                  <c:v>209.8272</c:v>
                </c:pt>
                <c:pt idx="314" formatCode="_(* #,##0_);_(* \(#,##0\);_(* &quot;-&quot;??_);_(@_)">
                  <c:v>211.0215</c:v>
                </c:pt>
                <c:pt idx="315" formatCode="_(* #,##0_);_(* \(#,##0\);_(* &quot;-&quot;??_);_(@_)">
                  <c:v>211.40049999999999</c:v>
                </c:pt>
                <c:pt idx="316" formatCode="_(* #,##0_);_(* \(#,##0\);_(* &quot;-&quot;??_);_(@_)">
                  <c:v>211.40049999999999</c:v>
                </c:pt>
              </c:numCache>
            </c:numRef>
          </c:val>
          <c:smooth val="0"/>
          <c:extLst>
            <c:ext xmlns:c16="http://schemas.microsoft.com/office/drawing/2014/chart" uri="{C3380CC4-5D6E-409C-BE32-E72D297353CC}">
              <c16:uniqueId val="{00000001-8D9D-42D4-8616-B9DD4DAAB5E7}"/>
            </c:ext>
          </c:extLst>
        </c:ser>
        <c:dLbls>
          <c:showLegendKey val="0"/>
          <c:showVal val="0"/>
          <c:showCatName val="0"/>
          <c:showSerName val="0"/>
          <c:showPercent val="0"/>
          <c:showBubbleSize val="0"/>
        </c:dLbls>
        <c:marker val="1"/>
        <c:smooth val="0"/>
        <c:axId val="2077508879"/>
        <c:axId val="2077505039"/>
      </c:lineChart>
      <c:dateAx>
        <c:axId val="2031705327"/>
        <c:scaling>
          <c:orientation val="minMax"/>
          <c:min val="44564"/>
        </c:scaling>
        <c:delete val="0"/>
        <c:axPos val="b"/>
        <c:numFmt formatCode="[$-409]mmm\-yy;@" sourceLinked="0"/>
        <c:majorTickMark val="none"/>
        <c:minorTickMark val="none"/>
        <c:tickLblPos val="nextTo"/>
        <c:spPr>
          <a:noFill/>
          <a:ln w="6350" cap="flat" cmpd="sng" algn="ctr">
            <a:solidFill>
              <a:srgbClr val="ECEBE4"/>
            </a:solidFill>
            <a:prstDash val="solid"/>
            <a:round/>
            <a:headEnd type="none" w="med" len="med"/>
            <a:tailEnd type="none" w="med" len="me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31698127"/>
        <c:crosses val="autoZero"/>
        <c:auto val="1"/>
        <c:lblOffset val="100"/>
        <c:baseTimeUnit val="days"/>
        <c:majorUnit val="3"/>
        <c:majorTimeUnit val="months"/>
      </c:dateAx>
      <c:valAx>
        <c:axId val="2031698127"/>
        <c:scaling>
          <c:orientation val="minMax"/>
          <c:min val="1500"/>
        </c:scaling>
        <c:delete val="0"/>
        <c:axPos val="l"/>
        <c:majorGridlines>
          <c:spPr>
            <a:ln w="6350" cap="flat" cmpd="sng" algn="ctr">
              <a:solidFill>
                <a:srgbClr val="ECEBE4"/>
              </a:solidFill>
              <a:prstDash val="solid"/>
              <a:round/>
              <a:headEnd type="none" w="med" len="med"/>
              <a:tailEnd type="none" w="med" len="me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31705327"/>
        <c:crosses val="autoZero"/>
        <c:crossBetween val="between"/>
      </c:valAx>
      <c:valAx>
        <c:axId val="2077505039"/>
        <c:scaling>
          <c:orientation val="minMax"/>
          <c:min val="140"/>
        </c:scaling>
        <c:delete val="0"/>
        <c:axPos val="r"/>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77508879"/>
        <c:crosses val="max"/>
        <c:crossBetween val="between"/>
      </c:valAx>
      <c:catAx>
        <c:axId val="2077508879"/>
        <c:scaling>
          <c:orientation val="minMax"/>
        </c:scaling>
        <c:delete val="1"/>
        <c:axPos val="b"/>
        <c:majorTickMark val="out"/>
        <c:minorTickMark val="none"/>
        <c:tickLblPos val="nextTo"/>
        <c:crossAx val="207750503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200">
          <a:solidFill>
            <a:schemeClr val="tx1">
              <a:lumMod val="65000"/>
              <a:lumOff val="35000"/>
            </a:schemeClr>
          </a:solidFill>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69794460419301E-2"/>
          <c:y val="8.6202338644797774E-2"/>
          <c:w val="0.90274637277341974"/>
          <c:h val="0.70992537942604184"/>
        </c:manualLayout>
      </c:layout>
      <c:lineChart>
        <c:grouping val="standard"/>
        <c:varyColors val="0"/>
        <c:ser>
          <c:idx val="2"/>
          <c:order val="0"/>
          <c:tx>
            <c:strRef>
              <c:f>buyback!$F$1017</c:f>
              <c:strCache>
                <c:ptCount val="1"/>
                <c:pt idx="0">
                  <c:v>FY23</c:v>
                </c:pt>
              </c:strCache>
            </c:strRef>
          </c:tx>
          <c:spPr>
            <a:ln w="28575" cap="rnd">
              <a:solidFill>
                <a:schemeClr val="accent3"/>
              </a:solidFill>
              <a:round/>
            </a:ln>
            <a:effectLst/>
          </c:spPr>
          <c:marker>
            <c:symbol val="none"/>
          </c:marker>
          <c:cat>
            <c:numRef>
              <c:f>buyback!$D$964:$D$1016</c:f>
              <c:numCache>
                <c:formatCode>[$-409]d\-mmm\-yy;@</c:formatCode>
                <c:ptCount val="53"/>
                <c:pt idx="0">
                  <c:v>44652</c:v>
                </c:pt>
                <c:pt idx="1">
                  <c:v>44659</c:v>
                </c:pt>
                <c:pt idx="2">
                  <c:v>44666</c:v>
                </c:pt>
                <c:pt idx="3">
                  <c:v>44673</c:v>
                </c:pt>
                <c:pt idx="4">
                  <c:v>44680</c:v>
                </c:pt>
                <c:pt idx="5">
                  <c:v>44687</c:v>
                </c:pt>
                <c:pt idx="6">
                  <c:v>44694</c:v>
                </c:pt>
                <c:pt idx="7">
                  <c:v>44701</c:v>
                </c:pt>
                <c:pt idx="8">
                  <c:v>44708</c:v>
                </c:pt>
                <c:pt idx="9">
                  <c:v>44715</c:v>
                </c:pt>
                <c:pt idx="10">
                  <c:v>44722</c:v>
                </c:pt>
                <c:pt idx="11">
                  <c:v>44729</c:v>
                </c:pt>
                <c:pt idx="12">
                  <c:v>44736</c:v>
                </c:pt>
                <c:pt idx="13">
                  <c:v>44743</c:v>
                </c:pt>
                <c:pt idx="14">
                  <c:v>44750</c:v>
                </c:pt>
                <c:pt idx="15">
                  <c:v>44757</c:v>
                </c:pt>
                <c:pt idx="16">
                  <c:v>44764</c:v>
                </c:pt>
                <c:pt idx="17">
                  <c:v>44771</c:v>
                </c:pt>
                <c:pt idx="18">
                  <c:v>44778</c:v>
                </c:pt>
                <c:pt idx="19">
                  <c:v>44785</c:v>
                </c:pt>
                <c:pt idx="20">
                  <c:v>44792</c:v>
                </c:pt>
                <c:pt idx="21">
                  <c:v>44799</c:v>
                </c:pt>
                <c:pt idx="22">
                  <c:v>44806</c:v>
                </c:pt>
                <c:pt idx="23">
                  <c:v>44813</c:v>
                </c:pt>
                <c:pt idx="24">
                  <c:v>44820</c:v>
                </c:pt>
                <c:pt idx="25">
                  <c:v>44827</c:v>
                </c:pt>
                <c:pt idx="26">
                  <c:v>44834</c:v>
                </c:pt>
                <c:pt idx="27">
                  <c:v>44841</c:v>
                </c:pt>
                <c:pt idx="28">
                  <c:v>44848</c:v>
                </c:pt>
                <c:pt idx="29">
                  <c:v>44855</c:v>
                </c:pt>
                <c:pt idx="30">
                  <c:v>44862</c:v>
                </c:pt>
                <c:pt idx="31">
                  <c:v>44869</c:v>
                </c:pt>
                <c:pt idx="32">
                  <c:v>44876</c:v>
                </c:pt>
                <c:pt idx="33">
                  <c:v>44883</c:v>
                </c:pt>
                <c:pt idx="34">
                  <c:v>44890</c:v>
                </c:pt>
                <c:pt idx="35">
                  <c:v>44897</c:v>
                </c:pt>
                <c:pt idx="36">
                  <c:v>44904</c:v>
                </c:pt>
                <c:pt idx="37">
                  <c:v>44911</c:v>
                </c:pt>
                <c:pt idx="38">
                  <c:v>44918</c:v>
                </c:pt>
                <c:pt idx="39">
                  <c:v>44925</c:v>
                </c:pt>
                <c:pt idx="40">
                  <c:v>44932</c:v>
                </c:pt>
                <c:pt idx="41">
                  <c:v>44939</c:v>
                </c:pt>
                <c:pt idx="42">
                  <c:v>44946</c:v>
                </c:pt>
                <c:pt idx="43">
                  <c:v>44953</c:v>
                </c:pt>
                <c:pt idx="44">
                  <c:v>44960</c:v>
                </c:pt>
                <c:pt idx="45">
                  <c:v>44967</c:v>
                </c:pt>
                <c:pt idx="46">
                  <c:v>44974</c:v>
                </c:pt>
                <c:pt idx="47">
                  <c:v>44981</c:v>
                </c:pt>
                <c:pt idx="48">
                  <c:v>44988</c:v>
                </c:pt>
                <c:pt idx="49">
                  <c:v>44995</c:v>
                </c:pt>
                <c:pt idx="50">
                  <c:v>45002</c:v>
                </c:pt>
                <c:pt idx="51">
                  <c:v>45009</c:v>
                </c:pt>
                <c:pt idx="52">
                  <c:v>45016</c:v>
                </c:pt>
              </c:numCache>
            </c:numRef>
          </c:cat>
          <c:val>
            <c:numRef>
              <c:f>buyback!$E$1017:$E$1068</c:f>
              <c:numCache>
                <c:formatCode>#,##0_);[Red]\(#,##0\)</c:formatCode>
                <c:ptCount val="52"/>
                <c:pt idx="0">
                  <c:v>56.900191999999997</c:v>
                </c:pt>
                <c:pt idx="1">
                  <c:v>56.900191999999997</c:v>
                </c:pt>
                <c:pt idx="2">
                  <c:v>56.900191999999997</c:v>
                </c:pt>
                <c:pt idx="3">
                  <c:v>75.077352999999988</c:v>
                </c:pt>
                <c:pt idx="4">
                  <c:v>76.684352999999987</c:v>
                </c:pt>
                <c:pt idx="5">
                  <c:v>114.71135299999999</c:v>
                </c:pt>
                <c:pt idx="6">
                  <c:v>237.55675299999999</c:v>
                </c:pt>
                <c:pt idx="7">
                  <c:v>325.67145299999999</c:v>
                </c:pt>
                <c:pt idx="8">
                  <c:v>466.19715299999996</c:v>
                </c:pt>
                <c:pt idx="9">
                  <c:v>539.70405299999993</c:v>
                </c:pt>
                <c:pt idx="10">
                  <c:v>635.50405299999989</c:v>
                </c:pt>
                <c:pt idx="11">
                  <c:v>704.69625299999984</c:v>
                </c:pt>
                <c:pt idx="12">
                  <c:v>713.18955299999982</c:v>
                </c:pt>
                <c:pt idx="13">
                  <c:v>802.60525299999983</c:v>
                </c:pt>
                <c:pt idx="14">
                  <c:v>898.26715299999978</c:v>
                </c:pt>
                <c:pt idx="15">
                  <c:v>941.54315299999973</c:v>
                </c:pt>
                <c:pt idx="16">
                  <c:v>972.01810899999975</c:v>
                </c:pt>
                <c:pt idx="17">
                  <c:v>1135.1919089999997</c:v>
                </c:pt>
                <c:pt idx="18">
                  <c:v>1278.2059089999998</c:v>
                </c:pt>
                <c:pt idx="19">
                  <c:v>1601.0377089999997</c:v>
                </c:pt>
                <c:pt idx="20">
                  <c:v>1784.9194089999996</c:v>
                </c:pt>
                <c:pt idx="21">
                  <c:v>1855.8774089999997</c:v>
                </c:pt>
                <c:pt idx="22">
                  <c:v>1975.0322089999997</c:v>
                </c:pt>
                <c:pt idx="23">
                  <c:v>2083.6402089999997</c:v>
                </c:pt>
                <c:pt idx="24">
                  <c:v>2245.7485089999996</c:v>
                </c:pt>
                <c:pt idx="25">
                  <c:v>2251.3014089999997</c:v>
                </c:pt>
                <c:pt idx="26">
                  <c:v>2433.0520089999995</c:v>
                </c:pt>
                <c:pt idx="27">
                  <c:v>2508.6240089999997</c:v>
                </c:pt>
                <c:pt idx="28">
                  <c:v>2670.1488089999998</c:v>
                </c:pt>
                <c:pt idx="29">
                  <c:v>2783.054709</c:v>
                </c:pt>
                <c:pt idx="30">
                  <c:v>2834.6317090000002</c:v>
                </c:pt>
                <c:pt idx="31">
                  <c:v>2933.1037090000004</c:v>
                </c:pt>
                <c:pt idx="32">
                  <c:v>3046.2737090000005</c:v>
                </c:pt>
                <c:pt idx="33">
                  <c:v>3207.8348090000004</c:v>
                </c:pt>
                <c:pt idx="34">
                  <c:v>3357.3111090000002</c:v>
                </c:pt>
                <c:pt idx="35">
                  <c:v>3538.7259090000002</c:v>
                </c:pt>
                <c:pt idx="36">
                  <c:v>3831.1749090000003</c:v>
                </c:pt>
                <c:pt idx="37">
                  <c:v>4042.8635090000002</c:v>
                </c:pt>
                <c:pt idx="38">
                  <c:v>4042.8635090000002</c:v>
                </c:pt>
                <c:pt idx="39">
                  <c:v>4105.1715090000007</c:v>
                </c:pt>
                <c:pt idx="40">
                  <c:v>4236.4175090000008</c:v>
                </c:pt>
                <c:pt idx="41">
                  <c:v>4284.9660090000007</c:v>
                </c:pt>
                <c:pt idx="42">
                  <c:v>4350.5162090000003</c:v>
                </c:pt>
                <c:pt idx="43">
                  <c:v>4429.8682090000002</c:v>
                </c:pt>
                <c:pt idx="44">
                  <c:v>4592.0492089999998</c:v>
                </c:pt>
                <c:pt idx="45">
                  <c:v>4666.4533089999995</c:v>
                </c:pt>
                <c:pt idx="46">
                  <c:v>4756.2563089999994</c:v>
                </c:pt>
                <c:pt idx="47">
                  <c:v>4760.047908999999</c:v>
                </c:pt>
                <c:pt idx="48">
                  <c:v>4764.9279089999991</c:v>
                </c:pt>
                <c:pt idx="49">
                  <c:v>4920.3941089999989</c:v>
                </c:pt>
                <c:pt idx="50">
                  <c:v>4923.6546089999993</c:v>
                </c:pt>
                <c:pt idx="51">
                  <c:v>4927.7692089999991</c:v>
                </c:pt>
              </c:numCache>
            </c:numRef>
          </c:val>
          <c:smooth val="0"/>
          <c:extLst>
            <c:ext xmlns:c16="http://schemas.microsoft.com/office/drawing/2014/chart" uri="{C3380CC4-5D6E-409C-BE32-E72D297353CC}">
              <c16:uniqueId val="{00000000-BCA4-47C0-8065-FDE9C9CAA1CD}"/>
            </c:ext>
          </c:extLst>
        </c:ser>
        <c:ser>
          <c:idx val="1"/>
          <c:order val="1"/>
          <c:tx>
            <c:strRef>
              <c:f>buyback!$F$964</c:f>
              <c:strCache>
                <c:ptCount val="1"/>
                <c:pt idx="0">
                  <c:v>FY22</c:v>
                </c:pt>
              </c:strCache>
            </c:strRef>
          </c:tx>
          <c:spPr>
            <a:ln w="19050" cap="rnd">
              <a:solidFill>
                <a:schemeClr val="accent2"/>
              </a:solidFill>
              <a:round/>
            </a:ln>
            <a:effectLst/>
          </c:spPr>
          <c:marker>
            <c:symbol val="none"/>
          </c:marker>
          <c:cat>
            <c:numRef>
              <c:f>buyback!$D$964:$D$1016</c:f>
              <c:numCache>
                <c:formatCode>[$-409]d\-mmm\-yy;@</c:formatCode>
                <c:ptCount val="53"/>
                <c:pt idx="0">
                  <c:v>44652</c:v>
                </c:pt>
                <c:pt idx="1">
                  <c:v>44659</c:v>
                </c:pt>
                <c:pt idx="2">
                  <c:v>44666</c:v>
                </c:pt>
                <c:pt idx="3">
                  <c:v>44673</c:v>
                </c:pt>
                <c:pt idx="4">
                  <c:v>44680</c:v>
                </c:pt>
                <c:pt idx="5">
                  <c:v>44687</c:v>
                </c:pt>
                <c:pt idx="6">
                  <c:v>44694</c:v>
                </c:pt>
                <c:pt idx="7">
                  <c:v>44701</c:v>
                </c:pt>
                <c:pt idx="8">
                  <c:v>44708</c:v>
                </c:pt>
                <c:pt idx="9">
                  <c:v>44715</c:v>
                </c:pt>
                <c:pt idx="10">
                  <c:v>44722</c:v>
                </c:pt>
                <c:pt idx="11">
                  <c:v>44729</c:v>
                </c:pt>
                <c:pt idx="12">
                  <c:v>44736</c:v>
                </c:pt>
                <c:pt idx="13">
                  <c:v>44743</c:v>
                </c:pt>
                <c:pt idx="14">
                  <c:v>44750</c:v>
                </c:pt>
                <c:pt idx="15">
                  <c:v>44757</c:v>
                </c:pt>
                <c:pt idx="16">
                  <c:v>44764</c:v>
                </c:pt>
                <c:pt idx="17">
                  <c:v>44771</c:v>
                </c:pt>
                <c:pt idx="18">
                  <c:v>44778</c:v>
                </c:pt>
                <c:pt idx="19">
                  <c:v>44785</c:v>
                </c:pt>
                <c:pt idx="20">
                  <c:v>44792</c:v>
                </c:pt>
                <c:pt idx="21">
                  <c:v>44799</c:v>
                </c:pt>
                <c:pt idx="22">
                  <c:v>44806</c:v>
                </c:pt>
                <c:pt idx="23">
                  <c:v>44813</c:v>
                </c:pt>
                <c:pt idx="24">
                  <c:v>44820</c:v>
                </c:pt>
                <c:pt idx="25">
                  <c:v>44827</c:v>
                </c:pt>
                <c:pt idx="26">
                  <c:v>44834</c:v>
                </c:pt>
                <c:pt idx="27">
                  <c:v>44841</c:v>
                </c:pt>
                <c:pt idx="28">
                  <c:v>44848</c:v>
                </c:pt>
                <c:pt idx="29">
                  <c:v>44855</c:v>
                </c:pt>
                <c:pt idx="30">
                  <c:v>44862</c:v>
                </c:pt>
                <c:pt idx="31">
                  <c:v>44869</c:v>
                </c:pt>
                <c:pt idx="32">
                  <c:v>44876</c:v>
                </c:pt>
                <c:pt idx="33">
                  <c:v>44883</c:v>
                </c:pt>
                <c:pt idx="34">
                  <c:v>44890</c:v>
                </c:pt>
                <c:pt idx="35">
                  <c:v>44897</c:v>
                </c:pt>
                <c:pt idx="36">
                  <c:v>44904</c:v>
                </c:pt>
                <c:pt idx="37">
                  <c:v>44911</c:v>
                </c:pt>
                <c:pt idx="38">
                  <c:v>44918</c:v>
                </c:pt>
                <c:pt idx="39">
                  <c:v>44925</c:v>
                </c:pt>
                <c:pt idx="40">
                  <c:v>44932</c:v>
                </c:pt>
                <c:pt idx="41">
                  <c:v>44939</c:v>
                </c:pt>
                <c:pt idx="42">
                  <c:v>44946</c:v>
                </c:pt>
                <c:pt idx="43">
                  <c:v>44953</c:v>
                </c:pt>
                <c:pt idx="44">
                  <c:v>44960</c:v>
                </c:pt>
                <c:pt idx="45">
                  <c:v>44967</c:v>
                </c:pt>
                <c:pt idx="46">
                  <c:v>44974</c:v>
                </c:pt>
                <c:pt idx="47">
                  <c:v>44981</c:v>
                </c:pt>
                <c:pt idx="48">
                  <c:v>44988</c:v>
                </c:pt>
                <c:pt idx="49">
                  <c:v>44995</c:v>
                </c:pt>
                <c:pt idx="50">
                  <c:v>45002</c:v>
                </c:pt>
                <c:pt idx="51">
                  <c:v>45009</c:v>
                </c:pt>
                <c:pt idx="52">
                  <c:v>45016</c:v>
                </c:pt>
              </c:numCache>
            </c:numRef>
          </c:cat>
          <c:val>
            <c:numRef>
              <c:f>buyback!$E$964:$E$1016</c:f>
              <c:numCache>
                <c:formatCode>#,##0_);[Red]\(#,##0\)</c:formatCode>
                <c:ptCount val="53"/>
                <c:pt idx="0">
                  <c:v>0</c:v>
                </c:pt>
                <c:pt idx="1">
                  <c:v>96.719799999999992</c:v>
                </c:pt>
                <c:pt idx="2">
                  <c:v>161.15879999999999</c:v>
                </c:pt>
                <c:pt idx="3">
                  <c:v>210.27029999999999</c:v>
                </c:pt>
                <c:pt idx="4">
                  <c:v>243.15629999999999</c:v>
                </c:pt>
                <c:pt idx="5">
                  <c:v>262.74849999999998</c:v>
                </c:pt>
                <c:pt idx="6">
                  <c:v>397.63849999999996</c:v>
                </c:pt>
                <c:pt idx="7">
                  <c:v>603.23849999999993</c:v>
                </c:pt>
                <c:pt idx="8">
                  <c:v>778.56899999999996</c:v>
                </c:pt>
                <c:pt idx="9">
                  <c:v>902.91899999999998</c:v>
                </c:pt>
                <c:pt idx="10">
                  <c:v>1024.242</c:v>
                </c:pt>
                <c:pt idx="11">
                  <c:v>1298.5740000000001</c:v>
                </c:pt>
                <c:pt idx="12">
                  <c:v>1411.6410000000001</c:v>
                </c:pt>
                <c:pt idx="13">
                  <c:v>1420.412</c:v>
                </c:pt>
                <c:pt idx="14">
                  <c:v>1554.2339999999999</c:v>
                </c:pt>
                <c:pt idx="15">
                  <c:v>1694.934</c:v>
                </c:pt>
                <c:pt idx="16">
                  <c:v>1754.9939999999999</c:v>
                </c:pt>
                <c:pt idx="17">
                  <c:v>1839.6039999999998</c:v>
                </c:pt>
                <c:pt idx="18">
                  <c:v>1950.5229999999999</c:v>
                </c:pt>
                <c:pt idx="19">
                  <c:v>2032.4829999999999</c:v>
                </c:pt>
                <c:pt idx="20">
                  <c:v>2145.7330000000002</c:v>
                </c:pt>
                <c:pt idx="21">
                  <c:v>2252.8047880000004</c:v>
                </c:pt>
                <c:pt idx="22">
                  <c:v>2383.9496410000002</c:v>
                </c:pt>
                <c:pt idx="23">
                  <c:v>2475.5115770000002</c:v>
                </c:pt>
                <c:pt idx="24">
                  <c:v>2935.8628600000002</c:v>
                </c:pt>
                <c:pt idx="25">
                  <c:v>3000.2668370000001</c:v>
                </c:pt>
                <c:pt idx="26">
                  <c:v>3027.9914180000001</c:v>
                </c:pt>
                <c:pt idx="27">
                  <c:v>3167.002297</c:v>
                </c:pt>
                <c:pt idx="28">
                  <c:v>3290.3849220000002</c:v>
                </c:pt>
                <c:pt idx="29">
                  <c:v>3398.714156</c:v>
                </c:pt>
                <c:pt idx="30">
                  <c:v>3485.0260790000002</c:v>
                </c:pt>
                <c:pt idx="31">
                  <c:v>3625.1660790000001</c:v>
                </c:pt>
                <c:pt idx="32">
                  <c:v>3718.1276149999999</c:v>
                </c:pt>
                <c:pt idx="33">
                  <c:v>3858.7276149999998</c:v>
                </c:pt>
                <c:pt idx="34">
                  <c:v>3902.7276149999998</c:v>
                </c:pt>
                <c:pt idx="35">
                  <c:v>4055.0776149999997</c:v>
                </c:pt>
                <c:pt idx="36">
                  <c:v>4224.6645979999994</c:v>
                </c:pt>
                <c:pt idx="37">
                  <c:v>4374.3486629999998</c:v>
                </c:pt>
                <c:pt idx="38">
                  <c:v>4580.1627879999996</c:v>
                </c:pt>
                <c:pt idx="39">
                  <c:v>4584.455798</c:v>
                </c:pt>
                <c:pt idx="40">
                  <c:v>4724.1649539999999</c:v>
                </c:pt>
                <c:pt idx="41">
                  <c:v>4827.6712889999999</c:v>
                </c:pt>
                <c:pt idx="42">
                  <c:v>4951.2402579999998</c:v>
                </c:pt>
                <c:pt idx="43">
                  <c:v>4986.5771409999998</c:v>
                </c:pt>
                <c:pt idx="44">
                  <c:v>5074.0991739999999</c:v>
                </c:pt>
                <c:pt idx="45">
                  <c:v>5168.7791740000002</c:v>
                </c:pt>
                <c:pt idx="46">
                  <c:v>5243.1091740000002</c:v>
                </c:pt>
                <c:pt idx="47">
                  <c:v>5331.2321739999998</c:v>
                </c:pt>
                <c:pt idx="48">
                  <c:v>5367.1921739999998</c:v>
                </c:pt>
                <c:pt idx="49">
                  <c:v>5457.1865849999995</c:v>
                </c:pt>
                <c:pt idx="50">
                  <c:v>5609.1459479999994</c:v>
                </c:pt>
                <c:pt idx="51">
                  <c:v>5681.2783009999994</c:v>
                </c:pt>
                <c:pt idx="52">
                  <c:v>5681.2783009999994</c:v>
                </c:pt>
              </c:numCache>
            </c:numRef>
          </c:val>
          <c:smooth val="0"/>
          <c:extLst>
            <c:ext xmlns:c16="http://schemas.microsoft.com/office/drawing/2014/chart" uri="{C3380CC4-5D6E-409C-BE32-E72D297353CC}">
              <c16:uniqueId val="{00000001-BCA4-47C0-8065-FDE9C9CAA1CD}"/>
            </c:ext>
          </c:extLst>
        </c:ser>
        <c:ser>
          <c:idx val="0"/>
          <c:order val="2"/>
          <c:tx>
            <c:strRef>
              <c:f>buyback!$F$912</c:f>
              <c:strCache>
                <c:ptCount val="1"/>
                <c:pt idx="0">
                  <c:v>FY21</c:v>
                </c:pt>
              </c:strCache>
            </c:strRef>
          </c:tx>
          <c:spPr>
            <a:ln w="19050" cap="rnd">
              <a:solidFill>
                <a:schemeClr val="accent1"/>
              </a:solidFill>
              <a:round/>
            </a:ln>
            <a:effectLst/>
          </c:spPr>
          <c:marker>
            <c:symbol val="none"/>
          </c:marker>
          <c:cat>
            <c:numRef>
              <c:f>buyback!$D$964:$D$1016</c:f>
              <c:numCache>
                <c:formatCode>[$-409]d\-mmm\-yy;@</c:formatCode>
                <c:ptCount val="53"/>
                <c:pt idx="0">
                  <c:v>44652</c:v>
                </c:pt>
                <c:pt idx="1">
                  <c:v>44659</c:v>
                </c:pt>
                <c:pt idx="2">
                  <c:v>44666</c:v>
                </c:pt>
                <c:pt idx="3">
                  <c:v>44673</c:v>
                </c:pt>
                <c:pt idx="4">
                  <c:v>44680</c:v>
                </c:pt>
                <c:pt idx="5">
                  <c:v>44687</c:v>
                </c:pt>
                <c:pt idx="6">
                  <c:v>44694</c:v>
                </c:pt>
                <c:pt idx="7">
                  <c:v>44701</c:v>
                </c:pt>
                <c:pt idx="8">
                  <c:v>44708</c:v>
                </c:pt>
                <c:pt idx="9">
                  <c:v>44715</c:v>
                </c:pt>
                <c:pt idx="10">
                  <c:v>44722</c:v>
                </c:pt>
                <c:pt idx="11">
                  <c:v>44729</c:v>
                </c:pt>
                <c:pt idx="12">
                  <c:v>44736</c:v>
                </c:pt>
                <c:pt idx="13">
                  <c:v>44743</c:v>
                </c:pt>
                <c:pt idx="14">
                  <c:v>44750</c:v>
                </c:pt>
                <c:pt idx="15">
                  <c:v>44757</c:v>
                </c:pt>
                <c:pt idx="16">
                  <c:v>44764</c:v>
                </c:pt>
                <c:pt idx="17">
                  <c:v>44771</c:v>
                </c:pt>
                <c:pt idx="18">
                  <c:v>44778</c:v>
                </c:pt>
                <c:pt idx="19">
                  <c:v>44785</c:v>
                </c:pt>
                <c:pt idx="20">
                  <c:v>44792</c:v>
                </c:pt>
                <c:pt idx="21">
                  <c:v>44799</c:v>
                </c:pt>
                <c:pt idx="22">
                  <c:v>44806</c:v>
                </c:pt>
                <c:pt idx="23">
                  <c:v>44813</c:v>
                </c:pt>
                <c:pt idx="24">
                  <c:v>44820</c:v>
                </c:pt>
                <c:pt idx="25">
                  <c:v>44827</c:v>
                </c:pt>
                <c:pt idx="26">
                  <c:v>44834</c:v>
                </c:pt>
                <c:pt idx="27">
                  <c:v>44841</c:v>
                </c:pt>
                <c:pt idx="28">
                  <c:v>44848</c:v>
                </c:pt>
                <c:pt idx="29">
                  <c:v>44855</c:v>
                </c:pt>
                <c:pt idx="30">
                  <c:v>44862</c:v>
                </c:pt>
                <c:pt idx="31">
                  <c:v>44869</c:v>
                </c:pt>
                <c:pt idx="32">
                  <c:v>44876</c:v>
                </c:pt>
                <c:pt idx="33">
                  <c:v>44883</c:v>
                </c:pt>
                <c:pt idx="34">
                  <c:v>44890</c:v>
                </c:pt>
                <c:pt idx="35">
                  <c:v>44897</c:v>
                </c:pt>
                <c:pt idx="36">
                  <c:v>44904</c:v>
                </c:pt>
                <c:pt idx="37">
                  <c:v>44911</c:v>
                </c:pt>
                <c:pt idx="38">
                  <c:v>44918</c:v>
                </c:pt>
                <c:pt idx="39">
                  <c:v>44925</c:v>
                </c:pt>
                <c:pt idx="40">
                  <c:v>44932</c:v>
                </c:pt>
                <c:pt idx="41">
                  <c:v>44939</c:v>
                </c:pt>
                <c:pt idx="42">
                  <c:v>44946</c:v>
                </c:pt>
                <c:pt idx="43">
                  <c:v>44953</c:v>
                </c:pt>
                <c:pt idx="44">
                  <c:v>44960</c:v>
                </c:pt>
                <c:pt idx="45">
                  <c:v>44967</c:v>
                </c:pt>
                <c:pt idx="46">
                  <c:v>44974</c:v>
                </c:pt>
                <c:pt idx="47">
                  <c:v>44981</c:v>
                </c:pt>
                <c:pt idx="48">
                  <c:v>44988</c:v>
                </c:pt>
                <c:pt idx="49">
                  <c:v>44995</c:v>
                </c:pt>
                <c:pt idx="50">
                  <c:v>45002</c:v>
                </c:pt>
                <c:pt idx="51">
                  <c:v>45009</c:v>
                </c:pt>
                <c:pt idx="52">
                  <c:v>45016</c:v>
                </c:pt>
              </c:numCache>
            </c:numRef>
          </c:cat>
          <c:val>
            <c:numRef>
              <c:f>buyback!$E$912:$E$963</c:f>
              <c:numCache>
                <c:formatCode>#,##0_);[Red]\(#,##0\)</c:formatCode>
                <c:ptCount val="52"/>
                <c:pt idx="0">
                  <c:v>0</c:v>
                </c:pt>
                <c:pt idx="1">
                  <c:v>12.57</c:v>
                </c:pt>
                <c:pt idx="2">
                  <c:v>23.036999999999999</c:v>
                </c:pt>
                <c:pt idx="3">
                  <c:v>73.686999999999998</c:v>
                </c:pt>
                <c:pt idx="4">
                  <c:v>82.251999999999995</c:v>
                </c:pt>
                <c:pt idx="5">
                  <c:v>82.295999999999992</c:v>
                </c:pt>
                <c:pt idx="6">
                  <c:v>192.20849999999999</c:v>
                </c:pt>
                <c:pt idx="7">
                  <c:v>192.20849999999999</c:v>
                </c:pt>
                <c:pt idx="8">
                  <c:v>264.61950000000002</c:v>
                </c:pt>
                <c:pt idx="9">
                  <c:v>301.36760000000004</c:v>
                </c:pt>
                <c:pt idx="10">
                  <c:v>598.2976000000001</c:v>
                </c:pt>
                <c:pt idx="11">
                  <c:v>614.67460000000005</c:v>
                </c:pt>
                <c:pt idx="12">
                  <c:v>622.77460000000008</c:v>
                </c:pt>
                <c:pt idx="13">
                  <c:v>649.08460000000002</c:v>
                </c:pt>
                <c:pt idx="14">
                  <c:v>739.64459999999997</c:v>
                </c:pt>
                <c:pt idx="15">
                  <c:v>750.64059999999995</c:v>
                </c:pt>
                <c:pt idx="16">
                  <c:v>792.89059999999995</c:v>
                </c:pt>
                <c:pt idx="17">
                  <c:v>815.51519999999994</c:v>
                </c:pt>
                <c:pt idx="18">
                  <c:v>864.05219999999997</c:v>
                </c:pt>
                <c:pt idx="19">
                  <c:v>907.88619999999992</c:v>
                </c:pt>
                <c:pt idx="20">
                  <c:v>1079.4292</c:v>
                </c:pt>
                <c:pt idx="21">
                  <c:v>1145.7302</c:v>
                </c:pt>
                <c:pt idx="22">
                  <c:v>1182.5111999999999</c:v>
                </c:pt>
                <c:pt idx="23">
                  <c:v>1197.4132</c:v>
                </c:pt>
                <c:pt idx="24">
                  <c:v>1216.6668999999999</c:v>
                </c:pt>
                <c:pt idx="25">
                  <c:v>1232.6848</c:v>
                </c:pt>
                <c:pt idx="26">
                  <c:v>1285.5039999999999</c:v>
                </c:pt>
                <c:pt idx="27">
                  <c:v>1366.672</c:v>
                </c:pt>
                <c:pt idx="28">
                  <c:v>1397.0434</c:v>
                </c:pt>
                <c:pt idx="29">
                  <c:v>1420.5034000000001</c:v>
                </c:pt>
                <c:pt idx="30">
                  <c:v>1447.9675999999999</c:v>
                </c:pt>
                <c:pt idx="31">
                  <c:v>1470.4025999999999</c:v>
                </c:pt>
                <c:pt idx="32">
                  <c:v>1556.5485999999999</c:v>
                </c:pt>
                <c:pt idx="33">
                  <c:v>1692.2485999999999</c:v>
                </c:pt>
                <c:pt idx="34">
                  <c:v>1798.2749019999999</c:v>
                </c:pt>
                <c:pt idx="35">
                  <c:v>1975.6190449999999</c:v>
                </c:pt>
                <c:pt idx="36">
                  <c:v>2083.3790450000001</c:v>
                </c:pt>
                <c:pt idx="37">
                  <c:v>2172.1390450000004</c:v>
                </c:pt>
                <c:pt idx="38">
                  <c:v>2229.0088990000004</c:v>
                </c:pt>
                <c:pt idx="39">
                  <c:v>2229.6861680000002</c:v>
                </c:pt>
                <c:pt idx="40">
                  <c:v>2263.2004900000002</c:v>
                </c:pt>
                <c:pt idx="41">
                  <c:v>2316.8930410000003</c:v>
                </c:pt>
                <c:pt idx="42">
                  <c:v>2412.7881880000004</c:v>
                </c:pt>
                <c:pt idx="43">
                  <c:v>2466.3335390000007</c:v>
                </c:pt>
                <c:pt idx="44">
                  <c:v>2532.2005010000007</c:v>
                </c:pt>
                <c:pt idx="45">
                  <c:v>2581.8245010000005</c:v>
                </c:pt>
                <c:pt idx="46">
                  <c:v>2674.0245010000003</c:v>
                </c:pt>
                <c:pt idx="47">
                  <c:v>2767.0959860000003</c:v>
                </c:pt>
                <c:pt idx="48">
                  <c:v>2858.7137860000003</c:v>
                </c:pt>
                <c:pt idx="49">
                  <c:v>2984.3000860000002</c:v>
                </c:pt>
                <c:pt idx="50">
                  <c:v>3003.694086</c:v>
                </c:pt>
                <c:pt idx="51">
                  <c:v>3003.694086</c:v>
                </c:pt>
              </c:numCache>
            </c:numRef>
          </c:val>
          <c:smooth val="0"/>
          <c:extLst>
            <c:ext xmlns:c16="http://schemas.microsoft.com/office/drawing/2014/chart" uri="{C3380CC4-5D6E-409C-BE32-E72D297353CC}">
              <c16:uniqueId val="{00000002-BCA4-47C0-8065-FDE9C9CAA1CD}"/>
            </c:ext>
          </c:extLst>
        </c:ser>
        <c:ser>
          <c:idx val="3"/>
          <c:order val="3"/>
          <c:tx>
            <c:strRef>
              <c:f>buyback!$F$860</c:f>
              <c:strCache>
                <c:ptCount val="1"/>
                <c:pt idx="0">
                  <c:v>FY20</c:v>
                </c:pt>
              </c:strCache>
            </c:strRef>
          </c:tx>
          <c:spPr>
            <a:ln w="19050" cap="rnd">
              <a:solidFill>
                <a:schemeClr val="accent4"/>
              </a:solidFill>
              <a:round/>
            </a:ln>
            <a:effectLst/>
          </c:spPr>
          <c:marker>
            <c:symbol val="none"/>
          </c:marker>
          <c:cat>
            <c:numRef>
              <c:f>buyback!$D$964:$D$1016</c:f>
              <c:numCache>
                <c:formatCode>[$-409]d\-mmm\-yy;@</c:formatCode>
                <c:ptCount val="53"/>
                <c:pt idx="0">
                  <c:v>44652</c:v>
                </c:pt>
                <c:pt idx="1">
                  <c:v>44659</c:v>
                </c:pt>
                <c:pt idx="2">
                  <c:v>44666</c:v>
                </c:pt>
                <c:pt idx="3">
                  <c:v>44673</c:v>
                </c:pt>
                <c:pt idx="4">
                  <c:v>44680</c:v>
                </c:pt>
                <c:pt idx="5">
                  <c:v>44687</c:v>
                </c:pt>
                <c:pt idx="6">
                  <c:v>44694</c:v>
                </c:pt>
                <c:pt idx="7">
                  <c:v>44701</c:v>
                </c:pt>
                <c:pt idx="8">
                  <c:v>44708</c:v>
                </c:pt>
                <c:pt idx="9">
                  <c:v>44715</c:v>
                </c:pt>
                <c:pt idx="10">
                  <c:v>44722</c:v>
                </c:pt>
                <c:pt idx="11">
                  <c:v>44729</c:v>
                </c:pt>
                <c:pt idx="12">
                  <c:v>44736</c:v>
                </c:pt>
                <c:pt idx="13">
                  <c:v>44743</c:v>
                </c:pt>
                <c:pt idx="14">
                  <c:v>44750</c:v>
                </c:pt>
                <c:pt idx="15">
                  <c:v>44757</c:v>
                </c:pt>
                <c:pt idx="16">
                  <c:v>44764</c:v>
                </c:pt>
                <c:pt idx="17">
                  <c:v>44771</c:v>
                </c:pt>
                <c:pt idx="18">
                  <c:v>44778</c:v>
                </c:pt>
                <c:pt idx="19">
                  <c:v>44785</c:v>
                </c:pt>
                <c:pt idx="20">
                  <c:v>44792</c:v>
                </c:pt>
                <c:pt idx="21">
                  <c:v>44799</c:v>
                </c:pt>
                <c:pt idx="22">
                  <c:v>44806</c:v>
                </c:pt>
                <c:pt idx="23">
                  <c:v>44813</c:v>
                </c:pt>
                <c:pt idx="24">
                  <c:v>44820</c:v>
                </c:pt>
                <c:pt idx="25">
                  <c:v>44827</c:v>
                </c:pt>
                <c:pt idx="26">
                  <c:v>44834</c:v>
                </c:pt>
                <c:pt idx="27">
                  <c:v>44841</c:v>
                </c:pt>
                <c:pt idx="28">
                  <c:v>44848</c:v>
                </c:pt>
                <c:pt idx="29">
                  <c:v>44855</c:v>
                </c:pt>
                <c:pt idx="30">
                  <c:v>44862</c:v>
                </c:pt>
                <c:pt idx="31">
                  <c:v>44869</c:v>
                </c:pt>
                <c:pt idx="32">
                  <c:v>44876</c:v>
                </c:pt>
                <c:pt idx="33">
                  <c:v>44883</c:v>
                </c:pt>
                <c:pt idx="34">
                  <c:v>44890</c:v>
                </c:pt>
                <c:pt idx="35">
                  <c:v>44897</c:v>
                </c:pt>
                <c:pt idx="36">
                  <c:v>44904</c:v>
                </c:pt>
                <c:pt idx="37">
                  <c:v>44911</c:v>
                </c:pt>
                <c:pt idx="38">
                  <c:v>44918</c:v>
                </c:pt>
                <c:pt idx="39">
                  <c:v>44925</c:v>
                </c:pt>
                <c:pt idx="40">
                  <c:v>44932</c:v>
                </c:pt>
                <c:pt idx="41">
                  <c:v>44939</c:v>
                </c:pt>
                <c:pt idx="42">
                  <c:v>44946</c:v>
                </c:pt>
                <c:pt idx="43">
                  <c:v>44953</c:v>
                </c:pt>
                <c:pt idx="44">
                  <c:v>44960</c:v>
                </c:pt>
                <c:pt idx="45">
                  <c:v>44967</c:v>
                </c:pt>
                <c:pt idx="46">
                  <c:v>44974</c:v>
                </c:pt>
                <c:pt idx="47">
                  <c:v>44981</c:v>
                </c:pt>
                <c:pt idx="48">
                  <c:v>44988</c:v>
                </c:pt>
                <c:pt idx="49">
                  <c:v>44995</c:v>
                </c:pt>
                <c:pt idx="50">
                  <c:v>45002</c:v>
                </c:pt>
                <c:pt idx="51">
                  <c:v>45009</c:v>
                </c:pt>
                <c:pt idx="52">
                  <c:v>45016</c:v>
                </c:pt>
              </c:numCache>
            </c:numRef>
          </c:cat>
          <c:val>
            <c:numRef>
              <c:f>buyback!$E$860:$E$911</c:f>
              <c:numCache>
                <c:formatCode>#,##0_);[Red]\(#,##0\)</c:formatCode>
                <c:ptCount val="52"/>
                <c:pt idx="0">
                  <c:v>7.55</c:v>
                </c:pt>
                <c:pt idx="1">
                  <c:v>52.312562</c:v>
                </c:pt>
                <c:pt idx="2">
                  <c:v>83.250562000000002</c:v>
                </c:pt>
                <c:pt idx="3">
                  <c:v>130.08456200000001</c:v>
                </c:pt>
                <c:pt idx="4">
                  <c:v>133.935562</c:v>
                </c:pt>
                <c:pt idx="5">
                  <c:v>144.315562</c:v>
                </c:pt>
                <c:pt idx="6">
                  <c:v>234.01536900000002</c:v>
                </c:pt>
                <c:pt idx="7">
                  <c:v>258.61536900000004</c:v>
                </c:pt>
                <c:pt idx="8">
                  <c:v>260.49274300000002</c:v>
                </c:pt>
                <c:pt idx="9">
                  <c:v>260.49274300000002</c:v>
                </c:pt>
                <c:pt idx="10">
                  <c:v>273.97574300000002</c:v>
                </c:pt>
                <c:pt idx="11">
                  <c:v>282.14674300000001</c:v>
                </c:pt>
                <c:pt idx="12">
                  <c:v>282.172843</c:v>
                </c:pt>
                <c:pt idx="13">
                  <c:v>288.40684299999998</c:v>
                </c:pt>
                <c:pt idx="14">
                  <c:v>294.36684299999996</c:v>
                </c:pt>
                <c:pt idx="15">
                  <c:v>295.95468799999998</c:v>
                </c:pt>
                <c:pt idx="16">
                  <c:v>296.50675699999999</c:v>
                </c:pt>
                <c:pt idx="17">
                  <c:v>317.25231400000001</c:v>
                </c:pt>
                <c:pt idx="18">
                  <c:v>317.32537200000002</c:v>
                </c:pt>
                <c:pt idx="19">
                  <c:v>317.32537200000002</c:v>
                </c:pt>
                <c:pt idx="20">
                  <c:v>321.97404800000004</c:v>
                </c:pt>
                <c:pt idx="21">
                  <c:v>326.15204800000004</c:v>
                </c:pt>
                <c:pt idx="22">
                  <c:v>327.25604800000002</c:v>
                </c:pt>
                <c:pt idx="23">
                  <c:v>327.25604800000002</c:v>
                </c:pt>
                <c:pt idx="24">
                  <c:v>329.66975400000001</c:v>
                </c:pt>
                <c:pt idx="25">
                  <c:v>346.02275400000002</c:v>
                </c:pt>
                <c:pt idx="26">
                  <c:v>348.24434600000001</c:v>
                </c:pt>
                <c:pt idx="27">
                  <c:v>384.94989600000002</c:v>
                </c:pt>
                <c:pt idx="28">
                  <c:v>392.98752000000002</c:v>
                </c:pt>
                <c:pt idx="29">
                  <c:v>397.08250600000002</c:v>
                </c:pt>
                <c:pt idx="30">
                  <c:v>424.93170600000002</c:v>
                </c:pt>
                <c:pt idx="31">
                  <c:v>442.32570600000003</c:v>
                </c:pt>
                <c:pt idx="32">
                  <c:v>442.57570600000003</c:v>
                </c:pt>
                <c:pt idx="33">
                  <c:v>442.57570600000003</c:v>
                </c:pt>
                <c:pt idx="34">
                  <c:v>444.641706</c:v>
                </c:pt>
                <c:pt idx="35">
                  <c:v>451.08970599999998</c:v>
                </c:pt>
                <c:pt idx="36">
                  <c:v>460.07370599999996</c:v>
                </c:pt>
                <c:pt idx="37">
                  <c:v>460.90370599999994</c:v>
                </c:pt>
                <c:pt idx="38">
                  <c:v>465.79602899999992</c:v>
                </c:pt>
                <c:pt idx="39">
                  <c:v>465.79602899999992</c:v>
                </c:pt>
                <c:pt idx="40">
                  <c:v>465.79602899999992</c:v>
                </c:pt>
                <c:pt idx="41">
                  <c:v>474.5490289999999</c:v>
                </c:pt>
                <c:pt idx="42">
                  <c:v>495.73602899999992</c:v>
                </c:pt>
                <c:pt idx="43">
                  <c:v>503.95602899999994</c:v>
                </c:pt>
                <c:pt idx="44">
                  <c:v>503.95602899999994</c:v>
                </c:pt>
                <c:pt idx="45">
                  <c:v>503.95602899999994</c:v>
                </c:pt>
                <c:pt idx="46">
                  <c:v>507.05272899999994</c:v>
                </c:pt>
                <c:pt idx="47">
                  <c:v>543.52272899999991</c:v>
                </c:pt>
                <c:pt idx="48">
                  <c:v>580.77272899999991</c:v>
                </c:pt>
                <c:pt idx="49">
                  <c:v>580.77272899999991</c:v>
                </c:pt>
                <c:pt idx="50">
                  <c:v>590.14072899999996</c:v>
                </c:pt>
                <c:pt idx="51">
                  <c:v>590.62072899999998</c:v>
                </c:pt>
              </c:numCache>
            </c:numRef>
          </c:val>
          <c:smooth val="0"/>
          <c:extLst>
            <c:ext xmlns:c16="http://schemas.microsoft.com/office/drawing/2014/chart" uri="{C3380CC4-5D6E-409C-BE32-E72D297353CC}">
              <c16:uniqueId val="{00000003-BCA4-47C0-8065-FDE9C9CAA1CD}"/>
            </c:ext>
          </c:extLst>
        </c:ser>
        <c:ser>
          <c:idx val="5"/>
          <c:order val="4"/>
          <c:tx>
            <c:strRef>
              <c:f>buyback!$F$1069</c:f>
              <c:strCache>
                <c:ptCount val="1"/>
                <c:pt idx="0">
                  <c:v>FY24</c:v>
                </c:pt>
              </c:strCache>
            </c:strRef>
          </c:tx>
          <c:spPr>
            <a:ln w="28575" cap="rnd">
              <a:solidFill>
                <a:schemeClr val="accent6"/>
              </a:solidFill>
              <a:round/>
            </a:ln>
            <a:effectLst/>
          </c:spPr>
          <c:marker>
            <c:symbol val="none"/>
          </c:marker>
          <c:val>
            <c:numRef>
              <c:f>buyback!$E$1069:$E$1120</c:f>
              <c:numCache>
                <c:formatCode>#,##0_);[Red]\(#,##0\)</c:formatCode>
                <c:ptCount val="52"/>
                <c:pt idx="0">
                  <c:v>73.361999999999995</c:v>
                </c:pt>
                <c:pt idx="1">
                  <c:v>103.12299999999999</c:v>
                </c:pt>
                <c:pt idx="2">
                  <c:v>169.86969999999999</c:v>
                </c:pt>
                <c:pt idx="3">
                  <c:v>226.04069999999999</c:v>
                </c:pt>
                <c:pt idx="4">
                  <c:v>300.26170000000002</c:v>
                </c:pt>
                <c:pt idx="5">
                  <c:v>437.15870000000001</c:v>
                </c:pt>
                <c:pt idx="6">
                  <c:v>698.83670000000006</c:v>
                </c:pt>
                <c:pt idx="7">
                  <c:v>938.72200000000009</c:v>
                </c:pt>
                <c:pt idx="8">
                  <c:v>1198.7251000000001</c:v>
                </c:pt>
                <c:pt idx="9">
                  <c:v>1490.8311000000001</c:v>
                </c:pt>
                <c:pt idx="10">
                  <c:v>1743.4981</c:v>
                </c:pt>
                <c:pt idx="11">
                  <c:v>1975.0980999999999</c:v>
                </c:pt>
                <c:pt idx="12">
                  <c:v>1975.0980999999999</c:v>
                </c:pt>
                <c:pt idx="13">
                  <c:v>2102.0760999999998</c:v>
                </c:pt>
                <c:pt idx="14">
                  <c:v>2282.6189999999997</c:v>
                </c:pt>
                <c:pt idx="15">
                  <c:v>2426.5468999999998</c:v>
                </c:pt>
                <c:pt idx="16">
                  <c:v>2649.8098</c:v>
                </c:pt>
                <c:pt idx="17">
                  <c:v>2796.1727999999998</c:v>
                </c:pt>
                <c:pt idx="18">
                  <c:v>3302.2057999999997</c:v>
                </c:pt>
                <c:pt idx="19">
                  <c:v>3539.8807999999999</c:v>
                </c:pt>
                <c:pt idx="20">
                  <c:v>3761.5477999999998</c:v>
                </c:pt>
                <c:pt idx="21">
                  <c:v>3952.1808999999998</c:v>
                </c:pt>
                <c:pt idx="22">
                  <c:v>4308.9303</c:v>
                </c:pt>
                <c:pt idx="23">
                  <c:v>4626.0442999999996</c:v>
                </c:pt>
                <c:pt idx="24">
                  <c:v>4814.4682999999995</c:v>
                </c:pt>
                <c:pt idx="25">
                  <c:v>4900.8122999999996</c:v>
                </c:pt>
                <c:pt idx="26">
                  <c:v>5088.3991999999998</c:v>
                </c:pt>
                <c:pt idx="27">
                  <c:v>5258.3486999999996</c:v>
                </c:pt>
                <c:pt idx="28">
                  <c:v>5392.8391999999994</c:v>
                </c:pt>
                <c:pt idx="29">
                  <c:v>5562.9937999999993</c:v>
                </c:pt>
                <c:pt idx="30">
                  <c:v>5746.0197999999991</c:v>
                </c:pt>
                <c:pt idx="31">
                  <c:v>5905.8610999999992</c:v>
                </c:pt>
                <c:pt idx="32">
                  <c:v>6233.3920999999991</c:v>
                </c:pt>
                <c:pt idx="33">
                  <c:v>6468.3579999999993</c:v>
                </c:pt>
                <c:pt idx="34">
                  <c:v>6764.8409999999994</c:v>
                </c:pt>
                <c:pt idx="35">
                  <c:v>6979.5479999999998</c:v>
                </c:pt>
                <c:pt idx="36">
                  <c:v>7177.0639999999994</c:v>
                </c:pt>
                <c:pt idx="37">
                  <c:v>7363.6805999999997</c:v>
                </c:pt>
                <c:pt idx="38">
                  <c:v>7363.6805999999997</c:v>
                </c:pt>
                <c:pt idx="39">
                  <c:v>7363.6805999999997</c:v>
                </c:pt>
                <c:pt idx="40">
                  <c:v>7691.4925999999996</c:v>
                </c:pt>
                <c:pt idx="41">
                  <c:v>7902.2342999999992</c:v>
                </c:pt>
                <c:pt idx="42">
                  <c:v>8100.6202999999996</c:v>
                </c:pt>
                <c:pt idx="43">
                  <c:v>8257.8078999999998</c:v>
                </c:pt>
                <c:pt idx="44">
                  <c:v>8561.6055510000006</c:v>
                </c:pt>
                <c:pt idx="45">
                  <c:v>8730.4942510000001</c:v>
                </c:pt>
                <c:pt idx="46">
                  <c:v>8941.9822509999995</c:v>
                </c:pt>
                <c:pt idx="47">
                  <c:v>9101.8938509999989</c:v>
                </c:pt>
                <c:pt idx="48">
                  <c:v>9306.6118509999997</c:v>
                </c:pt>
                <c:pt idx="49">
                  <c:v>9403.9768509999994</c:v>
                </c:pt>
                <c:pt idx="50">
                  <c:v>9448.929850999999</c:v>
                </c:pt>
                <c:pt idx="51">
                  <c:v>9450.5561509999989</c:v>
                </c:pt>
              </c:numCache>
            </c:numRef>
          </c:val>
          <c:smooth val="0"/>
          <c:extLst>
            <c:ext xmlns:c16="http://schemas.microsoft.com/office/drawing/2014/chart" uri="{C3380CC4-5D6E-409C-BE32-E72D297353CC}">
              <c16:uniqueId val="{00000004-BCA4-47C0-8065-FDE9C9CAA1CD}"/>
            </c:ext>
          </c:extLst>
        </c:ser>
        <c:ser>
          <c:idx val="4"/>
          <c:order val="5"/>
          <c:tx>
            <c:strRef>
              <c:f>buyback!$F$1121</c:f>
              <c:strCache>
                <c:ptCount val="1"/>
                <c:pt idx="0">
                  <c:v>FY25</c:v>
                </c:pt>
              </c:strCache>
            </c:strRef>
          </c:tx>
          <c:spPr>
            <a:ln w="28575" cap="rnd">
              <a:solidFill>
                <a:schemeClr val="accent5"/>
              </a:solidFill>
              <a:round/>
            </a:ln>
            <a:effectLst/>
          </c:spPr>
          <c:marker>
            <c:symbol val="none"/>
          </c:marker>
          <c:val>
            <c:numRef>
              <c:f>buyback!$E$1121:$E$1162</c:f>
              <c:numCache>
                <c:formatCode>#,##0_);[Red]\(#,##0\)</c:formatCode>
                <c:ptCount val="42"/>
                <c:pt idx="0">
                  <c:v>324.04159999999996</c:v>
                </c:pt>
                <c:pt idx="1">
                  <c:v>691.2491</c:v>
                </c:pt>
                <c:pt idx="2">
                  <c:v>876.19910000000004</c:v>
                </c:pt>
                <c:pt idx="3">
                  <c:v>955.50210000000004</c:v>
                </c:pt>
                <c:pt idx="4">
                  <c:v>1106.2831000000001</c:v>
                </c:pt>
                <c:pt idx="5">
                  <c:v>1262.8601000000001</c:v>
                </c:pt>
                <c:pt idx="6">
                  <c:v>1520.7686000000001</c:v>
                </c:pt>
                <c:pt idx="7">
                  <c:v>2236.7118</c:v>
                </c:pt>
                <c:pt idx="8">
                  <c:v>2483.6388000000002</c:v>
                </c:pt>
                <c:pt idx="9">
                  <c:v>2828.2828</c:v>
                </c:pt>
                <c:pt idx="10">
                  <c:v>3153.7664999999997</c:v>
                </c:pt>
                <c:pt idx="11">
                  <c:v>3454.2545999999998</c:v>
                </c:pt>
                <c:pt idx="12">
                  <c:v>3503.1666999999998</c:v>
                </c:pt>
                <c:pt idx="13">
                  <c:v>3748.6456999999996</c:v>
                </c:pt>
                <c:pt idx="14">
                  <c:v>3999.7365999999997</c:v>
                </c:pt>
                <c:pt idx="15">
                  <c:v>4216.0086000000001</c:v>
                </c:pt>
                <c:pt idx="16">
                  <c:v>4280.6126000000004</c:v>
                </c:pt>
                <c:pt idx="17">
                  <c:v>4567.2146000000002</c:v>
                </c:pt>
                <c:pt idx="18">
                  <c:v>4811.2665999999999</c:v>
                </c:pt>
                <c:pt idx="19">
                  <c:v>4992.3876</c:v>
                </c:pt>
                <c:pt idx="20">
                  <c:v>5229.8296</c:v>
                </c:pt>
                <c:pt idx="21">
                  <c:v>5646.2084999999997</c:v>
                </c:pt>
                <c:pt idx="22">
                  <c:v>5971.5074999999997</c:v>
                </c:pt>
                <c:pt idx="23">
                  <c:v>6197.9069999999992</c:v>
                </c:pt>
                <c:pt idx="24">
                  <c:v>6380.3869999999988</c:v>
                </c:pt>
                <c:pt idx="25">
                  <c:v>6380.3869999999988</c:v>
                </c:pt>
                <c:pt idx="26">
                  <c:v>6508.6990999999989</c:v>
                </c:pt>
                <c:pt idx="27">
                  <c:v>6660.2829999999985</c:v>
                </c:pt>
                <c:pt idx="28">
                  <c:v>6799.7238999999981</c:v>
                </c:pt>
                <c:pt idx="29">
                  <c:v>6863.6988999999985</c:v>
                </c:pt>
                <c:pt idx="30">
                  <c:v>7031.0658999999987</c:v>
                </c:pt>
                <c:pt idx="31">
                  <c:v>7290.5608999999986</c:v>
                </c:pt>
                <c:pt idx="32">
                  <c:v>7296.6998999999987</c:v>
                </c:pt>
                <c:pt idx="33">
                  <c:v>7532.8139999999985</c:v>
                </c:pt>
                <c:pt idx="34">
                  <c:v>7700.1999999999989</c:v>
                </c:pt>
                <c:pt idx="35">
                  <c:v>7904.0009999999993</c:v>
                </c:pt>
                <c:pt idx="36">
                  <c:v>8135.3296999999993</c:v>
                </c:pt>
                <c:pt idx="37">
                  <c:v>8356.2741999999998</c:v>
                </c:pt>
                <c:pt idx="38">
                  <c:v>8372.8711999999996</c:v>
                </c:pt>
                <c:pt idx="39">
                  <c:v>8386.7502000000004</c:v>
                </c:pt>
                <c:pt idx="40">
                  <c:v>8555.8937999999998</c:v>
                </c:pt>
              </c:numCache>
            </c:numRef>
          </c:val>
          <c:smooth val="0"/>
          <c:extLst>
            <c:ext xmlns:c16="http://schemas.microsoft.com/office/drawing/2014/chart" uri="{C3380CC4-5D6E-409C-BE32-E72D297353CC}">
              <c16:uniqueId val="{00000005-BCA4-47C0-8065-FDE9C9CAA1CD}"/>
            </c:ext>
          </c:extLst>
        </c:ser>
        <c:dLbls>
          <c:showLegendKey val="0"/>
          <c:showVal val="0"/>
          <c:showCatName val="0"/>
          <c:showSerName val="0"/>
          <c:showPercent val="0"/>
          <c:showBubbleSize val="0"/>
        </c:dLbls>
        <c:smooth val="0"/>
        <c:axId val="854988511"/>
        <c:axId val="1439772975"/>
      </c:lineChart>
      <c:dateAx>
        <c:axId val="854988511"/>
        <c:scaling>
          <c:orientation val="minMax"/>
        </c:scaling>
        <c:delete val="0"/>
        <c:axPos val="b"/>
        <c:numFmt formatCode="mm;@" sourceLinked="0"/>
        <c:majorTickMark val="none"/>
        <c:minorTickMark val="none"/>
        <c:tickLblPos val="nextTo"/>
        <c:spPr>
          <a:noFill/>
          <a:ln w="6350" cap="flat" cmpd="sng" algn="ctr">
            <a:solidFill>
              <a:srgbClr val="ECEBE4"/>
            </a:solidFill>
            <a:prstDash val="solid"/>
            <a:round/>
            <a:headEnd type="none" w="med" len="med"/>
            <a:tailEnd type="none" w="med" len="me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39772975"/>
        <c:crosses val="autoZero"/>
        <c:auto val="1"/>
        <c:lblOffset val="100"/>
        <c:baseTimeUnit val="days"/>
        <c:majorUnit val="1"/>
        <c:majorTimeUnit val="months"/>
      </c:dateAx>
      <c:valAx>
        <c:axId val="1439772975"/>
        <c:scaling>
          <c:orientation val="minMax"/>
        </c:scaling>
        <c:delete val="0"/>
        <c:axPos val="l"/>
        <c:majorGridlines>
          <c:spPr>
            <a:ln w="6350" cap="flat" cmpd="sng" algn="ctr">
              <a:solidFill>
                <a:srgbClr val="ECEBE4"/>
              </a:solidFill>
              <a:prstDash val="solid"/>
              <a:round/>
              <a:headEnd type="none" w="med" len="med"/>
              <a:tailEnd type="none" w="med" len="me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54988511"/>
        <c:crosses val="autoZero"/>
        <c:crossBetween val="between"/>
        <c:dispUnits>
          <c:builtInUnit val="thousands"/>
        </c:dispUnits>
      </c:valAx>
      <c:spPr>
        <a:noFill/>
        <a:ln>
          <a:noFill/>
        </a:ln>
        <a:effectLst/>
      </c:spPr>
    </c:plotArea>
    <c:legend>
      <c:legendPos val="b"/>
      <c:layout>
        <c:manualLayout>
          <c:xMode val="edge"/>
          <c:yMode val="edge"/>
          <c:x val="9.7323002983793247E-2"/>
          <c:y val="0.85792904530505143"/>
          <c:w val="0.79667866994620307"/>
          <c:h val="0.1411975015968688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200">
          <a:solidFill>
            <a:schemeClr val="tx1">
              <a:lumMod val="65000"/>
              <a:lumOff val="35000"/>
            </a:schemeClr>
          </a:solidFill>
        </a:defRPr>
      </a:pPr>
      <a:endParaRPr lang="en-US"/>
    </a:p>
  </c:txPr>
  <c:externalData r:id="rId3">
    <c:autoUpdate val="0"/>
  </c:externalData>
  <c:userShapes r:id="rId4"/>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202514275671003E-2"/>
          <c:y val="4.044929017815696E-2"/>
          <c:w val="0.91442964403541349"/>
          <c:h val="0.71485360902167405"/>
        </c:manualLayout>
      </c:layout>
      <c:lineChart>
        <c:grouping val="standard"/>
        <c:varyColors val="0"/>
        <c:ser>
          <c:idx val="0"/>
          <c:order val="0"/>
          <c:tx>
            <c:strRef>
              <c:f>Average!$H$38</c:f>
              <c:strCache>
                <c:ptCount val="1"/>
                <c:pt idx="0">
                  <c:v>MSCI AC World</c:v>
                </c:pt>
              </c:strCache>
            </c:strRef>
          </c:tx>
          <c:spPr>
            <a:ln w="19050" cap="rnd" cmpd="sng" algn="ctr">
              <a:solidFill>
                <a:srgbClr val="8E8D83"/>
              </a:solidFill>
              <a:prstDash val="solid"/>
              <a:round/>
              <a:headEnd type="none" w="med" len="med"/>
              <a:tailEnd type="none" w="med" len="med"/>
            </a:ln>
            <a:effectLst/>
          </c:spPr>
          <c:marker>
            <c:symbol val="none"/>
          </c:marker>
          <c:cat>
            <c:numRef>
              <c:f>Average!$F$79:$F$143</c:f>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extLst/>
            </c:numRef>
          </c:cat>
          <c:val>
            <c:numRef>
              <c:f>Average!$H$79:$H$143</c:f>
              <c:numCache>
                <c:formatCode>0.0</c:formatCode>
                <c:ptCount val="65"/>
                <c:pt idx="0">
                  <c:v>100.07022222222223</c:v>
                </c:pt>
                <c:pt idx="1">
                  <c:v>100.17188888888887</c:v>
                </c:pt>
                <c:pt idx="2">
                  <c:v>100.97155555555555</c:v>
                </c:pt>
                <c:pt idx="3">
                  <c:v>101.839</c:v>
                </c:pt>
                <c:pt idx="4">
                  <c:v>101.05122222222224</c:v>
                </c:pt>
                <c:pt idx="5">
                  <c:v>100.58733333333333</c:v>
                </c:pt>
                <c:pt idx="6">
                  <c:v>100.49966666666667</c:v>
                </c:pt>
                <c:pt idx="7">
                  <c:v>100.28999999999999</c:v>
                </c:pt>
                <c:pt idx="8">
                  <c:v>99.900444444444432</c:v>
                </c:pt>
                <c:pt idx="9">
                  <c:v>100.4851111111111</c:v>
                </c:pt>
                <c:pt idx="10">
                  <c:v>100.20144444444446</c:v>
                </c:pt>
                <c:pt idx="11">
                  <c:v>99.454999999999984</c:v>
                </c:pt>
                <c:pt idx="12">
                  <c:v>100</c:v>
                </c:pt>
                <c:pt idx="13">
                  <c:v>98.483333333333334</c:v>
                </c:pt>
                <c:pt idx="14">
                  <c:v>97.195888888888888</c:v>
                </c:pt>
                <c:pt idx="15">
                  <c:v>98.583444444444439</c:v>
                </c:pt>
                <c:pt idx="16">
                  <c:v>98.435555555555553</c:v>
                </c:pt>
                <c:pt idx="17">
                  <c:v>99.064333333333323</c:v>
                </c:pt>
                <c:pt idx="18">
                  <c:v>98.960333333333324</c:v>
                </c:pt>
                <c:pt idx="19">
                  <c:v>99.26166666666667</c:v>
                </c:pt>
                <c:pt idx="20">
                  <c:v>99.86877777777778</c:v>
                </c:pt>
                <c:pt idx="21">
                  <c:v>99.202333333333328</c:v>
                </c:pt>
                <c:pt idx="22">
                  <c:v>98.277111111111111</c:v>
                </c:pt>
                <c:pt idx="23">
                  <c:v>98.337777777777802</c:v>
                </c:pt>
                <c:pt idx="24">
                  <c:v>99.914111111111097</c:v>
                </c:pt>
                <c:pt idx="25">
                  <c:v>99.538888888888891</c:v>
                </c:pt>
                <c:pt idx="26">
                  <c:v>101.48477777777777</c:v>
                </c:pt>
                <c:pt idx="27">
                  <c:v>101.26933333333332</c:v>
                </c:pt>
                <c:pt idx="28">
                  <c:v>100.94733333333335</c:v>
                </c:pt>
                <c:pt idx="29">
                  <c:v>101.16422222222221</c:v>
                </c:pt>
                <c:pt idx="30">
                  <c:v>100.84677777777779</c:v>
                </c:pt>
                <c:pt idx="31">
                  <c:v>100.80155555555555</c:v>
                </c:pt>
                <c:pt idx="32">
                  <c:v>101.645</c:v>
                </c:pt>
                <c:pt idx="33">
                  <c:v>101.88144444444444</c:v>
                </c:pt>
                <c:pt idx="34">
                  <c:v>102.15411111111111</c:v>
                </c:pt>
                <c:pt idx="35">
                  <c:v>102.34399999999999</c:v>
                </c:pt>
                <c:pt idx="36">
                  <c:v>102.34122222222223</c:v>
                </c:pt>
                <c:pt idx="37">
                  <c:v>102.04233333333335</c:v>
                </c:pt>
                <c:pt idx="38">
                  <c:v>102.79466666666669</c:v>
                </c:pt>
                <c:pt idx="39">
                  <c:v>102.65600000000001</c:v>
                </c:pt>
                <c:pt idx="40">
                  <c:v>103.328</c:v>
                </c:pt>
                <c:pt idx="41">
                  <c:v>102.54066666666665</c:v>
                </c:pt>
                <c:pt idx="42">
                  <c:v>103.51766666666667</c:v>
                </c:pt>
                <c:pt idx="43">
                  <c:v>104.37533333333334</c:v>
                </c:pt>
                <c:pt idx="44">
                  <c:v>103.45744444444443</c:v>
                </c:pt>
                <c:pt idx="45">
                  <c:v>101.313</c:v>
                </c:pt>
                <c:pt idx="46">
                  <c:v>101.61033333333334</c:v>
                </c:pt>
                <c:pt idx="47">
                  <c:v>101.5211111111111</c:v>
                </c:pt>
                <c:pt idx="48">
                  <c:v>102.09566666666666</c:v>
                </c:pt>
                <c:pt idx="49">
                  <c:v>102.251</c:v>
                </c:pt>
                <c:pt idx="50">
                  <c:v>102.15255555555557</c:v>
                </c:pt>
                <c:pt idx="51">
                  <c:v>103.16466666666666</c:v>
                </c:pt>
                <c:pt idx="52">
                  <c:v>103.14411111111112</c:v>
                </c:pt>
                <c:pt idx="53">
                  <c:v>102.8478888888889</c:v>
                </c:pt>
                <c:pt idx="54">
                  <c:v>103.27800000000001</c:v>
                </c:pt>
                <c:pt idx="55">
                  <c:v>102.30011111111111</c:v>
                </c:pt>
                <c:pt idx="56">
                  <c:v>103.97066666666667</c:v>
                </c:pt>
                <c:pt idx="57">
                  <c:v>103.87777777777777</c:v>
                </c:pt>
                <c:pt idx="58">
                  <c:v>104.47788888888888</c:v>
                </c:pt>
                <c:pt idx="59">
                  <c:v>104.43244444444446</c:v>
                </c:pt>
                <c:pt idx="60">
                  <c:v>104.40111111111111</c:v>
                </c:pt>
                <c:pt idx="61">
                  <c:v>105.59533333333334</c:v>
                </c:pt>
                <c:pt idx="62">
                  <c:v>105.69622222222222</c:v>
                </c:pt>
                <c:pt idx="63">
                  <c:v>105.33200000000001</c:v>
                </c:pt>
                <c:pt idx="64">
                  <c:v>105.12366666666667</c:v>
                </c:pt>
              </c:numCache>
              <c:extLst/>
            </c:numRef>
          </c:val>
          <c:smooth val="0"/>
          <c:extLst>
            <c:ext xmlns:c16="http://schemas.microsoft.com/office/drawing/2014/chart" uri="{C3380CC4-5D6E-409C-BE32-E72D297353CC}">
              <c16:uniqueId val="{00000000-A74E-43EC-ACDF-1CA2D59ACD5D}"/>
            </c:ext>
          </c:extLst>
        </c:ser>
        <c:ser>
          <c:idx val="2"/>
          <c:order val="2"/>
          <c:tx>
            <c:strRef>
              <c:f>Average!$J$38</c:f>
              <c:strCache>
                <c:ptCount val="1"/>
                <c:pt idx="0">
                  <c:v>MSCI EM</c:v>
                </c:pt>
              </c:strCache>
            </c:strRef>
          </c:tx>
          <c:spPr>
            <a:ln w="19050" cap="rnd" cmpd="sng" algn="ctr">
              <a:solidFill>
                <a:srgbClr val="5A5D5C"/>
              </a:solidFill>
              <a:prstDash val="solid"/>
              <a:round/>
              <a:headEnd type="none" w="med" len="med"/>
              <a:tailEnd type="none" w="med" len="med"/>
            </a:ln>
            <a:effectLst/>
          </c:spPr>
          <c:marker>
            <c:symbol val="none"/>
          </c:marker>
          <c:cat>
            <c:numRef>
              <c:f>Average!$F$79:$F$143</c:f>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extLst/>
            </c:numRef>
          </c:cat>
          <c:val>
            <c:numRef>
              <c:f>Average!$J$79:$J$143</c:f>
              <c:numCache>
                <c:formatCode>0.0</c:formatCode>
                <c:ptCount val="65"/>
                <c:pt idx="0">
                  <c:v>98.758111111111091</c:v>
                </c:pt>
                <c:pt idx="1">
                  <c:v>99.777777777777771</c:v>
                </c:pt>
                <c:pt idx="2">
                  <c:v>101.25388888888888</c:v>
                </c:pt>
                <c:pt idx="3">
                  <c:v>101.422</c:v>
                </c:pt>
                <c:pt idx="4">
                  <c:v>102.04722222222222</c:v>
                </c:pt>
                <c:pt idx="5">
                  <c:v>101.47144444444444</c:v>
                </c:pt>
                <c:pt idx="6">
                  <c:v>100.01600000000001</c:v>
                </c:pt>
                <c:pt idx="7">
                  <c:v>99.240888888888904</c:v>
                </c:pt>
                <c:pt idx="8">
                  <c:v>97.989666666666665</c:v>
                </c:pt>
                <c:pt idx="9">
                  <c:v>98.901111111111106</c:v>
                </c:pt>
                <c:pt idx="10">
                  <c:v>99.157777777777767</c:v>
                </c:pt>
                <c:pt idx="11">
                  <c:v>98.555333333333323</c:v>
                </c:pt>
                <c:pt idx="12">
                  <c:v>100</c:v>
                </c:pt>
                <c:pt idx="13">
                  <c:v>99.642222222222202</c:v>
                </c:pt>
                <c:pt idx="14">
                  <c:v>98.671666666666681</c:v>
                </c:pt>
                <c:pt idx="15">
                  <c:v>99.649888888888896</c:v>
                </c:pt>
                <c:pt idx="16">
                  <c:v>99.090333333333319</c:v>
                </c:pt>
                <c:pt idx="17">
                  <c:v>100.55755555555555</c:v>
                </c:pt>
                <c:pt idx="18">
                  <c:v>100.11188888888888</c:v>
                </c:pt>
                <c:pt idx="19">
                  <c:v>100.55133333333333</c:v>
                </c:pt>
                <c:pt idx="20">
                  <c:v>99.509555555555551</c:v>
                </c:pt>
                <c:pt idx="21">
                  <c:v>98.516666666666666</c:v>
                </c:pt>
                <c:pt idx="22">
                  <c:v>97.274222222222235</c:v>
                </c:pt>
                <c:pt idx="23">
                  <c:v>97.729555555555564</c:v>
                </c:pt>
                <c:pt idx="24">
                  <c:v>98.257999999999996</c:v>
                </c:pt>
                <c:pt idx="25">
                  <c:v>96.768666666666661</c:v>
                </c:pt>
                <c:pt idx="26">
                  <c:v>99.094333333333324</c:v>
                </c:pt>
                <c:pt idx="27">
                  <c:v>99.146888888888896</c:v>
                </c:pt>
                <c:pt idx="28">
                  <c:v>98.421333333333337</c:v>
                </c:pt>
                <c:pt idx="29">
                  <c:v>98.417666666666662</c:v>
                </c:pt>
                <c:pt idx="30">
                  <c:v>98.343999999999994</c:v>
                </c:pt>
                <c:pt idx="31">
                  <c:v>97.814555555555572</c:v>
                </c:pt>
                <c:pt idx="32">
                  <c:v>100.32277777777777</c:v>
                </c:pt>
                <c:pt idx="33">
                  <c:v>100.04544444444444</c:v>
                </c:pt>
                <c:pt idx="34">
                  <c:v>100.96111111111112</c:v>
                </c:pt>
                <c:pt idx="35">
                  <c:v>101.08188888888888</c:v>
                </c:pt>
                <c:pt idx="36">
                  <c:v>101.87333333333332</c:v>
                </c:pt>
                <c:pt idx="37">
                  <c:v>101.49955555555556</c:v>
                </c:pt>
                <c:pt idx="38">
                  <c:v>101.21322222222223</c:v>
                </c:pt>
                <c:pt idx="39">
                  <c:v>101.38566666666667</c:v>
                </c:pt>
                <c:pt idx="40">
                  <c:v>102.80166666666668</c:v>
                </c:pt>
                <c:pt idx="41">
                  <c:v>103.67177777777778</c:v>
                </c:pt>
                <c:pt idx="42">
                  <c:v>104.50011111111114</c:v>
                </c:pt>
                <c:pt idx="43">
                  <c:v>107.31333333333333</c:v>
                </c:pt>
                <c:pt idx="44">
                  <c:v>107.71611111111112</c:v>
                </c:pt>
                <c:pt idx="45">
                  <c:v>106.0311111111111</c:v>
                </c:pt>
                <c:pt idx="46">
                  <c:v>105.76411111111112</c:v>
                </c:pt>
                <c:pt idx="47">
                  <c:v>106.00466666666667</c:v>
                </c:pt>
                <c:pt idx="48">
                  <c:v>107.22433333333332</c:v>
                </c:pt>
                <c:pt idx="49">
                  <c:v>107.613</c:v>
                </c:pt>
                <c:pt idx="50">
                  <c:v>107.90488888888889</c:v>
                </c:pt>
                <c:pt idx="51">
                  <c:v>108.18899999999999</c:v>
                </c:pt>
                <c:pt idx="52">
                  <c:v>109.04022222222221</c:v>
                </c:pt>
                <c:pt idx="53">
                  <c:v>108.88322222222222</c:v>
                </c:pt>
                <c:pt idx="54">
                  <c:v>107.31100000000001</c:v>
                </c:pt>
                <c:pt idx="55">
                  <c:v>106.19755555555555</c:v>
                </c:pt>
                <c:pt idx="56">
                  <c:v>108.17477777777779</c:v>
                </c:pt>
                <c:pt idx="57">
                  <c:v>109.34966666666666</c:v>
                </c:pt>
                <c:pt idx="58">
                  <c:v>110.21733333333334</c:v>
                </c:pt>
                <c:pt idx="59">
                  <c:v>111.01444444444444</c:v>
                </c:pt>
                <c:pt idx="60">
                  <c:v>111.249</c:v>
                </c:pt>
                <c:pt idx="61">
                  <c:v>112.36877777777778</c:v>
                </c:pt>
                <c:pt idx="62">
                  <c:v>112.82844444444444</c:v>
                </c:pt>
                <c:pt idx="63">
                  <c:v>112.17955555555557</c:v>
                </c:pt>
                <c:pt idx="64">
                  <c:v>111.71166666666666</c:v>
                </c:pt>
              </c:numCache>
              <c:extLst/>
            </c:numRef>
          </c:val>
          <c:smooth val="0"/>
          <c:extLst>
            <c:ext xmlns:c16="http://schemas.microsoft.com/office/drawing/2014/chart" uri="{C3380CC4-5D6E-409C-BE32-E72D297353CC}">
              <c16:uniqueId val="{00000001-A74E-43EC-ACDF-1CA2D59ACD5D}"/>
            </c:ext>
          </c:extLst>
        </c:ser>
        <c:ser>
          <c:idx val="3"/>
          <c:order val="3"/>
          <c:tx>
            <c:strRef>
              <c:f>Average!$K$38</c:f>
              <c:strCache>
                <c:ptCount val="1"/>
                <c:pt idx="0">
                  <c:v>S&amp;P 500</c:v>
                </c:pt>
              </c:strCache>
              <c:extLst xmlns:c15="http://schemas.microsoft.com/office/drawing/2012/chart"/>
            </c:strRef>
          </c:tx>
          <c:spPr>
            <a:ln w="12700" cap="rnd" cmpd="sng" algn="ctr">
              <a:solidFill>
                <a:srgbClr val="BD000C"/>
              </a:solidFill>
              <a:prstDash val="solid"/>
              <a:round/>
              <a:headEnd type="none" w="med" len="med"/>
              <a:tailEnd type="none" w="med" len="med"/>
            </a:ln>
            <a:effectLst/>
          </c:spPr>
          <c:marker>
            <c:symbol val="none"/>
          </c:marker>
          <c:cat>
            <c:numRef>
              <c:f>Average!$F$79:$F$143</c:f>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extLst/>
            </c:numRef>
          </c:cat>
          <c:val>
            <c:numRef>
              <c:f>Average!$K$79:$K$143</c:f>
              <c:numCache>
                <c:formatCode>0.0</c:formatCode>
                <c:ptCount val="65"/>
                <c:pt idx="0">
                  <c:v>101.86133333333332</c:v>
                </c:pt>
                <c:pt idx="1">
                  <c:v>102.21066666666667</c:v>
                </c:pt>
                <c:pt idx="2">
                  <c:v>102.81133333333332</c:v>
                </c:pt>
                <c:pt idx="3">
                  <c:v>103.47133333333333</c:v>
                </c:pt>
                <c:pt idx="4">
                  <c:v>103.44999999999999</c:v>
                </c:pt>
                <c:pt idx="5">
                  <c:v>103.73133333333334</c:v>
                </c:pt>
                <c:pt idx="6">
                  <c:v>103.69800000000001</c:v>
                </c:pt>
                <c:pt idx="7">
                  <c:v>103.9413333333333</c:v>
                </c:pt>
                <c:pt idx="8">
                  <c:v>102.79666666666665</c:v>
                </c:pt>
                <c:pt idx="9">
                  <c:v>103.34399999999999</c:v>
                </c:pt>
                <c:pt idx="10">
                  <c:v>103.25933333333334</c:v>
                </c:pt>
                <c:pt idx="11">
                  <c:v>101.85866666666668</c:v>
                </c:pt>
                <c:pt idx="12">
                  <c:v>100</c:v>
                </c:pt>
                <c:pt idx="13">
                  <c:v>98.557999999999993</c:v>
                </c:pt>
                <c:pt idx="14">
                  <c:v>98.917999999999992</c:v>
                </c:pt>
                <c:pt idx="15">
                  <c:v>99.688666666666663</c:v>
                </c:pt>
                <c:pt idx="16">
                  <c:v>99.569333333333347</c:v>
                </c:pt>
                <c:pt idx="17">
                  <c:v>99.730666666666664</c:v>
                </c:pt>
                <c:pt idx="18">
                  <c:v>99.619333333333316</c:v>
                </c:pt>
                <c:pt idx="19">
                  <c:v>99.094666666666669</c:v>
                </c:pt>
                <c:pt idx="20">
                  <c:v>100.38533333333335</c:v>
                </c:pt>
                <c:pt idx="21">
                  <c:v>99.817999999999998</c:v>
                </c:pt>
                <c:pt idx="22">
                  <c:v>99.384</c:v>
                </c:pt>
                <c:pt idx="23">
                  <c:v>99.433999999999997</c:v>
                </c:pt>
                <c:pt idx="24">
                  <c:v>99.771333333333331</c:v>
                </c:pt>
                <c:pt idx="25">
                  <c:v>98.905999999999992</c:v>
                </c:pt>
                <c:pt idx="26">
                  <c:v>100.36600000000001</c:v>
                </c:pt>
                <c:pt idx="27">
                  <c:v>100.91466666666665</c:v>
                </c:pt>
                <c:pt idx="28">
                  <c:v>100.718</c:v>
                </c:pt>
                <c:pt idx="29">
                  <c:v>101.61933333333333</c:v>
                </c:pt>
                <c:pt idx="30">
                  <c:v>102.47466666666668</c:v>
                </c:pt>
                <c:pt idx="31">
                  <c:v>102.55333333333334</c:v>
                </c:pt>
                <c:pt idx="32">
                  <c:v>102.56266666666669</c:v>
                </c:pt>
                <c:pt idx="33">
                  <c:v>102.68466666666667</c:v>
                </c:pt>
                <c:pt idx="34">
                  <c:v>102.88933333333333</c:v>
                </c:pt>
                <c:pt idx="35">
                  <c:v>102.48200000000001</c:v>
                </c:pt>
                <c:pt idx="36">
                  <c:v>102.37400000000001</c:v>
                </c:pt>
                <c:pt idx="37">
                  <c:v>102.73200000000001</c:v>
                </c:pt>
                <c:pt idx="38">
                  <c:v>103.30199999999998</c:v>
                </c:pt>
                <c:pt idx="39">
                  <c:v>103.87266666666667</c:v>
                </c:pt>
                <c:pt idx="40">
                  <c:v>104.312</c:v>
                </c:pt>
                <c:pt idx="41">
                  <c:v>103.68733333333333</c:v>
                </c:pt>
                <c:pt idx="42">
                  <c:v>103.904</c:v>
                </c:pt>
                <c:pt idx="43">
                  <c:v>104.45599999999999</c:v>
                </c:pt>
                <c:pt idx="44">
                  <c:v>103.87333333333335</c:v>
                </c:pt>
                <c:pt idx="45">
                  <c:v>104.518</c:v>
                </c:pt>
                <c:pt idx="46">
                  <c:v>103.88466666666666</c:v>
                </c:pt>
                <c:pt idx="47">
                  <c:v>104.20933333333336</c:v>
                </c:pt>
                <c:pt idx="48">
                  <c:v>104.33666666666664</c:v>
                </c:pt>
                <c:pt idx="49">
                  <c:v>104.27466666666669</c:v>
                </c:pt>
                <c:pt idx="50">
                  <c:v>104.416</c:v>
                </c:pt>
                <c:pt idx="51">
                  <c:v>105.74733333333334</c:v>
                </c:pt>
                <c:pt idx="52">
                  <c:v>105.50066666666666</c:v>
                </c:pt>
                <c:pt idx="53">
                  <c:v>106</c:v>
                </c:pt>
                <c:pt idx="54">
                  <c:v>106.11266666666667</c:v>
                </c:pt>
                <c:pt idx="55">
                  <c:v>105.02333333333334</c:v>
                </c:pt>
                <c:pt idx="56">
                  <c:v>105.40333333333332</c:v>
                </c:pt>
                <c:pt idx="57">
                  <c:v>106.35266666666665</c:v>
                </c:pt>
                <c:pt idx="58">
                  <c:v>106.758</c:v>
                </c:pt>
                <c:pt idx="59">
                  <c:v>106.71799999999999</c:v>
                </c:pt>
                <c:pt idx="60">
                  <c:v>106.99533333333332</c:v>
                </c:pt>
                <c:pt idx="61">
                  <c:v>107.61200000000001</c:v>
                </c:pt>
                <c:pt idx="62">
                  <c:v>107.33933333333331</c:v>
                </c:pt>
                <c:pt idx="63">
                  <c:v>107.30066666666669</c:v>
                </c:pt>
                <c:pt idx="64">
                  <c:v>107.63666666666667</c:v>
                </c:pt>
              </c:numCache>
              <c:extLst/>
            </c:numRef>
          </c:val>
          <c:smooth val="0"/>
          <c:extLst xmlns:c15="http://schemas.microsoft.com/office/drawing/2012/chart">
            <c:ext xmlns:c16="http://schemas.microsoft.com/office/drawing/2014/chart" uri="{C3380CC4-5D6E-409C-BE32-E72D297353CC}">
              <c16:uniqueId val="{00000002-A74E-43EC-ACDF-1CA2D59ACD5D}"/>
            </c:ext>
          </c:extLst>
        </c:ser>
        <c:ser>
          <c:idx val="4"/>
          <c:order val="4"/>
          <c:tx>
            <c:strRef>
              <c:f>Average!$L$38</c:f>
              <c:strCache>
                <c:ptCount val="1"/>
                <c:pt idx="0">
                  <c:v>MSCI EMU</c:v>
                </c:pt>
              </c:strCache>
              <c:extLst xmlns:c15="http://schemas.microsoft.com/office/drawing/2012/chart"/>
            </c:strRef>
          </c:tx>
          <c:spPr>
            <a:ln w="12700" cap="rnd" cmpd="sng" algn="ctr">
              <a:solidFill>
                <a:srgbClr val="8A000A"/>
              </a:solidFill>
              <a:prstDash val="solid"/>
              <a:round/>
              <a:headEnd type="none" w="med" len="med"/>
              <a:tailEnd type="none" w="med" len="med"/>
            </a:ln>
            <a:effectLst/>
          </c:spPr>
          <c:marker>
            <c:symbol val="none"/>
          </c:marker>
          <c:cat>
            <c:numRef>
              <c:f>Average!$F$79:$F$143</c:f>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extLst/>
            </c:numRef>
          </c:cat>
          <c:val>
            <c:numRef>
              <c:f>Average!$L$79:$L$143</c:f>
              <c:numCache>
                <c:formatCode>0.0</c:formatCode>
                <c:ptCount val="65"/>
                <c:pt idx="0">
                  <c:v>103.18488888888888</c:v>
                </c:pt>
                <c:pt idx="1">
                  <c:v>103.34077777777777</c:v>
                </c:pt>
                <c:pt idx="2">
                  <c:v>104.90666666666668</c:v>
                </c:pt>
                <c:pt idx="3">
                  <c:v>104.55488888888888</c:v>
                </c:pt>
                <c:pt idx="4">
                  <c:v>104.318</c:v>
                </c:pt>
                <c:pt idx="5">
                  <c:v>103.33833333333334</c:v>
                </c:pt>
                <c:pt idx="6">
                  <c:v>103.245</c:v>
                </c:pt>
                <c:pt idx="7">
                  <c:v>102.74088888888889</c:v>
                </c:pt>
                <c:pt idx="8">
                  <c:v>101.56922222222222</c:v>
                </c:pt>
                <c:pt idx="9">
                  <c:v>102.62911111111111</c:v>
                </c:pt>
                <c:pt idx="10">
                  <c:v>101.86799999999998</c:v>
                </c:pt>
                <c:pt idx="11">
                  <c:v>100.20666666666666</c:v>
                </c:pt>
                <c:pt idx="12">
                  <c:v>100</c:v>
                </c:pt>
                <c:pt idx="13">
                  <c:v>98.159444444444446</c:v>
                </c:pt>
                <c:pt idx="14">
                  <c:v>97.096555555555554</c:v>
                </c:pt>
                <c:pt idx="15">
                  <c:v>98.944444444444429</c:v>
                </c:pt>
                <c:pt idx="16">
                  <c:v>98.762666666666675</c:v>
                </c:pt>
                <c:pt idx="17">
                  <c:v>98.48855555555555</c:v>
                </c:pt>
                <c:pt idx="18">
                  <c:v>98.223888888888894</c:v>
                </c:pt>
                <c:pt idx="19">
                  <c:v>98.126444444444431</c:v>
                </c:pt>
                <c:pt idx="20">
                  <c:v>98.298111111111112</c:v>
                </c:pt>
                <c:pt idx="21">
                  <c:v>97.526555555555547</c:v>
                </c:pt>
                <c:pt idx="22">
                  <c:v>96.656666666666666</c:v>
                </c:pt>
                <c:pt idx="23">
                  <c:v>96.962777777777774</c:v>
                </c:pt>
                <c:pt idx="24">
                  <c:v>98.485666666666674</c:v>
                </c:pt>
                <c:pt idx="25">
                  <c:v>98.923555555555538</c:v>
                </c:pt>
                <c:pt idx="26">
                  <c:v>101.19</c:v>
                </c:pt>
                <c:pt idx="27">
                  <c:v>100.83822222222221</c:v>
                </c:pt>
                <c:pt idx="28">
                  <c:v>100.32033333333334</c:v>
                </c:pt>
                <c:pt idx="29">
                  <c:v>99.632111111111101</c:v>
                </c:pt>
                <c:pt idx="30">
                  <c:v>99.63088888888889</c:v>
                </c:pt>
                <c:pt idx="31">
                  <c:v>98.745333333333349</c:v>
                </c:pt>
                <c:pt idx="32">
                  <c:v>99.728555555555545</c:v>
                </c:pt>
                <c:pt idx="33">
                  <c:v>100.12377777777778</c:v>
                </c:pt>
                <c:pt idx="34">
                  <c:v>99.626777777777775</c:v>
                </c:pt>
                <c:pt idx="35">
                  <c:v>100.04688888888887</c:v>
                </c:pt>
                <c:pt idx="36">
                  <c:v>99.311777777777777</c:v>
                </c:pt>
                <c:pt idx="37">
                  <c:v>98.90100000000001</c:v>
                </c:pt>
                <c:pt idx="38">
                  <c:v>99.560777777777773</c:v>
                </c:pt>
                <c:pt idx="39">
                  <c:v>99.662333333333336</c:v>
                </c:pt>
                <c:pt idx="40">
                  <c:v>100.0968888888889</c:v>
                </c:pt>
                <c:pt idx="41">
                  <c:v>99.095333333333329</c:v>
                </c:pt>
                <c:pt idx="42">
                  <c:v>100.26033333333334</c:v>
                </c:pt>
                <c:pt idx="43">
                  <c:v>100.54511111111111</c:v>
                </c:pt>
                <c:pt idx="44">
                  <c:v>99.206444444444429</c:v>
                </c:pt>
                <c:pt idx="45">
                  <c:v>96.882666666666665</c:v>
                </c:pt>
                <c:pt idx="46">
                  <c:v>98.684888888888892</c:v>
                </c:pt>
                <c:pt idx="47">
                  <c:v>98.297999999999988</c:v>
                </c:pt>
                <c:pt idx="48">
                  <c:v>98.074444444444438</c:v>
                </c:pt>
                <c:pt idx="49">
                  <c:v>98.203888888888912</c:v>
                </c:pt>
                <c:pt idx="50">
                  <c:v>98.103777777777779</c:v>
                </c:pt>
                <c:pt idx="51">
                  <c:v>98.901777777777781</c:v>
                </c:pt>
                <c:pt idx="52">
                  <c:v>99.38677777777778</c:v>
                </c:pt>
                <c:pt idx="53">
                  <c:v>99.416777777777767</c:v>
                </c:pt>
                <c:pt idx="54">
                  <c:v>100.17722222222223</c:v>
                </c:pt>
                <c:pt idx="55">
                  <c:v>99.361000000000004</c:v>
                </c:pt>
                <c:pt idx="56">
                  <c:v>100.50155555555556</c:v>
                </c:pt>
                <c:pt idx="57">
                  <c:v>100.85888888888888</c:v>
                </c:pt>
                <c:pt idx="58">
                  <c:v>101.87477777777777</c:v>
                </c:pt>
                <c:pt idx="59">
                  <c:v>101.55722222222222</c:v>
                </c:pt>
                <c:pt idx="60">
                  <c:v>102.37266666666667</c:v>
                </c:pt>
                <c:pt idx="61">
                  <c:v>102.32066666666667</c:v>
                </c:pt>
                <c:pt idx="62">
                  <c:v>102.35866666666666</c:v>
                </c:pt>
                <c:pt idx="63">
                  <c:v>101.80099999999999</c:v>
                </c:pt>
                <c:pt idx="64">
                  <c:v>101.55288888888889</c:v>
                </c:pt>
              </c:numCache>
              <c:extLst/>
            </c:numRef>
          </c:val>
          <c:smooth val="0"/>
          <c:extLst xmlns:c15="http://schemas.microsoft.com/office/drawing/2012/chart">
            <c:ext xmlns:c16="http://schemas.microsoft.com/office/drawing/2014/chart" uri="{C3380CC4-5D6E-409C-BE32-E72D297353CC}">
              <c16:uniqueId val="{00000003-A74E-43EC-ACDF-1CA2D59ACD5D}"/>
            </c:ext>
          </c:extLst>
        </c:ser>
        <c:ser>
          <c:idx val="8"/>
          <c:order val="8"/>
          <c:tx>
            <c:strRef>
              <c:f>Average!$P$38</c:f>
              <c:strCache>
                <c:ptCount val="1"/>
                <c:pt idx="0">
                  <c:v>MSCI Japan</c:v>
                </c:pt>
              </c:strCache>
              <c:extLst xmlns:c15="http://schemas.microsoft.com/office/drawing/2012/chart"/>
            </c:strRef>
          </c:tx>
          <c:spPr>
            <a:ln w="12700" cap="rnd" cmpd="sng" algn="ctr">
              <a:solidFill>
                <a:srgbClr val="B98E2C"/>
              </a:solidFill>
              <a:prstDash val="solid"/>
              <a:round/>
              <a:headEnd type="none" w="med" len="med"/>
              <a:tailEnd type="none" w="med" len="med"/>
            </a:ln>
            <a:effectLst/>
          </c:spPr>
          <c:marker>
            <c:symbol val="none"/>
          </c:marker>
          <c:cat>
            <c:numRef>
              <c:f>Average!$F$79:$F$143</c:f>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extLst/>
            </c:numRef>
          </c:cat>
          <c:val>
            <c:numRef>
              <c:f>Average!$P$79:$P$143</c:f>
              <c:numCache>
                <c:formatCode>0.0</c:formatCode>
                <c:ptCount val="65"/>
                <c:pt idx="0">
                  <c:v>102.63493333333332</c:v>
                </c:pt>
                <c:pt idx="1">
                  <c:v>102.95113333333335</c:v>
                </c:pt>
                <c:pt idx="2">
                  <c:v>103.75</c:v>
                </c:pt>
                <c:pt idx="3">
                  <c:v>104.13233333333334</c:v>
                </c:pt>
                <c:pt idx="4">
                  <c:v>104.28073333333333</c:v>
                </c:pt>
                <c:pt idx="5">
                  <c:v>104.27500000000001</c:v>
                </c:pt>
                <c:pt idx="6">
                  <c:v>102.42493333333336</c:v>
                </c:pt>
                <c:pt idx="7">
                  <c:v>102.79533333333333</c:v>
                </c:pt>
                <c:pt idx="8">
                  <c:v>102.30953333333333</c:v>
                </c:pt>
                <c:pt idx="9">
                  <c:v>102.3364</c:v>
                </c:pt>
                <c:pt idx="10">
                  <c:v>101.24126666666668</c:v>
                </c:pt>
                <c:pt idx="11">
                  <c:v>100.74926666666667</c:v>
                </c:pt>
                <c:pt idx="12">
                  <c:v>100</c:v>
                </c:pt>
                <c:pt idx="13">
                  <c:v>98.509866666666667</c:v>
                </c:pt>
                <c:pt idx="14">
                  <c:v>98.431133333333321</c:v>
                </c:pt>
                <c:pt idx="15">
                  <c:v>98.749333333333325</c:v>
                </c:pt>
                <c:pt idx="16">
                  <c:v>98.938400000000001</c:v>
                </c:pt>
                <c:pt idx="17">
                  <c:v>98.282466666666679</c:v>
                </c:pt>
                <c:pt idx="18">
                  <c:v>99.033666666666676</c:v>
                </c:pt>
                <c:pt idx="19">
                  <c:v>99.146333333333317</c:v>
                </c:pt>
                <c:pt idx="20">
                  <c:v>98.84520000000002</c:v>
                </c:pt>
                <c:pt idx="21">
                  <c:v>99.024000000000015</c:v>
                </c:pt>
                <c:pt idx="22">
                  <c:v>98.201133333333331</c:v>
                </c:pt>
                <c:pt idx="23">
                  <c:v>98.391733333333335</c:v>
                </c:pt>
                <c:pt idx="24">
                  <c:v>99.545266666666691</c:v>
                </c:pt>
                <c:pt idx="25">
                  <c:v>99.417999999999992</c:v>
                </c:pt>
                <c:pt idx="26">
                  <c:v>98.929533333333353</c:v>
                </c:pt>
                <c:pt idx="27">
                  <c:v>99.000333333333344</c:v>
                </c:pt>
                <c:pt idx="28">
                  <c:v>98.339399999999998</c:v>
                </c:pt>
                <c:pt idx="29">
                  <c:v>98.134733333333344</c:v>
                </c:pt>
                <c:pt idx="30">
                  <c:v>97.929733333333317</c:v>
                </c:pt>
                <c:pt idx="31">
                  <c:v>98.71599999999998</c:v>
                </c:pt>
                <c:pt idx="32">
                  <c:v>99.442000000000007</c:v>
                </c:pt>
                <c:pt idx="33">
                  <c:v>100.04886666666668</c:v>
                </c:pt>
                <c:pt idx="34">
                  <c:v>101.34100000000002</c:v>
                </c:pt>
                <c:pt idx="35">
                  <c:v>101.38106666666665</c:v>
                </c:pt>
                <c:pt idx="36">
                  <c:v>102.29640000000001</c:v>
                </c:pt>
                <c:pt idx="37">
                  <c:v>102.59913333333333</c:v>
                </c:pt>
                <c:pt idx="38">
                  <c:v>102.52953333333335</c:v>
                </c:pt>
                <c:pt idx="39">
                  <c:v>103.12439999999999</c:v>
                </c:pt>
                <c:pt idx="40">
                  <c:v>102.04706666666668</c:v>
                </c:pt>
                <c:pt idx="41">
                  <c:v>101.7632</c:v>
                </c:pt>
                <c:pt idx="42">
                  <c:v>102.40053333333334</c:v>
                </c:pt>
                <c:pt idx="43">
                  <c:v>102.69000000000001</c:v>
                </c:pt>
                <c:pt idx="44">
                  <c:v>102.42819999999999</c:v>
                </c:pt>
                <c:pt idx="45">
                  <c:v>101.756</c:v>
                </c:pt>
                <c:pt idx="46">
                  <c:v>102.51600000000001</c:v>
                </c:pt>
                <c:pt idx="47">
                  <c:v>102.23713333333333</c:v>
                </c:pt>
                <c:pt idx="48">
                  <c:v>102.50679999999998</c:v>
                </c:pt>
                <c:pt idx="49">
                  <c:v>103.20906666666666</c:v>
                </c:pt>
                <c:pt idx="50">
                  <c:v>103.04179999999999</c:v>
                </c:pt>
                <c:pt idx="51">
                  <c:v>103.96080000000001</c:v>
                </c:pt>
                <c:pt idx="52">
                  <c:v>103.71</c:v>
                </c:pt>
                <c:pt idx="53">
                  <c:v>103.85826666666668</c:v>
                </c:pt>
                <c:pt idx="54">
                  <c:v>104.25413333333333</c:v>
                </c:pt>
                <c:pt idx="55">
                  <c:v>102.63366666666664</c:v>
                </c:pt>
                <c:pt idx="56">
                  <c:v>104.11313333333334</c:v>
                </c:pt>
                <c:pt idx="57">
                  <c:v>103.09760000000001</c:v>
                </c:pt>
                <c:pt idx="58">
                  <c:v>103.41406666666667</c:v>
                </c:pt>
                <c:pt idx="59">
                  <c:v>104.07020000000001</c:v>
                </c:pt>
                <c:pt idx="60">
                  <c:v>103.23353333333333</c:v>
                </c:pt>
                <c:pt idx="61">
                  <c:v>104.11806666666668</c:v>
                </c:pt>
                <c:pt idx="62">
                  <c:v>104.32706666666667</c:v>
                </c:pt>
                <c:pt idx="63">
                  <c:v>104.36933333333333</c:v>
                </c:pt>
                <c:pt idx="64">
                  <c:v>103.94293333333334</c:v>
                </c:pt>
              </c:numCache>
              <c:extLst/>
            </c:numRef>
          </c:val>
          <c:smooth val="0"/>
          <c:extLst xmlns:c15="http://schemas.microsoft.com/office/drawing/2012/chart">
            <c:ext xmlns:c16="http://schemas.microsoft.com/office/drawing/2014/chart" uri="{C3380CC4-5D6E-409C-BE32-E72D297353CC}">
              <c16:uniqueId val="{00000004-A74E-43EC-ACDF-1CA2D59ACD5D}"/>
            </c:ext>
          </c:extLst>
        </c:ser>
        <c:dLbls>
          <c:showLegendKey val="0"/>
          <c:showVal val="0"/>
          <c:showCatName val="0"/>
          <c:showSerName val="0"/>
          <c:showPercent val="0"/>
          <c:showBubbleSize val="0"/>
        </c:dLbls>
        <c:smooth val="0"/>
        <c:axId val="821585247"/>
        <c:axId val="821562207"/>
        <c:extLst>
          <c:ext xmlns:c15="http://schemas.microsoft.com/office/drawing/2012/chart" uri="{02D57815-91ED-43cb-92C2-25804820EDAC}">
            <c15:filteredLineSeries>
              <c15:ser>
                <c:idx val="1"/>
                <c:order val="1"/>
                <c:tx>
                  <c:strRef>
                    <c:extLst>
                      <c:ext uri="{02D57815-91ED-43cb-92C2-25804820EDAC}">
                        <c15:formulaRef>
                          <c15:sqref>Average!$I$38</c15:sqref>
                        </c15:formulaRef>
                      </c:ext>
                    </c:extLst>
                    <c:strCache>
                      <c:ptCount val="1"/>
                      <c:pt idx="0">
                        <c:v>MSCI World</c:v>
                      </c:pt>
                    </c:strCache>
                  </c:strRef>
                </c:tx>
                <c:spPr>
                  <a:ln w="12700" cap="rnd" cmpd="sng" algn="ctr">
                    <a:solidFill>
                      <a:srgbClr val="6FB6DF"/>
                    </a:solidFill>
                    <a:prstDash val="solid"/>
                    <a:round/>
                    <a:headEnd type="none" w="med" len="med"/>
                    <a:tailEnd type="none" w="med" len="med"/>
                  </a:ln>
                  <a:effectLst/>
                </c:spPr>
                <c:marker>
                  <c:symbol val="none"/>
                </c:marker>
                <c:cat>
                  <c:numRef>
                    <c:extLst>
                      <c:ex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c:ext uri="{02D57815-91ED-43cb-92C2-25804820EDAC}">
                        <c15:formulaRef>
                          <c15:sqref>Average!$I$79:$I$143</c15:sqref>
                        </c15:formulaRef>
                      </c:ext>
                    </c:extLst>
                    <c:numCache>
                      <c:formatCode>0.0</c:formatCode>
                      <c:ptCount val="65"/>
                      <c:pt idx="0">
                        <c:v>101.58306666666664</c:v>
                      </c:pt>
                      <c:pt idx="1">
                        <c:v>101.85813333333333</c:v>
                      </c:pt>
                      <c:pt idx="2">
                        <c:v>102.37619999999998</c:v>
                      </c:pt>
                      <c:pt idx="3">
                        <c:v>103.10413333333331</c:v>
                      </c:pt>
                      <c:pt idx="4">
                        <c:v>103.28226666666667</c:v>
                      </c:pt>
                      <c:pt idx="5">
                        <c:v>103.3796</c:v>
                      </c:pt>
                      <c:pt idx="6">
                        <c:v>103.11400000000002</c:v>
                      </c:pt>
                      <c:pt idx="7">
                        <c:v>103.02946666666666</c:v>
                      </c:pt>
                      <c:pt idx="8">
                        <c:v>102.2342</c:v>
                      </c:pt>
                      <c:pt idx="9">
                        <c:v>102.4212666666667</c:v>
                      </c:pt>
                      <c:pt idx="10">
                        <c:v>101.73099999999999</c:v>
                      </c:pt>
                      <c:pt idx="11">
                        <c:v>100.73913333333333</c:v>
                      </c:pt>
                      <c:pt idx="12">
                        <c:v>100</c:v>
                      </c:pt>
                      <c:pt idx="13">
                        <c:v>97.805333333333337</c:v>
                      </c:pt>
                      <c:pt idx="14">
                        <c:v>98.06486666666666</c:v>
                      </c:pt>
                      <c:pt idx="15">
                        <c:v>98.896933333333351</c:v>
                      </c:pt>
                      <c:pt idx="16">
                        <c:v>99.029399999999995</c:v>
                      </c:pt>
                      <c:pt idx="17">
                        <c:v>99.317133333333359</c:v>
                      </c:pt>
                      <c:pt idx="18">
                        <c:v>99.238800000000026</c:v>
                      </c:pt>
                      <c:pt idx="19">
                        <c:v>98.77046666666665</c:v>
                      </c:pt>
                      <c:pt idx="20">
                        <c:v>99.790066666666661</c:v>
                      </c:pt>
                      <c:pt idx="21">
                        <c:v>99.059066666666681</c:v>
                      </c:pt>
                      <c:pt idx="22">
                        <c:v>98.430866666666674</c:v>
                      </c:pt>
                      <c:pt idx="23">
                        <c:v>98.280999999999992</c:v>
                      </c:pt>
                      <c:pt idx="24">
                        <c:v>98.879466666666687</c:v>
                      </c:pt>
                      <c:pt idx="25">
                        <c:v>98.154733333333326</c:v>
                      </c:pt>
                      <c:pt idx="26">
                        <c:v>99.417999999999992</c:v>
                      </c:pt>
                      <c:pt idx="27">
                        <c:v>99.544333333333327</c:v>
                      </c:pt>
                      <c:pt idx="28">
                        <c:v>99.580066666666667</c:v>
                      </c:pt>
                      <c:pt idx="29">
                        <c:v>99.65306666666666</c:v>
                      </c:pt>
                      <c:pt idx="30">
                        <c:v>100.02766666666668</c:v>
                      </c:pt>
                      <c:pt idx="31">
                        <c:v>100.39099999999999</c:v>
                      </c:pt>
                      <c:pt idx="32">
                        <c:v>100.4528</c:v>
                      </c:pt>
                      <c:pt idx="33">
                        <c:v>100.68980000000001</c:v>
                      </c:pt>
                      <c:pt idx="34">
                        <c:v>101.35033333333332</c:v>
                      </c:pt>
                      <c:pt idx="35">
                        <c:v>101.11806666666665</c:v>
                      </c:pt>
                      <c:pt idx="36">
                        <c:v>101.42853333333333</c:v>
                      </c:pt>
                      <c:pt idx="37">
                        <c:v>101.74860000000002</c:v>
                      </c:pt>
                      <c:pt idx="38">
                        <c:v>102.37953333333333</c:v>
                      </c:pt>
                      <c:pt idx="39">
                        <c:v>102.75533333333335</c:v>
                      </c:pt>
                      <c:pt idx="40">
                        <c:v>103.29819999999999</c:v>
                      </c:pt>
                      <c:pt idx="41">
                        <c:v>102.7016</c:v>
                      </c:pt>
                      <c:pt idx="42">
                        <c:v>103.23800000000001</c:v>
                      </c:pt>
                      <c:pt idx="43">
                        <c:v>103.89306666666667</c:v>
                      </c:pt>
                      <c:pt idx="44">
                        <c:v>103.33566666666665</c:v>
                      </c:pt>
                      <c:pt idx="45">
                        <c:v>102.98713333333335</c:v>
                      </c:pt>
                      <c:pt idx="46">
                        <c:v>103.014</c:v>
                      </c:pt>
                      <c:pt idx="47">
                        <c:v>103.17753333333333</c:v>
                      </c:pt>
                      <c:pt idx="48">
                        <c:v>102.9109333333333</c:v>
                      </c:pt>
                      <c:pt idx="49">
                        <c:v>102.59133333333332</c:v>
                      </c:pt>
                      <c:pt idx="50">
                        <c:v>102.71086666666666</c:v>
                      </c:pt>
                      <c:pt idx="51">
                        <c:v>103.40313333333333</c:v>
                      </c:pt>
                      <c:pt idx="52">
                        <c:v>103.56533333333333</c:v>
                      </c:pt>
                      <c:pt idx="53">
                        <c:v>103.44486666666667</c:v>
                      </c:pt>
                      <c:pt idx="54">
                        <c:v>103.75273333333331</c:v>
                      </c:pt>
                      <c:pt idx="55">
                        <c:v>102.62126666666667</c:v>
                      </c:pt>
                      <c:pt idx="56">
                        <c:v>103.38093333333332</c:v>
                      </c:pt>
                      <c:pt idx="57">
                        <c:v>103.48406666666666</c:v>
                      </c:pt>
                      <c:pt idx="58">
                        <c:v>103.65513333333334</c:v>
                      </c:pt>
                      <c:pt idx="59">
                        <c:v>103.88293333333333</c:v>
                      </c:pt>
                      <c:pt idx="60">
                        <c:v>103.75626666666668</c:v>
                      </c:pt>
                      <c:pt idx="61">
                        <c:v>104.41626666666666</c:v>
                      </c:pt>
                      <c:pt idx="62">
                        <c:v>104.32826666666666</c:v>
                      </c:pt>
                      <c:pt idx="63">
                        <c:v>104.39339999999999</c:v>
                      </c:pt>
                      <c:pt idx="64">
                        <c:v>104.57026666666667</c:v>
                      </c:pt>
                    </c:numCache>
                  </c:numRef>
                </c:val>
                <c:smooth val="0"/>
                <c:extLst>
                  <c:ext xmlns:c16="http://schemas.microsoft.com/office/drawing/2014/chart" uri="{C3380CC4-5D6E-409C-BE32-E72D297353CC}">
                    <c16:uniqueId val="{00000005-A74E-43EC-ACDF-1CA2D59ACD5D}"/>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verage!$M$38</c15:sqref>
                        </c15:formulaRef>
                      </c:ext>
                    </c:extLst>
                    <c:strCache>
                      <c:ptCount val="1"/>
                      <c:pt idx="0">
                        <c:v>MSCI Switzerland</c:v>
                      </c:pt>
                    </c:strCache>
                  </c:strRef>
                </c:tx>
                <c:spPr>
                  <a:ln w="12700" cap="rnd" cmpd="sng" algn="ctr">
                    <a:solidFill>
                      <a:srgbClr val="A1CCE4"/>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M$79:$M$143</c15:sqref>
                        </c15:formulaRef>
                      </c:ext>
                    </c:extLst>
                    <c:numCache>
                      <c:formatCode>0.0</c:formatCode>
                      <c:ptCount val="65"/>
                      <c:pt idx="0">
                        <c:v>102.771</c:v>
                      </c:pt>
                      <c:pt idx="1">
                        <c:v>102.87479999999999</c:v>
                      </c:pt>
                      <c:pt idx="2">
                        <c:v>104.11533333333334</c:v>
                      </c:pt>
                      <c:pt idx="3">
                        <c:v>104.24720000000001</c:v>
                      </c:pt>
                      <c:pt idx="4">
                        <c:v>104.55786666666668</c:v>
                      </c:pt>
                      <c:pt idx="5">
                        <c:v>103.81746666666666</c:v>
                      </c:pt>
                      <c:pt idx="6">
                        <c:v>104.05306666666667</c:v>
                      </c:pt>
                      <c:pt idx="7">
                        <c:v>103.22013333333332</c:v>
                      </c:pt>
                      <c:pt idx="8">
                        <c:v>102.03633333333332</c:v>
                      </c:pt>
                      <c:pt idx="9">
                        <c:v>103.16233333333334</c:v>
                      </c:pt>
                      <c:pt idx="10">
                        <c:v>103.06559999999999</c:v>
                      </c:pt>
                      <c:pt idx="11">
                        <c:v>101.03153333333333</c:v>
                      </c:pt>
                      <c:pt idx="12">
                        <c:v>100</c:v>
                      </c:pt>
                      <c:pt idx="13">
                        <c:v>97.424666666666681</c:v>
                      </c:pt>
                      <c:pt idx="14">
                        <c:v>97.795000000000002</c:v>
                      </c:pt>
                      <c:pt idx="15">
                        <c:v>98.161999999999992</c:v>
                      </c:pt>
                      <c:pt idx="16">
                        <c:v>99.306000000000012</c:v>
                      </c:pt>
                      <c:pt idx="17">
                        <c:v>99.323599999999999</c:v>
                      </c:pt>
                      <c:pt idx="18">
                        <c:v>98.799733333333322</c:v>
                      </c:pt>
                      <c:pt idx="19">
                        <c:v>98.522799999999989</c:v>
                      </c:pt>
                      <c:pt idx="20">
                        <c:v>98.933200000000014</c:v>
                      </c:pt>
                      <c:pt idx="21">
                        <c:v>98.302266666666668</c:v>
                      </c:pt>
                      <c:pt idx="22">
                        <c:v>98.112533333333346</c:v>
                      </c:pt>
                      <c:pt idx="23">
                        <c:v>96.987733333333338</c:v>
                      </c:pt>
                      <c:pt idx="24">
                        <c:v>97.704133333333331</c:v>
                      </c:pt>
                      <c:pt idx="25">
                        <c:v>97.36020000000002</c:v>
                      </c:pt>
                      <c:pt idx="26">
                        <c:v>97.836800000000025</c:v>
                      </c:pt>
                      <c:pt idx="27">
                        <c:v>97.721266666666651</c:v>
                      </c:pt>
                      <c:pt idx="28">
                        <c:v>98.181666666666658</c:v>
                      </c:pt>
                      <c:pt idx="29">
                        <c:v>97.728133333333346</c:v>
                      </c:pt>
                      <c:pt idx="30">
                        <c:v>97.878133333333338</c:v>
                      </c:pt>
                      <c:pt idx="31">
                        <c:v>97.75566666666667</c:v>
                      </c:pt>
                      <c:pt idx="32">
                        <c:v>98.744533333333322</c:v>
                      </c:pt>
                      <c:pt idx="33">
                        <c:v>98.858800000000002</c:v>
                      </c:pt>
                      <c:pt idx="34">
                        <c:v>98.869599999999991</c:v>
                      </c:pt>
                      <c:pt idx="35">
                        <c:v>98.701733333333337</c:v>
                      </c:pt>
                      <c:pt idx="36">
                        <c:v>98.081866666666656</c:v>
                      </c:pt>
                      <c:pt idx="37">
                        <c:v>97.81786666666666</c:v>
                      </c:pt>
                      <c:pt idx="38">
                        <c:v>98.033666666666647</c:v>
                      </c:pt>
                      <c:pt idx="39">
                        <c:v>98.438733333333332</c:v>
                      </c:pt>
                      <c:pt idx="40">
                        <c:v>99.156266666666667</c:v>
                      </c:pt>
                      <c:pt idx="41">
                        <c:v>98.279466666666664</c:v>
                      </c:pt>
                      <c:pt idx="42">
                        <c:v>98.300799999999995</c:v>
                      </c:pt>
                      <c:pt idx="43">
                        <c:v>99.327533333333307</c:v>
                      </c:pt>
                      <c:pt idx="44">
                        <c:v>99.14719999999997</c:v>
                      </c:pt>
                      <c:pt idx="45">
                        <c:v>98.286666666666662</c:v>
                      </c:pt>
                      <c:pt idx="46">
                        <c:v>98.688400000000001</c:v>
                      </c:pt>
                      <c:pt idx="47">
                        <c:v>99.000199999999992</c:v>
                      </c:pt>
                      <c:pt idx="48">
                        <c:v>99.12373333333332</c:v>
                      </c:pt>
                      <c:pt idx="49">
                        <c:v>99.0154</c:v>
                      </c:pt>
                      <c:pt idx="50">
                        <c:v>99.4148</c:v>
                      </c:pt>
                      <c:pt idx="51">
                        <c:v>99.484666666666655</c:v>
                      </c:pt>
                      <c:pt idx="52">
                        <c:v>99.93146666666668</c:v>
                      </c:pt>
                      <c:pt idx="53">
                        <c:v>99.492800000000017</c:v>
                      </c:pt>
                      <c:pt idx="54">
                        <c:v>100.14306666666666</c:v>
                      </c:pt>
                      <c:pt idx="55">
                        <c:v>99.380400000000009</c:v>
                      </c:pt>
                      <c:pt idx="56">
                        <c:v>99.951199999999986</c:v>
                      </c:pt>
                      <c:pt idx="57">
                        <c:v>100.04246666666668</c:v>
                      </c:pt>
                      <c:pt idx="58">
                        <c:v>100.92460000000001</c:v>
                      </c:pt>
                      <c:pt idx="59">
                        <c:v>100.52880000000002</c:v>
                      </c:pt>
                      <c:pt idx="60">
                        <c:v>101.00013333333332</c:v>
                      </c:pt>
                      <c:pt idx="61">
                        <c:v>101.6784</c:v>
                      </c:pt>
                      <c:pt idx="62">
                        <c:v>101.85006666666669</c:v>
                      </c:pt>
                      <c:pt idx="63">
                        <c:v>101.51153333333333</c:v>
                      </c:pt>
                      <c:pt idx="64">
                        <c:v>101.14866666666667</c:v>
                      </c:pt>
                    </c:numCache>
                  </c:numRef>
                </c:val>
                <c:smooth val="0"/>
                <c:extLst xmlns:c15="http://schemas.microsoft.com/office/drawing/2012/chart">
                  <c:ext xmlns:c16="http://schemas.microsoft.com/office/drawing/2014/chart" uri="{C3380CC4-5D6E-409C-BE32-E72D297353CC}">
                    <c16:uniqueId val="{00000006-A74E-43EC-ACDF-1CA2D59ACD5D}"/>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verage!$N$38</c15:sqref>
                        </c15:formulaRef>
                      </c:ext>
                    </c:extLst>
                    <c:strCache>
                      <c:ptCount val="1"/>
                      <c:pt idx="0">
                        <c:v>MSCI UK</c:v>
                      </c:pt>
                    </c:strCache>
                  </c:strRef>
                </c:tx>
                <c:spPr>
                  <a:ln w="12700" cap="rnd" cmpd="sng" algn="ctr">
                    <a:solidFill>
                      <a:srgbClr val="2B2B2B"/>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N$79:$N$143</c15:sqref>
                        </c15:formulaRef>
                      </c:ext>
                    </c:extLst>
                    <c:numCache>
                      <c:formatCode>0.0</c:formatCode>
                      <c:ptCount val="65"/>
                      <c:pt idx="0">
                        <c:v>102.50246666666668</c:v>
                      </c:pt>
                      <c:pt idx="1">
                        <c:v>102.82760000000002</c:v>
                      </c:pt>
                      <c:pt idx="2">
                        <c:v>103.43886666666666</c:v>
                      </c:pt>
                      <c:pt idx="3">
                        <c:v>103.32419999999999</c:v>
                      </c:pt>
                      <c:pt idx="4">
                        <c:v>103.31240000000001</c:v>
                      </c:pt>
                      <c:pt idx="5">
                        <c:v>103.74953333333332</c:v>
                      </c:pt>
                      <c:pt idx="6">
                        <c:v>103.99913333333332</c:v>
                      </c:pt>
                      <c:pt idx="7">
                        <c:v>103.68393333333333</c:v>
                      </c:pt>
                      <c:pt idx="8">
                        <c:v>103.35386666666666</c:v>
                      </c:pt>
                      <c:pt idx="9">
                        <c:v>103.97306666666667</c:v>
                      </c:pt>
                      <c:pt idx="10">
                        <c:v>103.03139999999999</c:v>
                      </c:pt>
                      <c:pt idx="11">
                        <c:v>100.91986666666665</c:v>
                      </c:pt>
                      <c:pt idx="12">
                        <c:v>100</c:v>
                      </c:pt>
                      <c:pt idx="13">
                        <c:v>97.606999999999999</c:v>
                      </c:pt>
                      <c:pt idx="14">
                        <c:v>97.733333333333334</c:v>
                      </c:pt>
                      <c:pt idx="15">
                        <c:v>97.972266666666641</c:v>
                      </c:pt>
                      <c:pt idx="16">
                        <c:v>98.624733333333339</c:v>
                      </c:pt>
                      <c:pt idx="17">
                        <c:v>98.500466666666668</c:v>
                      </c:pt>
                      <c:pt idx="18">
                        <c:v>98.063733333333332</c:v>
                      </c:pt>
                      <c:pt idx="19">
                        <c:v>96.904533333333319</c:v>
                      </c:pt>
                      <c:pt idx="20">
                        <c:v>98.302333333333323</c:v>
                      </c:pt>
                      <c:pt idx="21">
                        <c:v>97.991533333333308</c:v>
                      </c:pt>
                      <c:pt idx="22">
                        <c:v>98.241733333333329</c:v>
                      </c:pt>
                      <c:pt idx="23">
                        <c:v>98.428799999999995</c:v>
                      </c:pt>
                      <c:pt idx="24">
                        <c:v>98.496200000000016</c:v>
                      </c:pt>
                      <c:pt idx="25">
                        <c:v>98.576933333333344</c:v>
                      </c:pt>
                      <c:pt idx="26">
                        <c:v>98.906733333333335</c:v>
                      </c:pt>
                      <c:pt idx="27">
                        <c:v>98.603466666666662</c:v>
                      </c:pt>
                      <c:pt idx="28">
                        <c:v>98.236999999999995</c:v>
                      </c:pt>
                      <c:pt idx="29">
                        <c:v>97.036600000000007</c:v>
                      </c:pt>
                      <c:pt idx="30">
                        <c:v>97.42586666666665</c:v>
                      </c:pt>
                      <c:pt idx="31">
                        <c:v>97.576466666666661</c:v>
                      </c:pt>
                      <c:pt idx="32">
                        <c:v>97.901799999999994</c:v>
                      </c:pt>
                      <c:pt idx="33">
                        <c:v>97.294266666666672</c:v>
                      </c:pt>
                      <c:pt idx="34">
                        <c:v>97.642333333333312</c:v>
                      </c:pt>
                      <c:pt idx="35">
                        <c:v>98.601133333333323</c:v>
                      </c:pt>
                      <c:pt idx="36">
                        <c:v>97.758600000000015</c:v>
                      </c:pt>
                      <c:pt idx="37">
                        <c:v>97.776466666666664</c:v>
                      </c:pt>
                      <c:pt idx="38">
                        <c:v>97.916733333333326</c:v>
                      </c:pt>
                      <c:pt idx="39">
                        <c:v>97.353066666666649</c:v>
                      </c:pt>
                      <c:pt idx="40">
                        <c:v>98.571133333333336</c:v>
                      </c:pt>
                      <c:pt idx="41">
                        <c:v>98.000666666666646</c:v>
                      </c:pt>
                      <c:pt idx="42">
                        <c:v>100.22313333333334</c:v>
                      </c:pt>
                      <c:pt idx="43">
                        <c:v>100.80933333333336</c:v>
                      </c:pt>
                      <c:pt idx="44">
                        <c:v>101.20613333333334</c:v>
                      </c:pt>
                      <c:pt idx="45">
                        <c:v>100.40100000000002</c:v>
                      </c:pt>
                      <c:pt idx="46">
                        <c:v>100.94746666666667</c:v>
                      </c:pt>
                      <c:pt idx="47">
                        <c:v>102.0808</c:v>
                      </c:pt>
                      <c:pt idx="48">
                        <c:v>101.91826666666664</c:v>
                      </c:pt>
                      <c:pt idx="49">
                        <c:v>101.09693333333333</c:v>
                      </c:pt>
                      <c:pt idx="50">
                        <c:v>100.20133333333335</c:v>
                      </c:pt>
                      <c:pt idx="51">
                        <c:v>100.14140000000002</c:v>
                      </c:pt>
                      <c:pt idx="52">
                        <c:v>101.06286666666666</c:v>
                      </c:pt>
                      <c:pt idx="53">
                        <c:v>100.14886666666666</c:v>
                      </c:pt>
                      <c:pt idx="54">
                        <c:v>101.25933333333336</c:v>
                      </c:pt>
                      <c:pt idx="55">
                        <c:v>100.70233333333334</c:v>
                      </c:pt>
                      <c:pt idx="56">
                        <c:v>101.25286666666668</c:v>
                      </c:pt>
                      <c:pt idx="57">
                        <c:v>101.71646666666665</c:v>
                      </c:pt>
                      <c:pt idx="58">
                        <c:v>102.13019999999999</c:v>
                      </c:pt>
                      <c:pt idx="59">
                        <c:v>102.24260000000001</c:v>
                      </c:pt>
                      <c:pt idx="60">
                        <c:v>102.35526666666665</c:v>
                      </c:pt>
                      <c:pt idx="61">
                        <c:v>102.13939999999999</c:v>
                      </c:pt>
                      <c:pt idx="62">
                        <c:v>101.50273333333332</c:v>
                      </c:pt>
                      <c:pt idx="63">
                        <c:v>101.2418</c:v>
                      </c:pt>
                      <c:pt idx="64">
                        <c:v>100.80226666666665</c:v>
                      </c:pt>
                    </c:numCache>
                  </c:numRef>
                </c:val>
                <c:smooth val="0"/>
                <c:extLst xmlns:c15="http://schemas.microsoft.com/office/drawing/2012/chart">
                  <c:ext xmlns:c16="http://schemas.microsoft.com/office/drawing/2014/chart" uri="{C3380CC4-5D6E-409C-BE32-E72D297353CC}">
                    <c16:uniqueId val="{00000007-A74E-43EC-ACDF-1CA2D59ACD5D}"/>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Average!$O$38</c15:sqref>
                        </c15:formulaRef>
                      </c:ext>
                    </c:extLst>
                    <c:strCache>
                      <c:ptCount val="1"/>
                      <c:pt idx="0">
                        <c:v>MSCI AxJ</c:v>
                      </c:pt>
                    </c:strCache>
                  </c:strRef>
                </c:tx>
                <c:spPr>
                  <a:ln w="12700" cap="rnd" cmpd="sng" algn="ctr">
                    <a:solidFill>
                      <a:srgbClr val="474747"/>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O$79:$O$143</c15:sqref>
                        </c15:formulaRef>
                      </c:ext>
                    </c:extLst>
                    <c:numCache>
                      <c:formatCode>0.0</c:formatCode>
                      <c:ptCount val="65"/>
                      <c:pt idx="0">
                        <c:v>100.29577777777777</c:v>
                      </c:pt>
                      <c:pt idx="1">
                        <c:v>99.838111111111104</c:v>
                      </c:pt>
                      <c:pt idx="2">
                        <c:v>101.29233333333335</c:v>
                      </c:pt>
                      <c:pt idx="3">
                        <c:v>100.69611111111111</c:v>
                      </c:pt>
                      <c:pt idx="4">
                        <c:v>101.68255555555555</c:v>
                      </c:pt>
                      <c:pt idx="5">
                        <c:v>101.8318888888889</c:v>
                      </c:pt>
                      <c:pt idx="6">
                        <c:v>100.40711111111111</c:v>
                      </c:pt>
                      <c:pt idx="7">
                        <c:v>101.19555555555557</c:v>
                      </c:pt>
                      <c:pt idx="8">
                        <c:v>100.35955555555557</c:v>
                      </c:pt>
                      <c:pt idx="9">
                        <c:v>102.80855555555556</c:v>
                      </c:pt>
                      <c:pt idx="10">
                        <c:v>101.39255555555556</c:v>
                      </c:pt>
                      <c:pt idx="11">
                        <c:v>100.57577777777777</c:v>
                      </c:pt>
                      <c:pt idx="12">
                        <c:v>100</c:v>
                      </c:pt>
                      <c:pt idx="13">
                        <c:v>101.89311111111111</c:v>
                      </c:pt>
                      <c:pt idx="14">
                        <c:v>102.62211111111111</c:v>
                      </c:pt>
                      <c:pt idx="15">
                        <c:v>103.09</c:v>
                      </c:pt>
                      <c:pt idx="16">
                        <c:v>102.62333333333333</c:v>
                      </c:pt>
                      <c:pt idx="17">
                        <c:v>103.52500000000001</c:v>
                      </c:pt>
                      <c:pt idx="18">
                        <c:v>103.03455555555554</c:v>
                      </c:pt>
                      <c:pt idx="19">
                        <c:v>104.05733333333332</c:v>
                      </c:pt>
                      <c:pt idx="20">
                        <c:v>103.59555555555556</c:v>
                      </c:pt>
                      <c:pt idx="21">
                        <c:v>101.91033333333336</c:v>
                      </c:pt>
                      <c:pt idx="22">
                        <c:v>101.64733333333335</c:v>
                      </c:pt>
                      <c:pt idx="23">
                        <c:v>101.87888888888888</c:v>
                      </c:pt>
                      <c:pt idx="24">
                        <c:v>102.28066666666668</c:v>
                      </c:pt>
                      <c:pt idx="25">
                        <c:v>101.23111111111113</c:v>
                      </c:pt>
                      <c:pt idx="26">
                        <c:v>103.06955555555554</c:v>
                      </c:pt>
                      <c:pt idx="27">
                        <c:v>104.15188888888889</c:v>
                      </c:pt>
                      <c:pt idx="28">
                        <c:v>103.6971111111111</c:v>
                      </c:pt>
                      <c:pt idx="29">
                        <c:v>102.2711111111111</c:v>
                      </c:pt>
                      <c:pt idx="30">
                        <c:v>101.20366666666668</c:v>
                      </c:pt>
                      <c:pt idx="31">
                        <c:v>100.19622222222223</c:v>
                      </c:pt>
                      <c:pt idx="32">
                        <c:v>102.68766666666667</c:v>
                      </c:pt>
                      <c:pt idx="33">
                        <c:v>102.28333333333335</c:v>
                      </c:pt>
                      <c:pt idx="34">
                        <c:v>104.44844444444443</c:v>
                      </c:pt>
                      <c:pt idx="35">
                        <c:v>105.12055555555555</c:v>
                      </c:pt>
                      <c:pt idx="36">
                        <c:v>105.884</c:v>
                      </c:pt>
                      <c:pt idx="37">
                        <c:v>105.51311111111113</c:v>
                      </c:pt>
                      <c:pt idx="38">
                        <c:v>105.434</c:v>
                      </c:pt>
                      <c:pt idx="39">
                        <c:v>105.8291111111111</c:v>
                      </c:pt>
                      <c:pt idx="40">
                        <c:v>106.99177777777778</c:v>
                      </c:pt>
                      <c:pt idx="41">
                        <c:v>107.89933333333335</c:v>
                      </c:pt>
                      <c:pt idx="42">
                        <c:v>109.06777777777779</c:v>
                      </c:pt>
                      <c:pt idx="43">
                        <c:v>110.79611111111112</c:v>
                      </c:pt>
                      <c:pt idx="44">
                        <c:v>111.1448888888889</c:v>
                      </c:pt>
                      <c:pt idx="45">
                        <c:v>109.41088888888888</c:v>
                      </c:pt>
                      <c:pt idx="46">
                        <c:v>109.78844444444445</c:v>
                      </c:pt>
                      <c:pt idx="47">
                        <c:v>110.01</c:v>
                      </c:pt>
                      <c:pt idx="48">
                        <c:v>110.70688888888888</c:v>
                      </c:pt>
                      <c:pt idx="49">
                        <c:v>111.31933333333333</c:v>
                      </c:pt>
                      <c:pt idx="50">
                        <c:v>112.10300000000001</c:v>
                      </c:pt>
                      <c:pt idx="51">
                        <c:v>112.50600000000001</c:v>
                      </c:pt>
                      <c:pt idx="52">
                        <c:v>113.42566666666667</c:v>
                      </c:pt>
                      <c:pt idx="53">
                        <c:v>113.10888888888888</c:v>
                      </c:pt>
                      <c:pt idx="54">
                        <c:v>113.02211111111112</c:v>
                      </c:pt>
                      <c:pt idx="55">
                        <c:v>111.43711111111112</c:v>
                      </c:pt>
                      <c:pt idx="56">
                        <c:v>113.76522222222223</c:v>
                      </c:pt>
                      <c:pt idx="57">
                        <c:v>114.36477777777776</c:v>
                      </c:pt>
                      <c:pt idx="58">
                        <c:v>114.751</c:v>
                      </c:pt>
                      <c:pt idx="59">
                        <c:v>116.04222222222224</c:v>
                      </c:pt>
                      <c:pt idx="60">
                        <c:v>116.504</c:v>
                      </c:pt>
                      <c:pt idx="61">
                        <c:v>117.57099999999998</c:v>
                      </c:pt>
                      <c:pt idx="62">
                        <c:v>118.19222222222223</c:v>
                      </c:pt>
                      <c:pt idx="63">
                        <c:v>118.08644444444445</c:v>
                      </c:pt>
                      <c:pt idx="64">
                        <c:v>117.00622222222221</c:v>
                      </c:pt>
                    </c:numCache>
                  </c:numRef>
                </c:val>
                <c:smooth val="0"/>
                <c:extLst xmlns:c15="http://schemas.microsoft.com/office/drawing/2012/chart">
                  <c:ext xmlns:c16="http://schemas.microsoft.com/office/drawing/2014/chart" uri="{C3380CC4-5D6E-409C-BE32-E72D297353CC}">
                    <c16:uniqueId val="{00000008-A74E-43EC-ACDF-1CA2D59ACD5D}"/>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Average!$Q$38</c15:sqref>
                        </c15:formulaRef>
                      </c:ext>
                    </c:extLst>
                    <c:strCache>
                      <c:ptCount val="1"/>
                      <c:pt idx="0">
                        <c:v>MSCI Australia</c:v>
                      </c:pt>
                    </c:strCache>
                  </c:strRef>
                </c:tx>
                <c:spPr>
                  <a:ln w="12700" cap="rnd" cmpd="sng" algn="ctr">
                    <a:solidFill>
                      <a:srgbClr val="009BD2"/>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Q$79:$Q$143</c15:sqref>
                        </c15:formulaRef>
                      </c:ext>
                    </c:extLst>
                    <c:numCache>
                      <c:formatCode>0.0</c:formatCode>
                      <c:ptCount val="65"/>
                      <c:pt idx="0">
                        <c:v>101.15940000000001</c:v>
                      </c:pt>
                      <c:pt idx="1">
                        <c:v>101.923</c:v>
                      </c:pt>
                      <c:pt idx="2">
                        <c:v>102.38239999999999</c:v>
                      </c:pt>
                      <c:pt idx="3">
                        <c:v>102.36893333333332</c:v>
                      </c:pt>
                      <c:pt idx="4">
                        <c:v>103.0436</c:v>
                      </c:pt>
                      <c:pt idx="5">
                        <c:v>103.64313333333332</c:v>
                      </c:pt>
                      <c:pt idx="6">
                        <c:v>103.53386666666667</c:v>
                      </c:pt>
                      <c:pt idx="7">
                        <c:v>102.40986666666667</c:v>
                      </c:pt>
                      <c:pt idx="8">
                        <c:v>102.02806666666669</c:v>
                      </c:pt>
                      <c:pt idx="9">
                        <c:v>101.75286666666668</c:v>
                      </c:pt>
                      <c:pt idx="10">
                        <c:v>101.34806666666667</c:v>
                      </c:pt>
                      <c:pt idx="11">
                        <c:v>100.49506666666667</c:v>
                      </c:pt>
                      <c:pt idx="12">
                        <c:v>100</c:v>
                      </c:pt>
                      <c:pt idx="13">
                        <c:v>96.916600000000003</c:v>
                      </c:pt>
                      <c:pt idx="14">
                        <c:v>96.24166666666666</c:v>
                      </c:pt>
                      <c:pt idx="15">
                        <c:v>94.927199999999985</c:v>
                      </c:pt>
                      <c:pt idx="16">
                        <c:v>95.708866666666651</c:v>
                      </c:pt>
                      <c:pt idx="17">
                        <c:v>95.487399999999994</c:v>
                      </c:pt>
                      <c:pt idx="18">
                        <c:v>96.227200000000011</c:v>
                      </c:pt>
                      <c:pt idx="19">
                        <c:v>95.480733333333347</c:v>
                      </c:pt>
                      <c:pt idx="20">
                        <c:v>96.495199999999997</c:v>
                      </c:pt>
                      <c:pt idx="21">
                        <c:v>96.169866666666692</c:v>
                      </c:pt>
                      <c:pt idx="22">
                        <c:v>96.04373333333335</c:v>
                      </c:pt>
                      <c:pt idx="23">
                        <c:v>95.88933333333334</c:v>
                      </c:pt>
                      <c:pt idx="24">
                        <c:v>95.144466666666659</c:v>
                      </c:pt>
                      <c:pt idx="25">
                        <c:v>94.51479999999998</c:v>
                      </c:pt>
                      <c:pt idx="26">
                        <c:v>95.4208</c:v>
                      </c:pt>
                      <c:pt idx="27">
                        <c:v>95.148600000000002</c:v>
                      </c:pt>
                      <c:pt idx="28">
                        <c:v>94.852066666666659</c:v>
                      </c:pt>
                      <c:pt idx="29">
                        <c:v>95.202800000000011</c:v>
                      </c:pt>
                      <c:pt idx="30">
                        <c:v>95.736466666666644</c:v>
                      </c:pt>
                      <c:pt idx="31">
                        <c:v>97.451400000000007</c:v>
                      </c:pt>
                      <c:pt idx="32">
                        <c:v>97.94993333333332</c:v>
                      </c:pt>
                      <c:pt idx="33">
                        <c:v>97.750866666666667</c:v>
                      </c:pt>
                      <c:pt idx="34">
                        <c:v>97.478599999999986</c:v>
                      </c:pt>
                      <c:pt idx="35">
                        <c:v>97.27800000000002</c:v>
                      </c:pt>
                      <c:pt idx="36">
                        <c:v>97.550533333333348</c:v>
                      </c:pt>
                      <c:pt idx="37">
                        <c:v>97.53713333333333</c:v>
                      </c:pt>
                      <c:pt idx="38">
                        <c:v>98.347333333333324</c:v>
                      </c:pt>
                      <c:pt idx="39">
                        <c:v>98.333399999999983</c:v>
                      </c:pt>
                      <c:pt idx="40">
                        <c:v>98.522533333333314</c:v>
                      </c:pt>
                      <c:pt idx="41">
                        <c:v>99.01260000000002</c:v>
                      </c:pt>
                      <c:pt idx="42">
                        <c:v>99.541466666666651</c:v>
                      </c:pt>
                      <c:pt idx="43">
                        <c:v>101.08686666666667</c:v>
                      </c:pt>
                      <c:pt idx="44">
                        <c:v>101.05626666666667</c:v>
                      </c:pt>
                      <c:pt idx="45">
                        <c:v>100.06726666666667</c:v>
                      </c:pt>
                      <c:pt idx="46">
                        <c:v>99.087599999999981</c:v>
                      </c:pt>
                      <c:pt idx="47">
                        <c:v>99.607133333333365</c:v>
                      </c:pt>
                      <c:pt idx="48">
                        <c:v>98.065133333333335</c:v>
                      </c:pt>
                      <c:pt idx="49">
                        <c:v>97.743600000000001</c:v>
                      </c:pt>
                      <c:pt idx="50">
                        <c:v>97.081533333333326</c:v>
                      </c:pt>
                      <c:pt idx="51">
                        <c:v>97.092066666666653</c:v>
                      </c:pt>
                      <c:pt idx="52">
                        <c:v>98.07459999999999</c:v>
                      </c:pt>
                      <c:pt idx="53">
                        <c:v>97.702000000000012</c:v>
                      </c:pt>
                      <c:pt idx="54">
                        <c:v>98.031133333333329</c:v>
                      </c:pt>
                      <c:pt idx="55">
                        <c:v>97.164866666666683</c:v>
                      </c:pt>
                      <c:pt idx="56">
                        <c:v>97.302800000000005</c:v>
                      </c:pt>
                      <c:pt idx="57">
                        <c:v>97.13000000000001</c:v>
                      </c:pt>
                      <c:pt idx="58">
                        <c:v>96.453333333333333</c:v>
                      </c:pt>
                      <c:pt idx="59">
                        <c:v>97.071333333333328</c:v>
                      </c:pt>
                      <c:pt idx="60">
                        <c:v>96.553066666666666</c:v>
                      </c:pt>
                      <c:pt idx="61">
                        <c:v>97.713066666666663</c:v>
                      </c:pt>
                      <c:pt idx="62">
                        <c:v>97.558466666666675</c:v>
                      </c:pt>
                      <c:pt idx="63">
                        <c:v>97.679599999999994</c:v>
                      </c:pt>
                      <c:pt idx="64">
                        <c:v>97.964799999999997</c:v>
                      </c:pt>
                    </c:numCache>
                  </c:numRef>
                </c:val>
                <c:smooth val="0"/>
                <c:extLst xmlns:c15="http://schemas.microsoft.com/office/drawing/2012/chart">
                  <c:ext xmlns:c16="http://schemas.microsoft.com/office/drawing/2014/chart" uri="{C3380CC4-5D6E-409C-BE32-E72D297353CC}">
                    <c16:uniqueId val="{00000009-A74E-43EC-ACDF-1CA2D59ACD5D}"/>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Average!$R$38</c15:sqref>
                        </c15:formulaRef>
                      </c:ext>
                    </c:extLst>
                    <c:strCache>
                      <c:ptCount val="1"/>
                      <c:pt idx="0">
                        <c:v>MSCI Singapore</c:v>
                      </c:pt>
                    </c:strCache>
                  </c:strRef>
                </c:tx>
                <c:spPr>
                  <a:ln w="12700" cap="rnd" cmpd="sng" algn="ctr">
                    <a:solidFill>
                      <a:srgbClr val="90A723"/>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R$79:$R$143</c15:sqref>
                        </c15:formulaRef>
                      </c:ext>
                    </c:extLst>
                    <c:numCache>
                      <c:formatCode>0.0</c:formatCode>
                      <c:ptCount val="65"/>
                      <c:pt idx="0">
                        <c:v>102.44073333333334</c:v>
                      </c:pt>
                      <c:pt idx="1">
                        <c:v>101.74593333333334</c:v>
                      </c:pt>
                      <c:pt idx="2">
                        <c:v>102.72786666666666</c:v>
                      </c:pt>
                      <c:pt idx="3">
                        <c:v>103.59513333333332</c:v>
                      </c:pt>
                      <c:pt idx="4">
                        <c:v>103.99833333333335</c:v>
                      </c:pt>
                      <c:pt idx="5">
                        <c:v>103.60966666666667</c:v>
                      </c:pt>
                      <c:pt idx="6">
                        <c:v>103.01046666666667</c:v>
                      </c:pt>
                      <c:pt idx="7">
                        <c:v>103.8772</c:v>
                      </c:pt>
                      <c:pt idx="8">
                        <c:v>102.242</c:v>
                      </c:pt>
                      <c:pt idx="9">
                        <c:v>102.473</c:v>
                      </c:pt>
                      <c:pt idx="10">
                        <c:v>101.84226666666667</c:v>
                      </c:pt>
                      <c:pt idx="11">
                        <c:v>100.86066666666666</c:v>
                      </c:pt>
                      <c:pt idx="12">
                        <c:v>100</c:v>
                      </c:pt>
                      <c:pt idx="13">
                        <c:v>97.817733333333337</c:v>
                      </c:pt>
                      <c:pt idx="14">
                        <c:v>97.815733333333327</c:v>
                      </c:pt>
                      <c:pt idx="15">
                        <c:v>97.764133333333334</c:v>
                      </c:pt>
                      <c:pt idx="16">
                        <c:v>97.727599999999995</c:v>
                      </c:pt>
                      <c:pt idx="17">
                        <c:v>97.648600000000002</c:v>
                      </c:pt>
                      <c:pt idx="18">
                        <c:v>96.52566666666668</c:v>
                      </c:pt>
                      <c:pt idx="19">
                        <c:v>96.344666666666669</c:v>
                      </c:pt>
                      <c:pt idx="20">
                        <c:v>97.552533333333329</c:v>
                      </c:pt>
                      <c:pt idx="21">
                        <c:v>97.55453333333331</c:v>
                      </c:pt>
                      <c:pt idx="22">
                        <c:v>97.000733333333329</c:v>
                      </c:pt>
                      <c:pt idx="23">
                        <c:v>95.008733333333353</c:v>
                      </c:pt>
                      <c:pt idx="24">
                        <c:v>94.610600000000005</c:v>
                      </c:pt>
                      <c:pt idx="25">
                        <c:v>93.66706666666667</c:v>
                      </c:pt>
                      <c:pt idx="26">
                        <c:v>94.025599999999997</c:v>
                      </c:pt>
                      <c:pt idx="27">
                        <c:v>94.198066666666662</c:v>
                      </c:pt>
                      <c:pt idx="28">
                        <c:v>94.58686666666668</c:v>
                      </c:pt>
                      <c:pt idx="29">
                        <c:v>93.544600000000003</c:v>
                      </c:pt>
                      <c:pt idx="30">
                        <c:v>92.488199999999992</c:v>
                      </c:pt>
                      <c:pt idx="31">
                        <c:v>92.03206666666668</c:v>
                      </c:pt>
                      <c:pt idx="32">
                        <c:v>93.409533333333329</c:v>
                      </c:pt>
                      <c:pt idx="33">
                        <c:v>94.055999999999997</c:v>
                      </c:pt>
                      <c:pt idx="34">
                        <c:v>94.746533333333318</c:v>
                      </c:pt>
                      <c:pt idx="35">
                        <c:v>94.599000000000004</c:v>
                      </c:pt>
                      <c:pt idx="36">
                        <c:v>95.26306666666666</c:v>
                      </c:pt>
                      <c:pt idx="37">
                        <c:v>95.756933333333336</c:v>
                      </c:pt>
                      <c:pt idx="38">
                        <c:v>95.673599999999993</c:v>
                      </c:pt>
                      <c:pt idx="39">
                        <c:v>97.062066666666681</c:v>
                      </c:pt>
                      <c:pt idx="40">
                        <c:v>97.395333333333326</c:v>
                      </c:pt>
                      <c:pt idx="41">
                        <c:v>98.671599999999998</c:v>
                      </c:pt>
                      <c:pt idx="42">
                        <c:v>99.797799999999995</c:v>
                      </c:pt>
                      <c:pt idx="43">
                        <c:v>101.59913333333333</c:v>
                      </c:pt>
                      <c:pt idx="44">
                        <c:v>101.87846666666671</c:v>
                      </c:pt>
                      <c:pt idx="45">
                        <c:v>103.08473333333335</c:v>
                      </c:pt>
                      <c:pt idx="46">
                        <c:v>103.17253333333333</c:v>
                      </c:pt>
                      <c:pt idx="47">
                        <c:v>103.75880000000001</c:v>
                      </c:pt>
                      <c:pt idx="48">
                        <c:v>104.58886666666668</c:v>
                      </c:pt>
                      <c:pt idx="49">
                        <c:v>104.37346666666669</c:v>
                      </c:pt>
                      <c:pt idx="50">
                        <c:v>103.96773333333331</c:v>
                      </c:pt>
                      <c:pt idx="51">
                        <c:v>104.74566666666665</c:v>
                      </c:pt>
                      <c:pt idx="52">
                        <c:v>104.50146666666666</c:v>
                      </c:pt>
                      <c:pt idx="53">
                        <c:v>104.62960000000001</c:v>
                      </c:pt>
                      <c:pt idx="54">
                        <c:v>105.29999999999998</c:v>
                      </c:pt>
                      <c:pt idx="55">
                        <c:v>104.02986666666669</c:v>
                      </c:pt>
                      <c:pt idx="56">
                        <c:v>105.24606666666665</c:v>
                      </c:pt>
                      <c:pt idx="57">
                        <c:v>104.55760000000002</c:v>
                      </c:pt>
                      <c:pt idx="58">
                        <c:v>103.96566666666668</c:v>
                      </c:pt>
                      <c:pt idx="59">
                        <c:v>105.05633333333334</c:v>
                      </c:pt>
                      <c:pt idx="60">
                        <c:v>104.61139999999999</c:v>
                      </c:pt>
                      <c:pt idx="61">
                        <c:v>105.43346666666667</c:v>
                      </c:pt>
                      <c:pt idx="62">
                        <c:v>105.64533333333331</c:v>
                      </c:pt>
                      <c:pt idx="63">
                        <c:v>105.06426666666668</c:v>
                      </c:pt>
                      <c:pt idx="64">
                        <c:v>103.62813333333334</c:v>
                      </c:pt>
                    </c:numCache>
                  </c:numRef>
                </c:val>
                <c:smooth val="0"/>
                <c:extLst xmlns:c15="http://schemas.microsoft.com/office/drawing/2012/chart">
                  <c:ext xmlns:c16="http://schemas.microsoft.com/office/drawing/2014/chart" uri="{C3380CC4-5D6E-409C-BE32-E72D297353CC}">
                    <c16:uniqueId val="{0000000A-A74E-43EC-ACDF-1CA2D59ACD5D}"/>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Average!$S$38</c15:sqref>
                        </c15:formulaRef>
                      </c:ext>
                    </c:extLst>
                    <c:strCache>
                      <c:ptCount val="1"/>
                      <c:pt idx="0">
                        <c:v>MSCI Hong Kong</c:v>
                      </c:pt>
                    </c:strCache>
                  </c:strRef>
                </c:tx>
                <c:spPr>
                  <a:ln w="12700" cap="rnd" cmpd="sng" algn="ctr">
                    <a:solidFill>
                      <a:srgbClr val="AFBCD5"/>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S$79:$S$143</c15:sqref>
                        </c15:formulaRef>
                      </c:ext>
                    </c:extLst>
                    <c:numCache>
                      <c:formatCode>0.0</c:formatCode>
                      <c:ptCount val="65"/>
                      <c:pt idx="0">
                        <c:v>99.305933333333329</c:v>
                      </c:pt>
                      <c:pt idx="1">
                        <c:v>97.942000000000021</c:v>
                      </c:pt>
                      <c:pt idx="2">
                        <c:v>98.721533333333326</c:v>
                      </c:pt>
                      <c:pt idx="3">
                        <c:v>98.416733333333326</c:v>
                      </c:pt>
                      <c:pt idx="4">
                        <c:v>98.934666666666701</c:v>
                      </c:pt>
                      <c:pt idx="5">
                        <c:v>99.340466666666686</c:v>
                      </c:pt>
                      <c:pt idx="6">
                        <c:v>101.41873333333332</c:v>
                      </c:pt>
                      <c:pt idx="7">
                        <c:v>102.90780000000001</c:v>
                      </c:pt>
                      <c:pt idx="8">
                        <c:v>102.89353333333334</c:v>
                      </c:pt>
                      <c:pt idx="9">
                        <c:v>104.68126666666667</c:v>
                      </c:pt>
                      <c:pt idx="10">
                        <c:v>103.58300000000003</c:v>
                      </c:pt>
                      <c:pt idx="11">
                        <c:v>103.07513333333333</c:v>
                      </c:pt>
                      <c:pt idx="12">
                        <c:v>100</c:v>
                      </c:pt>
                      <c:pt idx="13">
                        <c:v>98.37700000000001</c:v>
                      </c:pt>
                      <c:pt idx="14">
                        <c:v>98.69313333333335</c:v>
                      </c:pt>
                      <c:pt idx="15">
                        <c:v>99.533266666666663</c:v>
                      </c:pt>
                      <c:pt idx="16">
                        <c:v>98.8262</c:v>
                      </c:pt>
                      <c:pt idx="17">
                        <c:v>99.831333333333333</c:v>
                      </c:pt>
                      <c:pt idx="18">
                        <c:v>99.819266666666664</c:v>
                      </c:pt>
                      <c:pt idx="19">
                        <c:v>99.54613333333333</c:v>
                      </c:pt>
                      <c:pt idx="20">
                        <c:v>99.898133333333348</c:v>
                      </c:pt>
                      <c:pt idx="21">
                        <c:v>99.058066666666676</c:v>
                      </c:pt>
                      <c:pt idx="22">
                        <c:v>99.549333333333351</c:v>
                      </c:pt>
                      <c:pt idx="23">
                        <c:v>98.839133333333336</c:v>
                      </c:pt>
                      <c:pt idx="24">
                        <c:v>100.0578</c:v>
                      </c:pt>
                      <c:pt idx="25">
                        <c:v>98.843400000000003</c:v>
                      </c:pt>
                      <c:pt idx="26">
                        <c:v>99.617199999999983</c:v>
                      </c:pt>
                      <c:pt idx="27">
                        <c:v>100.15186666666668</c:v>
                      </c:pt>
                      <c:pt idx="28">
                        <c:v>99.327399999999983</c:v>
                      </c:pt>
                      <c:pt idx="29">
                        <c:v>98.410999999999987</c:v>
                      </c:pt>
                      <c:pt idx="30">
                        <c:v>96.983133333333342</c:v>
                      </c:pt>
                      <c:pt idx="31">
                        <c:v>97.45353333333334</c:v>
                      </c:pt>
                      <c:pt idx="32">
                        <c:v>98.845133333333322</c:v>
                      </c:pt>
                      <c:pt idx="33">
                        <c:v>98.545599999999993</c:v>
                      </c:pt>
                      <c:pt idx="34">
                        <c:v>100.01506666666667</c:v>
                      </c:pt>
                      <c:pt idx="35">
                        <c:v>99.571466666666694</c:v>
                      </c:pt>
                      <c:pt idx="36">
                        <c:v>100.73166666666665</c:v>
                      </c:pt>
                      <c:pt idx="37">
                        <c:v>101.17566666666667</c:v>
                      </c:pt>
                      <c:pt idx="38">
                        <c:v>100.42006666666666</c:v>
                      </c:pt>
                      <c:pt idx="39">
                        <c:v>101.54066666666668</c:v>
                      </c:pt>
                      <c:pt idx="40">
                        <c:v>103.71393333333334</c:v>
                      </c:pt>
                      <c:pt idx="41">
                        <c:v>103.73033333333333</c:v>
                      </c:pt>
                      <c:pt idx="42">
                        <c:v>106.05026666666667</c:v>
                      </c:pt>
                      <c:pt idx="43">
                        <c:v>107.25926666666666</c:v>
                      </c:pt>
                      <c:pt idx="44">
                        <c:v>108.39786666666669</c:v>
                      </c:pt>
                      <c:pt idx="45">
                        <c:v>108.11933333333333</c:v>
                      </c:pt>
                      <c:pt idx="46">
                        <c:v>106.25373333333333</c:v>
                      </c:pt>
                      <c:pt idx="47">
                        <c:v>106.54419999999999</c:v>
                      </c:pt>
                      <c:pt idx="48">
                        <c:v>106.21226666666666</c:v>
                      </c:pt>
                      <c:pt idx="49">
                        <c:v>105.47286666666669</c:v>
                      </c:pt>
                      <c:pt idx="50">
                        <c:v>108.95486666666666</c:v>
                      </c:pt>
                      <c:pt idx="51">
                        <c:v>109.58486666666667</c:v>
                      </c:pt>
                      <c:pt idx="52">
                        <c:v>110.37853333333334</c:v>
                      </c:pt>
                      <c:pt idx="53">
                        <c:v>110.95459999999999</c:v>
                      </c:pt>
                      <c:pt idx="54">
                        <c:v>110.93153333333333</c:v>
                      </c:pt>
                      <c:pt idx="55">
                        <c:v>109.86053333333332</c:v>
                      </c:pt>
                      <c:pt idx="56">
                        <c:v>111.67253333333335</c:v>
                      </c:pt>
                      <c:pt idx="57">
                        <c:v>110.53986666666667</c:v>
                      </c:pt>
                      <c:pt idx="58">
                        <c:v>110.94946666666667</c:v>
                      </c:pt>
                      <c:pt idx="59">
                        <c:v>111.46946666666665</c:v>
                      </c:pt>
                      <c:pt idx="60">
                        <c:v>109.55926666666667</c:v>
                      </c:pt>
                      <c:pt idx="61">
                        <c:v>109.5748</c:v>
                      </c:pt>
                      <c:pt idx="62">
                        <c:v>109.70273333333334</c:v>
                      </c:pt>
                      <c:pt idx="63">
                        <c:v>110.90780000000001</c:v>
                      </c:pt>
                      <c:pt idx="64">
                        <c:v>108.77619999999999</c:v>
                      </c:pt>
                    </c:numCache>
                  </c:numRef>
                </c:val>
                <c:smooth val="0"/>
                <c:extLst xmlns:c15="http://schemas.microsoft.com/office/drawing/2012/chart">
                  <c:ext xmlns:c16="http://schemas.microsoft.com/office/drawing/2014/chart" uri="{C3380CC4-5D6E-409C-BE32-E72D297353CC}">
                    <c16:uniqueId val="{0000000B-A74E-43EC-ACDF-1CA2D59ACD5D}"/>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Average!$T$38</c15:sqref>
                        </c15:formulaRef>
                      </c:ext>
                    </c:extLst>
                    <c:strCache>
                      <c:ptCount val="1"/>
                      <c:pt idx="0">
                        <c:v>MSCI EM Asia</c:v>
                      </c:pt>
                    </c:strCache>
                  </c:strRef>
                </c:tx>
                <c:spPr>
                  <a:ln w="12700" cap="rnd" cmpd="sng" algn="ctr">
                    <a:solidFill>
                      <a:srgbClr val="55B1B4"/>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T$79:$T$143</c15:sqref>
                        </c15:formulaRef>
                      </c:ext>
                    </c:extLst>
                    <c:numCache>
                      <c:formatCode>0.0</c:formatCode>
                      <c:ptCount val="65"/>
                      <c:pt idx="0">
                        <c:v>98.493000000000009</c:v>
                      </c:pt>
                      <c:pt idx="1">
                        <c:v>98.080555555555549</c:v>
                      </c:pt>
                      <c:pt idx="2">
                        <c:v>99.913888888888877</c:v>
                      </c:pt>
                      <c:pt idx="3">
                        <c:v>99.417888888888896</c:v>
                      </c:pt>
                      <c:pt idx="4">
                        <c:v>100.89122222222221</c:v>
                      </c:pt>
                      <c:pt idx="5">
                        <c:v>100.71711111111111</c:v>
                      </c:pt>
                      <c:pt idx="6">
                        <c:v>98.912000000000006</c:v>
                      </c:pt>
                      <c:pt idx="7">
                        <c:v>99.233111111111114</c:v>
                      </c:pt>
                      <c:pt idx="8">
                        <c:v>98.331888888888884</c:v>
                      </c:pt>
                      <c:pt idx="9">
                        <c:v>100.56322222222224</c:v>
                      </c:pt>
                      <c:pt idx="10">
                        <c:v>100.30177777777779</c:v>
                      </c:pt>
                      <c:pt idx="11">
                        <c:v>98.894444444444446</c:v>
                      </c:pt>
                      <c:pt idx="12">
                        <c:v>100</c:v>
                      </c:pt>
                      <c:pt idx="13">
                        <c:v>100.91822222222223</c:v>
                      </c:pt>
                      <c:pt idx="14">
                        <c:v>101.89833333333334</c:v>
                      </c:pt>
                      <c:pt idx="15">
                        <c:v>102.67677777777777</c:v>
                      </c:pt>
                      <c:pt idx="16">
                        <c:v>102.26022222222224</c:v>
                      </c:pt>
                      <c:pt idx="17">
                        <c:v>102.74244444444444</c:v>
                      </c:pt>
                      <c:pt idx="18">
                        <c:v>102.08866666666667</c:v>
                      </c:pt>
                      <c:pt idx="19">
                        <c:v>103.58844444444446</c:v>
                      </c:pt>
                      <c:pt idx="20">
                        <c:v>102.43533333333335</c:v>
                      </c:pt>
                      <c:pt idx="21">
                        <c:v>100.6708888888889</c:v>
                      </c:pt>
                      <c:pt idx="22">
                        <c:v>100.02766666666666</c:v>
                      </c:pt>
                      <c:pt idx="23">
                        <c:v>100.85588888888888</c:v>
                      </c:pt>
                      <c:pt idx="24">
                        <c:v>101.17</c:v>
                      </c:pt>
                      <c:pt idx="25">
                        <c:v>99.519222222222226</c:v>
                      </c:pt>
                      <c:pt idx="26">
                        <c:v>102.05855555555554</c:v>
                      </c:pt>
                      <c:pt idx="27">
                        <c:v>102.93100000000001</c:v>
                      </c:pt>
                      <c:pt idx="28">
                        <c:v>102.31377777777777</c:v>
                      </c:pt>
                      <c:pt idx="29">
                        <c:v>101.25144444444446</c:v>
                      </c:pt>
                      <c:pt idx="30">
                        <c:v>99.924888888888901</c:v>
                      </c:pt>
                      <c:pt idx="31">
                        <c:v>98.978777777777779</c:v>
                      </c:pt>
                      <c:pt idx="32">
                        <c:v>101.76088888888889</c:v>
                      </c:pt>
                      <c:pt idx="33">
                        <c:v>100.88033333333333</c:v>
                      </c:pt>
                      <c:pt idx="34">
                        <c:v>103.39011111111111</c:v>
                      </c:pt>
                      <c:pt idx="35">
                        <c:v>103.938</c:v>
                      </c:pt>
                      <c:pt idx="36">
                        <c:v>104.85211111111111</c:v>
                      </c:pt>
                      <c:pt idx="37">
                        <c:v>104.54744444444444</c:v>
                      </c:pt>
                      <c:pt idx="38">
                        <c:v>104.16500000000001</c:v>
                      </c:pt>
                      <c:pt idx="39">
                        <c:v>104.82988888888889</c:v>
                      </c:pt>
                      <c:pt idx="40">
                        <c:v>105.35477777777777</c:v>
                      </c:pt>
                      <c:pt idx="41">
                        <c:v>106.89366666666666</c:v>
                      </c:pt>
                      <c:pt idx="42">
                        <c:v>107.81255555555555</c:v>
                      </c:pt>
                      <c:pt idx="43">
                        <c:v>110.24566666666666</c:v>
                      </c:pt>
                      <c:pt idx="44">
                        <c:v>111.47544444444445</c:v>
                      </c:pt>
                      <c:pt idx="45">
                        <c:v>109.20099999999998</c:v>
                      </c:pt>
                      <c:pt idx="46">
                        <c:v>109.63844444444443</c:v>
                      </c:pt>
                      <c:pt idx="47">
                        <c:v>110.03544444444445</c:v>
                      </c:pt>
                      <c:pt idx="48">
                        <c:v>111.42199999999998</c:v>
                      </c:pt>
                      <c:pt idx="49">
                        <c:v>111.78899999999999</c:v>
                      </c:pt>
                      <c:pt idx="50">
                        <c:v>112.96755555555556</c:v>
                      </c:pt>
                      <c:pt idx="51">
                        <c:v>113.46377777777779</c:v>
                      </c:pt>
                      <c:pt idx="52">
                        <c:v>114.89266666666668</c:v>
                      </c:pt>
                      <c:pt idx="53">
                        <c:v>114.64566666666668</c:v>
                      </c:pt>
                      <c:pt idx="54">
                        <c:v>114.2001111111111</c:v>
                      </c:pt>
                      <c:pt idx="55">
                        <c:v>112.22077777777778</c:v>
                      </c:pt>
                      <c:pt idx="56">
                        <c:v>114.10755555555556</c:v>
                      </c:pt>
                      <c:pt idx="57">
                        <c:v>115.38355555555553</c:v>
                      </c:pt>
                      <c:pt idx="58">
                        <c:v>115.31144444444443</c:v>
                      </c:pt>
                      <c:pt idx="59">
                        <c:v>116.78477777777776</c:v>
                      </c:pt>
                      <c:pt idx="60">
                        <c:v>117.63266666666667</c:v>
                      </c:pt>
                      <c:pt idx="61">
                        <c:v>118.67511111111109</c:v>
                      </c:pt>
                      <c:pt idx="62">
                        <c:v>118.97066666666666</c:v>
                      </c:pt>
                      <c:pt idx="63">
                        <c:v>118.32811111111111</c:v>
                      </c:pt>
                      <c:pt idx="64">
                        <c:v>116.82111111111112</c:v>
                      </c:pt>
                    </c:numCache>
                  </c:numRef>
                </c:val>
                <c:smooth val="0"/>
                <c:extLst xmlns:c15="http://schemas.microsoft.com/office/drawing/2012/chart">
                  <c:ext xmlns:c16="http://schemas.microsoft.com/office/drawing/2014/chart" uri="{C3380CC4-5D6E-409C-BE32-E72D297353CC}">
                    <c16:uniqueId val="{0000000C-A74E-43EC-ACDF-1CA2D59ACD5D}"/>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Average!$U$38</c15:sqref>
                        </c15:formulaRef>
                      </c:ext>
                    </c:extLst>
                    <c:strCache>
                      <c:ptCount val="1"/>
                      <c:pt idx="0">
                        <c:v>MSCI EEMEA</c:v>
                      </c:pt>
                    </c:strCache>
                  </c:strRef>
                </c:tx>
                <c:spPr>
                  <a:ln w="12700" cap="rnd" cmpd="sng" algn="ctr">
                    <a:solidFill>
                      <a:srgbClr val="E5B01C"/>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U$79:$U$143</c15:sqref>
                        </c15:formulaRef>
                      </c:ext>
                    </c:extLst>
                    <c:numCache>
                      <c:formatCode>0.0</c:formatCode>
                      <c:ptCount val="65"/>
                      <c:pt idx="0">
                        <c:v>107.36599999999999</c:v>
                      </c:pt>
                      <c:pt idx="1">
                        <c:v>108.82816666666666</c:v>
                      </c:pt>
                      <c:pt idx="2">
                        <c:v>109.5295</c:v>
                      </c:pt>
                      <c:pt idx="3">
                        <c:v>109.17916666666669</c:v>
                      </c:pt>
                      <c:pt idx="4">
                        <c:v>109.42516666666667</c:v>
                      </c:pt>
                      <c:pt idx="5">
                        <c:v>106.44033333333334</c:v>
                      </c:pt>
                      <c:pt idx="6">
                        <c:v>103.73700000000001</c:v>
                      </c:pt>
                      <c:pt idx="7">
                        <c:v>101.64433333333335</c:v>
                      </c:pt>
                      <c:pt idx="8">
                        <c:v>99.940999999999988</c:v>
                      </c:pt>
                      <c:pt idx="9">
                        <c:v>101.06633333333333</c:v>
                      </c:pt>
                      <c:pt idx="10">
                        <c:v>100.452</c:v>
                      </c:pt>
                      <c:pt idx="11">
                        <c:v>99.850499999999997</c:v>
                      </c:pt>
                      <c:pt idx="12">
                        <c:v>100</c:v>
                      </c:pt>
                      <c:pt idx="13">
                        <c:v>96.497500000000002</c:v>
                      </c:pt>
                      <c:pt idx="14">
                        <c:v>94.501666666666665</c:v>
                      </c:pt>
                      <c:pt idx="15">
                        <c:v>96.805833333333325</c:v>
                      </c:pt>
                      <c:pt idx="16">
                        <c:v>97.81583333333333</c:v>
                      </c:pt>
                      <c:pt idx="17">
                        <c:v>99.780999999999992</c:v>
                      </c:pt>
                      <c:pt idx="18">
                        <c:v>100.82266666666668</c:v>
                      </c:pt>
                      <c:pt idx="19">
                        <c:v>99.612833333333342</c:v>
                      </c:pt>
                      <c:pt idx="20">
                        <c:v>99.26733333333334</c:v>
                      </c:pt>
                      <c:pt idx="21">
                        <c:v>98.353166666666667</c:v>
                      </c:pt>
                      <c:pt idx="22">
                        <c:v>95.7</c:v>
                      </c:pt>
                      <c:pt idx="23">
                        <c:v>97.067333333333337</c:v>
                      </c:pt>
                      <c:pt idx="24">
                        <c:v>98.853999999999999</c:v>
                      </c:pt>
                      <c:pt idx="25">
                        <c:v>97.727666666666664</c:v>
                      </c:pt>
                      <c:pt idx="26">
                        <c:v>100.98866666666667</c:v>
                      </c:pt>
                      <c:pt idx="27">
                        <c:v>101.32549999999999</c:v>
                      </c:pt>
                      <c:pt idx="28">
                        <c:v>101.60533333333335</c:v>
                      </c:pt>
                      <c:pt idx="29">
                        <c:v>101.0245</c:v>
                      </c:pt>
                      <c:pt idx="30">
                        <c:v>99.790166666666678</c:v>
                      </c:pt>
                      <c:pt idx="31">
                        <c:v>100.29266666666666</c:v>
                      </c:pt>
                      <c:pt idx="32">
                        <c:v>102.06700000000001</c:v>
                      </c:pt>
                      <c:pt idx="33">
                        <c:v>101.53066666666666</c:v>
                      </c:pt>
                      <c:pt idx="34">
                        <c:v>102.22699999999999</c:v>
                      </c:pt>
                      <c:pt idx="35">
                        <c:v>103.02933333333333</c:v>
                      </c:pt>
                      <c:pt idx="36">
                        <c:v>103.62083333333334</c:v>
                      </c:pt>
                      <c:pt idx="37">
                        <c:v>103.99250000000001</c:v>
                      </c:pt>
                      <c:pt idx="38">
                        <c:v>102.18366666666667</c:v>
                      </c:pt>
                      <c:pt idx="39">
                        <c:v>100.46050000000001</c:v>
                      </c:pt>
                      <c:pt idx="40">
                        <c:v>100.94116666666667</c:v>
                      </c:pt>
                      <c:pt idx="41">
                        <c:v>100.92450000000001</c:v>
                      </c:pt>
                      <c:pt idx="42">
                        <c:v>100.90066666666667</c:v>
                      </c:pt>
                      <c:pt idx="43">
                        <c:v>101.82816666666666</c:v>
                      </c:pt>
                      <c:pt idx="44">
                        <c:v>100.15433333333334</c:v>
                      </c:pt>
                      <c:pt idx="45">
                        <c:v>97.934666666666658</c:v>
                      </c:pt>
                      <c:pt idx="46">
                        <c:v>99.14766666666668</c:v>
                      </c:pt>
                      <c:pt idx="47">
                        <c:v>98.981333333333339</c:v>
                      </c:pt>
                      <c:pt idx="48">
                        <c:v>100.31833333333333</c:v>
                      </c:pt>
                      <c:pt idx="49">
                        <c:v>100.15249999999999</c:v>
                      </c:pt>
                      <c:pt idx="50">
                        <c:v>99.038166666666669</c:v>
                      </c:pt>
                      <c:pt idx="51">
                        <c:v>99.150500000000008</c:v>
                      </c:pt>
                      <c:pt idx="52">
                        <c:v>100.97750000000001</c:v>
                      </c:pt>
                      <c:pt idx="53">
                        <c:v>101.52216666666668</c:v>
                      </c:pt>
                      <c:pt idx="54">
                        <c:v>102.35683333333334</c:v>
                      </c:pt>
                      <c:pt idx="55">
                        <c:v>102.1155</c:v>
                      </c:pt>
                      <c:pt idx="56">
                        <c:v>103.26933333333334</c:v>
                      </c:pt>
                      <c:pt idx="57">
                        <c:v>103.3935</c:v>
                      </c:pt>
                      <c:pt idx="58">
                        <c:v>103.964</c:v>
                      </c:pt>
                      <c:pt idx="59">
                        <c:v>103.73099999999999</c:v>
                      </c:pt>
                      <c:pt idx="60">
                        <c:v>102.23516666666666</c:v>
                      </c:pt>
                      <c:pt idx="61">
                        <c:v>103.39616666666667</c:v>
                      </c:pt>
                      <c:pt idx="62">
                        <c:v>104.06</c:v>
                      </c:pt>
                      <c:pt idx="63">
                        <c:v>101.95633333333335</c:v>
                      </c:pt>
                      <c:pt idx="64">
                        <c:v>101.07083333333334</c:v>
                      </c:pt>
                    </c:numCache>
                  </c:numRef>
                </c:val>
                <c:smooth val="0"/>
                <c:extLst xmlns:c15="http://schemas.microsoft.com/office/drawing/2012/chart">
                  <c:ext xmlns:c16="http://schemas.microsoft.com/office/drawing/2014/chart" uri="{C3380CC4-5D6E-409C-BE32-E72D297353CC}">
                    <c16:uniqueId val="{0000000D-A74E-43EC-ACDF-1CA2D59ACD5D}"/>
                  </c:ext>
                </c:extLst>
              </c15:ser>
            </c15:filteredLineSeries>
            <c15:filteredLineSeries>
              <c15:ser>
                <c:idx val="15"/>
                <c:order val="14"/>
                <c:tx>
                  <c:strRef>
                    <c:extLst xmlns:c15="http://schemas.microsoft.com/office/drawing/2012/chart">
                      <c:ext xmlns:c15="http://schemas.microsoft.com/office/drawing/2012/chart" uri="{02D57815-91ED-43cb-92C2-25804820EDAC}">
                        <c15:formulaRef>
                          <c15:sqref>Average!$V$38</c15:sqref>
                        </c15:formulaRef>
                      </c:ext>
                    </c:extLst>
                    <c:strCache>
                      <c:ptCount val="1"/>
                      <c:pt idx="0">
                        <c:v>MSCI LatAm</c:v>
                      </c:pt>
                    </c:strCache>
                  </c:strRef>
                </c:tx>
                <c:spPr>
                  <a:ln w="12700" cap="rnd" cmpd="sng" algn="ctr">
                    <a:solidFill>
                      <a:srgbClr val="3A578A"/>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V$79:$V$143</c15:sqref>
                        </c15:formulaRef>
                      </c:ext>
                    </c:extLst>
                    <c:numCache>
                      <c:formatCode>0.0</c:formatCode>
                      <c:ptCount val="65"/>
                      <c:pt idx="0">
                        <c:v>97.179111111111112</c:v>
                      </c:pt>
                      <c:pt idx="1">
                        <c:v>99.246333333333325</c:v>
                      </c:pt>
                      <c:pt idx="2">
                        <c:v>101.06766666666668</c:v>
                      </c:pt>
                      <c:pt idx="3">
                        <c:v>102.08388888888889</c:v>
                      </c:pt>
                      <c:pt idx="4">
                        <c:v>101.57433333333331</c:v>
                      </c:pt>
                      <c:pt idx="5">
                        <c:v>101.34099999999999</c:v>
                      </c:pt>
                      <c:pt idx="6">
                        <c:v>101.01922222222225</c:v>
                      </c:pt>
                      <c:pt idx="7">
                        <c:v>99.197999999999993</c:v>
                      </c:pt>
                      <c:pt idx="8">
                        <c:v>97.088000000000008</c:v>
                      </c:pt>
                      <c:pt idx="9">
                        <c:v>96.605555555555554</c:v>
                      </c:pt>
                      <c:pt idx="10">
                        <c:v>97.60566666666665</c:v>
                      </c:pt>
                      <c:pt idx="11">
                        <c:v>97.290999999999997</c:v>
                      </c:pt>
                      <c:pt idx="12">
                        <c:v>100</c:v>
                      </c:pt>
                      <c:pt idx="13">
                        <c:v>97.875</c:v>
                      </c:pt>
                      <c:pt idx="14">
                        <c:v>94.25566666666667</c:v>
                      </c:pt>
                      <c:pt idx="15">
                        <c:v>94.893666666666675</c:v>
                      </c:pt>
                      <c:pt idx="16">
                        <c:v>93.825555555555553</c:v>
                      </c:pt>
                      <c:pt idx="17">
                        <c:v>95.825111111111099</c:v>
                      </c:pt>
                      <c:pt idx="18">
                        <c:v>95.947111111111113</c:v>
                      </c:pt>
                      <c:pt idx="19">
                        <c:v>95.298222222222222</c:v>
                      </c:pt>
                      <c:pt idx="20">
                        <c:v>94.453333333333333</c:v>
                      </c:pt>
                      <c:pt idx="21">
                        <c:v>94.134333333333345</c:v>
                      </c:pt>
                      <c:pt idx="22">
                        <c:v>91.914666666666662</c:v>
                      </c:pt>
                      <c:pt idx="23">
                        <c:v>92.199888888888893</c:v>
                      </c:pt>
                      <c:pt idx="24">
                        <c:v>93.101888888888894</c:v>
                      </c:pt>
                      <c:pt idx="25">
                        <c:v>91.046444444444461</c:v>
                      </c:pt>
                      <c:pt idx="26">
                        <c:v>93.277777777777771</c:v>
                      </c:pt>
                      <c:pt idx="27">
                        <c:v>91.382444444444431</c:v>
                      </c:pt>
                      <c:pt idx="28">
                        <c:v>89.868444444444449</c:v>
                      </c:pt>
                      <c:pt idx="29">
                        <c:v>90.409555555555542</c:v>
                      </c:pt>
                      <c:pt idx="30">
                        <c:v>92.169444444444437</c:v>
                      </c:pt>
                      <c:pt idx="31">
                        <c:v>92.287111111111116</c:v>
                      </c:pt>
                      <c:pt idx="32">
                        <c:v>95.737444444444435</c:v>
                      </c:pt>
                      <c:pt idx="33">
                        <c:v>95.950222222222223</c:v>
                      </c:pt>
                      <c:pt idx="34">
                        <c:v>94.920333333333332</c:v>
                      </c:pt>
                      <c:pt idx="35">
                        <c:v>95.202555555555563</c:v>
                      </c:pt>
                      <c:pt idx="36">
                        <c:v>95.334555555555568</c:v>
                      </c:pt>
                      <c:pt idx="37">
                        <c:v>94.961777777777769</c:v>
                      </c:pt>
                      <c:pt idx="38">
                        <c:v>95.916444444444451</c:v>
                      </c:pt>
                      <c:pt idx="39">
                        <c:v>95.525444444444432</c:v>
                      </c:pt>
                      <c:pt idx="40">
                        <c:v>98.158888888888896</c:v>
                      </c:pt>
                      <c:pt idx="41">
                        <c:v>98.674555555555543</c:v>
                      </c:pt>
                      <c:pt idx="42">
                        <c:v>98.851444444444439</c:v>
                      </c:pt>
                      <c:pt idx="43">
                        <c:v>102.78222222222222</c:v>
                      </c:pt>
                      <c:pt idx="44">
                        <c:v>100.40222222222222</c:v>
                      </c:pt>
                      <c:pt idx="45">
                        <c:v>99.895666666666656</c:v>
                      </c:pt>
                      <c:pt idx="46">
                        <c:v>98.284444444444432</c:v>
                      </c:pt>
                      <c:pt idx="47">
                        <c:v>98.067222222222213</c:v>
                      </c:pt>
                      <c:pt idx="48">
                        <c:v>100.096</c:v>
                      </c:pt>
                      <c:pt idx="49">
                        <c:v>100.53855555555555</c:v>
                      </c:pt>
                      <c:pt idx="50">
                        <c:v>101.30655555555556</c:v>
                      </c:pt>
                      <c:pt idx="51">
                        <c:v>101.97222222222223</c:v>
                      </c:pt>
                      <c:pt idx="52">
                        <c:v>101.88722222222225</c:v>
                      </c:pt>
                      <c:pt idx="53">
                        <c:v>101.98633333333333</c:v>
                      </c:pt>
                      <c:pt idx="54">
                        <c:v>98.907555555555561</c:v>
                      </c:pt>
                      <c:pt idx="55">
                        <c:v>98.947777777777787</c:v>
                      </c:pt>
                      <c:pt idx="56">
                        <c:v>100.71577777777777</c:v>
                      </c:pt>
                      <c:pt idx="57">
                        <c:v>101.56866666666667</c:v>
                      </c:pt>
                      <c:pt idx="58">
                        <c:v>103.13188888888889</c:v>
                      </c:pt>
                      <c:pt idx="59">
                        <c:v>102.42266666666666</c:v>
                      </c:pt>
                      <c:pt idx="60">
                        <c:v>102.28177777777776</c:v>
                      </c:pt>
                      <c:pt idx="61">
                        <c:v>103.24033333333334</c:v>
                      </c:pt>
                      <c:pt idx="62">
                        <c:v>104.154</c:v>
                      </c:pt>
                      <c:pt idx="63">
                        <c:v>104.03588888888889</c:v>
                      </c:pt>
                      <c:pt idx="64">
                        <c:v>104.82411111111111</c:v>
                      </c:pt>
                    </c:numCache>
                  </c:numRef>
                </c:val>
                <c:smooth val="0"/>
                <c:extLst xmlns:c15="http://schemas.microsoft.com/office/drawing/2012/chart">
                  <c:ext xmlns:c16="http://schemas.microsoft.com/office/drawing/2014/chart" uri="{C3380CC4-5D6E-409C-BE32-E72D297353CC}">
                    <c16:uniqueId val="{0000000E-A74E-43EC-ACDF-1CA2D59ACD5D}"/>
                  </c:ext>
                </c:extLst>
              </c15:ser>
            </c15:filteredLineSeries>
            <c15:filteredLineSeries>
              <c15:ser>
                <c:idx val="14"/>
                <c:order val="15"/>
                <c:tx>
                  <c:strRef>
                    <c:extLst xmlns:c15="http://schemas.microsoft.com/office/drawing/2012/chart">
                      <c:ext xmlns:c15="http://schemas.microsoft.com/office/drawing/2012/chart" uri="{02D57815-91ED-43cb-92C2-25804820EDAC}">
                        <c15:formulaRef>
                          <c15:sqref>Average!$W$38</c15:sqref>
                        </c15:formulaRef>
                      </c:ext>
                    </c:extLst>
                    <c:strCache>
                      <c:ptCount val="1"/>
                      <c:pt idx="0">
                        <c:v>MSCI India</c:v>
                      </c:pt>
                    </c:strCache>
                  </c:strRef>
                </c:tx>
                <c:spPr>
                  <a:ln w="12700" cap="rnd" cmpd="sng" algn="ctr">
                    <a:solidFill>
                      <a:srgbClr val="97D3CC"/>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W$79:$W$143</c15:sqref>
                        </c15:formulaRef>
                      </c:ext>
                    </c:extLst>
                    <c:numCache>
                      <c:formatCode>0.0</c:formatCode>
                      <c:ptCount val="65"/>
                      <c:pt idx="0">
                        <c:v>100.52700000000002</c:v>
                      </c:pt>
                      <c:pt idx="1">
                        <c:v>100.54114285714286</c:v>
                      </c:pt>
                      <c:pt idx="2">
                        <c:v>101.377</c:v>
                      </c:pt>
                      <c:pt idx="3">
                        <c:v>101.06871428571428</c:v>
                      </c:pt>
                      <c:pt idx="4">
                        <c:v>102.29800000000002</c:v>
                      </c:pt>
                      <c:pt idx="5">
                        <c:v>101.92685714285714</c:v>
                      </c:pt>
                      <c:pt idx="6">
                        <c:v>99.320428571428579</c:v>
                      </c:pt>
                      <c:pt idx="7">
                        <c:v>101.32542857142857</c:v>
                      </c:pt>
                      <c:pt idx="8">
                        <c:v>100.45657142857144</c:v>
                      </c:pt>
                      <c:pt idx="9">
                        <c:v>102.34071428571428</c:v>
                      </c:pt>
                      <c:pt idx="10">
                        <c:v>102.54128571428573</c:v>
                      </c:pt>
                      <c:pt idx="11">
                        <c:v>100.37500000000001</c:v>
                      </c:pt>
                      <c:pt idx="12">
                        <c:v>100</c:v>
                      </c:pt>
                      <c:pt idx="13">
                        <c:v>99.83642857142857</c:v>
                      </c:pt>
                      <c:pt idx="14">
                        <c:v>98.443571428571417</c:v>
                      </c:pt>
                      <c:pt idx="15">
                        <c:v>98.870857142857147</c:v>
                      </c:pt>
                      <c:pt idx="16">
                        <c:v>100.59728571428572</c:v>
                      </c:pt>
                      <c:pt idx="17">
                        <c:v>99.432999999999993</c:v>
                      </c:pt>
                      <c:pt idx="18">
                        <c:v>101.97614285714288</c:v>
                      </c:pt>
                      <c:pt idx="19">
                        <c:v>100.95657142857145</c:v>
                      </c:pt>
                      <c:pt idx="20">
                        <c:v>100.19785714285713</c:v>
                      </c:pt>
                      <c:pt idx="21">
                        <c:v>98.873714285714286</c:v>
                      </c:pt>
                      <c:pt idx="22">
                        <c:v>98.522571428571425</c:v>
                      </c:pt>
                      <c:pt idx="23">
                        <c:v>99.639714285714291</c:v>
                      </c:pt>
                      <c:pt idx="24">
                        <c:v>101.0392857142857</c:v>
                      </c:pt>
                      <c:pt idx="25">
                        <c:v>101.00757142857142</c:v>
                      </c:pt>
                      <c:pt idx="26">
                        <c:v>101.59157142857144</c:v>
                      </c:pt>
                      <c:pt idx="27">
                        <c:v>103.56285714285714</c:v>
                      </c:pt>
                      <c:pt idx="28">
                        <c:v>104.16828571428573</c:v>
                      </c:pt>
                      <c:pt idx="29">
                        <c:v>103.90114285714286</c:v>
                      </c:pt>
                      <c:pt idx="30">
                        <c:v>99.459285714285713</c:v>
                      </c:pt>
                      <c:pt idx="31">
                        <c:v>99.651714285714277</c:v>
                      </c:pt>
                      <c:pt idx="32">
                        <c:v>101.23414285714286</c:v>
                      </c:pt>
                      <c:pt idx="33">
                        <c:v>99.00628571428571</c:v>
                      </c:pt>
                      <c:pt idx="34">
                        <c:v>101.43899999999998</c:v>
                      </c:pt>
                      <c:pt idx="35">
                        <c:v>101.97814285714286</c:v>
                      </c:pt>
                      <c:pt idx="36">
                        <c:v>100.98514285714285</c:v>
                      </c:pt>
                      <c:pt idx="37">
                        <c:v>100.5067142857143</c:v>
                      </c:pt>
                      <c:pt idx="38">
                        <c:v>98.750714285714281</c:v>
                      </c:pt>
                      <c:pt idx="39">
                        <c:v>99.268000000000015</c:v>
                      </c:pt>
                      <c:pt idx="40">
                        <c:v>98.418428571428564</c:v>
                      </c:pt>
                      <c:pt idx="41">
                        <c:v>96.534857142857149</c:v>
                      </c:pt>
                      <c:pt idx="42">
                        <c:v>97.063571428571436</c:v>
                      </c:pt>
                      <c:pt idx="43">
                        <c:v>100.97542857142857</c:v>
                      </c:pt>
                      <c:pt idx="44">
                        <c:v>103.63014285714287</c:v>
                      </c:pt>
                      <c:pt idx="45">
                        <c:v>101.3727142857143</c:v>
                      </c:pt>
                      <c:pt idx="46">
                        <c:v>100.3342857142857</c:v>
                      </c:pt>
                      <c:pt idx="47">
                        <c:v>99.631571428571434</c:v>
                      </c:pt>
                      <c:pt idx="48">
                        <c:v>100.49614285714286</c:v>
                      </c:pt>
                      <c:pt idx="49">
                        <c:v>98.796714285714287</c:v>
                      </c:pt>
                      <c:pt idx="50">
                        <c:v>99.604571428571418</c:v>
                      </c:pt>
                      <c:pt idx="51">
                        <c:v>101.10728571428572</c:v>
                      </c:pt>
                      <c:pt idx="52">
                        <c:v>101.6322857142857</c:v>
                      </c:pt>
                      <c:pt idx="53">
                        <c:v>103.9692857142857</c:v>
                      </c:pt>
                      <c:pt idx="54">
                        <c:v>104.31328571428571</c:v>
                      </c:pt>
                      <c:pt idx="55">
                        <c:v>104.24300000000001</c:v>
                      </c:pt>
                      <c:pt idx="56">
                        <c:v>106.10771428571429</c:v>
                      </c:pt>
                      <c:pt idx="57">
                        <c:v>107.251</c:v>
                      </c:pt>
                      <c:pt idx="58">
                        <c:v>108.0942857142857</c:v>
                      </c:pt>
                      <c:pt idx="59">
                        <c:v>109.542</c:v>
                      </c:pt>
                      <c:pt idx="60">
                        <c:v>111.28128571428572</c:v>
                      </c:pt>
                      <c:pt idx="61">
                        <c:v>111.94371428571428</c:v>
                      </c:pt>
                      <c:pt idx="62">
                        <c:v>112.28485714285715</c:v>
                      </c:pt>
                      <c:pt idx="63">
                        <c:v>111.36514285714284</c:v>
                      </c:pt>
                      <c:pt idx="64">
                        <c:v>111.246</c:v>
                      </c:pt>
                    </c:numCache>
                  </c:numRef>
                </c:val>
                <c:smooth val="0"/>
                <c:extLst xmlns:c15="http://schemas.microsoft.com/office/drawing/2012/chart">
                  <c:ext xmlns:c16="http://schemas.microsoft.com/office/drawing/2014/chart" uri="{C3380CC4-5D6E-409C-BE32-E72D297353CC}">
                    <c16:uniqueId val="{0000000F-A74E-43EC-ACDF-1CA2D59ACD5D}"/>
                  </c:ext>
                </c:extLst>
              </c15:ser>
            </c15:filteredLineSeries>
            <c15:filteredLineSeries>
              <c15:ser>
                <c:idx val="16"/>
                <c:order val="16"/>
                <c:tx>
                  <c:strRef>
                    <c:extLst xmlns:c15="http://schemas.microsoft.com/office/drawing/2012/chart">
                      <c:ext xmlns:c15="http://schemas.microsoft.com/office/drawing/2012/chart" uri="{02D57815-91ED-43cb-92C2-25804820EDAC}">
                        <c15:formulaRef>
                          <c15:sqref>Average!$X$38</c15:sqref>
                        </c15:formulaRef>
                      </c:ext>
                    </c:extLst>
                    <c:strCache>
                      <c:ptCount val="1"/>
                      <c:pt idx="0">
                        <c:v>MSCI China</c:v>
                      </c:pt>
                    </c:strCache>
                  </c:strRef>
                </c:tx>
                <c:spPr>
                  <a:ln w="12700" cap="rnd" cmpd="sng" algn="ctr">
                    <a:solidFill>
                      <a:srgbClr val="EDC860"/>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X$79:$X$143</c15:sqref>
                        </c15:formulaRef>
                      </c:ext>
                    </c:extLst>
                    <c:numCache>
                      <c:formatCode>0.0</c:formatCode>
                      <c:ptCount val="65"/>
                      <c:pt idx="0">
                        <c:v>102.11971428571429</c:v>
                      </c:pt>
                      <c:pt idx="1">
                        <c:v>100.7532857142857</c:v>
                      </c:pt>
                      <c:pt idx="2">
                        <c:v>101.03857142857143</c:v>
                      </c:pt>
                      <c:pt idx="3">
                        <c:v>99.078285714285713</c:v>
                      </c:pt>
                      <c:pt idx="4">
                        <c:v>99.688571428571422</c:v>
                      </c:pt>
                      <c:pt idx="5">
                        <c:v>98.106000000000009</c:v>
                      </c:pt>
                      <c:pt idx="6">
                        <c:v>96.199285714285708</c:v>
                      </c:pt>
                      <c:pt idx="7">
                        <c:v>94.740857142857152</c:v>
                      </c:pt>
                      <c:pt idx="8">
                        <c:v>95.618857142857138</c:v>
                      </c:pt>
                      <c:pt idx="9">
                        <c:v>100.20214285714287</c:v>
                      </c:pt>
                      <c:pt idx="10">
                        <c:v>100.01557142857143</c:v>
                      </c:pt>
                      <c:pt idx="11">
                        <c:v>98.690571428571417</c:v>
                      </c:pt>
                      <c:pt idx="12">
                        <c:v>100</c:v>
                      </c:pt>
                      <c:pt idx="13">
                        <c:v>103.42542857142857</c:v>
                      </c:pt>
                      <c:pt idx="14">
                        <c:v>107.40785714285713</c:v>
                      </c:pt>
                      <c:pt idx="15">
                        <c:v>108.93585714285713</c:v>
                      </c:pt>
                      <c:pt idx="16">
                        <c:v>109.50471428571427</c:v>
                      </c:pt>
                      <c:pt idx="17">
                        <c:v>112.17028571428571</c:v>
                      </c:pt>
                      <c:pt idx="18">
                        <c:v>112.40285714285713</c:v>
                      </c:pt>
                      <c:pt idx="19">
                        <c:v>110.84985714285712</c:v>
                      </c:pt>
                      <c:pt idx="20">
                        <c:v>106.50685714285714</c:v>
                      </c:pt>
                      <c:pt idx="21">
                        <c:v>103.298</c:v>
                      </c:pt>
                      <c:pt idx="22">
                        <c:v>102.12757142857141</c:v>
                      </c:pt>
                      <c:pt idx="23">
                        <c:v>103.05614285714286</c:v>
                      </c:pt>
                      <c:pt idx="24">
                        <c:v>102.34799999999998</c:v>
                      </c:pt>
                      <c:pt idx="25">
                        <c:v>99.365285714285733</c:v>
                      </c:pt>
                      <c:pt idx="26">
                        <c:v>102.47500000000001</c:v>
                      </c:pt>
                      <c:pt idx="27">
                        <c:v>101.68571428571428</c:v>
                      </c:pt>
                      <c:pt idx="28">
                        <c:v>99.78228571428572</c:v>
                      </c:pt>
                      <c:pt idx="29">
                        <c:v>99.156142857142854</c:v>
                      </c:pt>
                      <c:pt idx="30">
                        <c:v>96.105000000000004</c:v>
                      </c:pt>
                      <c:pt idx="31">
                        <c:v>97.361000000000004</c:v>
                      </c:pt>
                      <c:pt idx="32">
                        <c:v>101.23342857142856</c:v>
                      </c:pt>
                      <c:pt idx="33">
                        <c:v>99.658714285714282</c:v>
                      </c:pt>
                      <c:pt idx="34">
                        <c:v>102.7837142857143</c:v>
                      </c:pt>
                      <c:pt idx="35">
                        <c:v>102.905</c:v>
                      </c:pt>
                      <c:pt idx="36">
                        <c:v>102.85971428571429</c:v>
                      </c:pt>
                      <c:pt idx="37">
                        <c:v>104.78585714285714</c:v>
                      </c:pt>
                      <c:pt idx="38">
                        <c:v>104.44714285714284</c:v>
                      </c:pt>
                      <c:pt idx="39">
                        <c:v>102.52128571428571</c:v>
                      </c:pt>
                      <c:pt idx="40">
                        <c:v>104.40657142857143</c:v>
                      </c:pt>
                      <c:pt idx="41">
                        <c:v>104.00357142857142</c:v>
                      </c:pt>
                      <c:pt idx="42">
                        <c:v>103.61385714285714</c:v>
                      </c:pt>
                      <c:pt idx="43">
                        <c:v>105.40871428571428</c:v>
                      </c:pt>
                      <c:pt idx="44">
                        <c:v>107.37342857142858</c:v>
                      </c:pt>
                      <c:pt idx="45">
                        <c:v>103.90757142857142</c:v>
                      </c:pt>
                      <c:pt idx="46">
                        <c:v>103.94328571428572</c:v>
                      </c:pt>
                      <c:pt idx="47">
                        <c:v>103.51714285714286</c:v>
                      </c:pt>
                      <c:pt idx="48">
                        <c:v>101.29357142857144</c:v>
                      </c:pt>
                      <c:pt idx="49">
                        <c:v>105.17700000000001</c:v>
                      </c:pt>
                      <c:pt idx="50">
                        <c:v>107.34757142857143</c:v>
                      </c:pt>
                      <c:pt idx="51">
                        <c:v>109.35671428571429</c:v>
                      </c:pt>
                      <c:pt idx="52">
                        <c:v>109.33471428571428</c:v>
                      </c:pt>
                      <c:pt idx="53">
                        <c:v>107.30442857142859</c:v>
                      </c:pt>
                      <c:pt idx="54">
                        <c:v>105.37128571428572</c:v>
                      </c:pt>
                      <c:pt idx="55">
                        <c:v>105.4962857142857</c:v>
                      </c:pt>
                      <c:pt idx="56">
                        <c:v>109.64357142857143</c:v>
                      </c:pt>
                      <c:pt idx="57">
                        <c:v>106.57314285714287</c:v>
                      </c:pt>
                      <c:pt idx="58">
                        <c:v>108.69085714285714</c:v>
                      </c:pt>
                      <c:pt idx="59">
                        <c:v>111.98442857142855</c:v>
                      </c:pt>
                      <c:pt idx="60">
                        <c:v>110.86585714285715</c:v>
                      </c:pt>
                      <c:pt idx="61">
                        <c:v>114.7712857142857</c:v>
                      </c:pt>
                      <c:pt idx="62">
                        <c:v>115.72428571428573</c:v>
                      </c:pt>
                      <c:pt idx="63">
                        <c:v>113.70685714285715</c:v>
                      </c:pt>
                      <c:pt idx="64">
                        <c:v>110.77471428571428</c:v>
                      </c:pt>
                    </c:numCache>
                  </c:numRef>
                </c:val>
                <c:smooth val="0"/>
                <c:extLst xmlns:c15="http://schemas.microsoft.com/office/drawing/2012/chart">
                  <c:ext xmlns:c16="http://schemas.microsoft.com/office/drawing/2014/chart" uri="{C3380CC4-5D6E-409C-BE32-E72D297353CC}">
                    <c16:uniqueId val="{00000010-A74E-43EC-ACDF-1CA2D59ACD5D}"/>
                  </c:ext>
                </c:extLst>
              </c15:ser>
            </c15:filteredLineSeries>
            <c15:filteredLineSeries>
              <c15:ser>
                <c:idx val="17"/>
                <c:order val="17"/>
                <c:tx>
                  <c:strRef>
                    <c:extLst xmlns:c15="http://schemas.microsoft.com/office/drawing/2012/chart">
                      <c:ext xmlns:c15="http://schemas.microsoft.com/office/drawing/2012/chart" uri="{02D57815-91ED-43cb-92C2-25804820EDAC}">
                        <c15:formulaRef>
                          <c15:sqref>Average!$Y$38</c15:sqref>
                        </c15:formulaRef>
                      </c:ext>
                    </c:extLst>
                    <c:strCache>
                      <c:ptCount val="1"/>
                      <c:pt idx="0">
                        <c:v>MSCI Taiwan</c:v>
                      </c:pt>
                    </c:strCache>
                  </c:strRef>
                </c:tx>
                <c:spPr>
                  <a:ln w="12700" cap="rnd" cmpd="sng" algn="ctr">
                    <a:solidFill>
                      <a:srgbClr val="6C87B3"/>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Y$79:$Y$143</c15:sqref>
                        </c15:formulaRef>
                      </c:ext>
                    </c:extLst>
                    <c:numCache>
                      <c:formatCode>0.0</c:formatCode>
                      <c:ptCount val="65"/>
                      <c:pt idx="0">
                        <c:v>114.449</c:v>
                      </c:pt>
                      <c:pt idx="1">
                        <c:v>112.90322222222223</c:v>
                      </c:pt>
                      <c:pt idx="2">
                        <c:v>112.93722222222222</c:v>
                      </c:pt>
                      <c:pt idx="3">
                        <c:v>109.32233333333333</c:v>
                      </c:pt>
                      <c:pt idx="4">
                        <c:v>109.51033333333334</c:v>
                      </c:pt>
                      <c:pt idx="5">
                        <c:v>105.67122222222223</c:v>
                      </c:pt>
                      <c:pt idx="6">
                        <c:v>106.09944444444444</c:v>
                      </c:pt>
                      <c:pt idx="7">
                        <c:v>103.5458888888889</c:v>
                      </c:pt>
                      <c:pt idx="8">
                        <c:v>100.80966666666667</c:v>
                      </c:pt>
                      <c:pt idx="9">
                        <c:v>101.8848888888889</c:v>
                      </c:pt>
                      <c:pt idx="10">
                        <c:v>100.43799999999999</c:v>
                      </c:pt>
                      <c:pt idx="11">
                        <c:v>100.29488888888889</c:v>
                      </c:pt>
                      <c:pt idx="12">
                        <c:v>100</c:v>
                      </c:pt>
                      <c:pt idx="13">
                        <c:v>102.01822222222222</c:v>
                      </c:pt>
                      <c:pt idx="14">
                        <c:v>102.77888888888889</c:v>
                      </c:pt>
                      <c:pt idx="15">
                        <c:v>102.05455555555555</c:v>
                      </c:pt>
                      <c:pt idx="16">
                        <c:v>100.19088888888889</c:v>
                      </c:pt>
                      <c:pt idx="17">
                        <c:v>98.257444444444445</c:v>
                      </c:pt>
                      <c:pt idx="18">
                        <c:v>97.473777777777769</c:v>
                      </c:pt>
                      <c:pt idx="19">
                        <c:v>99.325888888888898</c:v>
                      </c:pt>
                      <c:pt idx="20">
                        <c:v>98.536111111111111</c:v>
                      </c:pt>
                      <c:pt idx="21">
                        <c:v>100.09077777777779</c:v>
                      </c:pt>
                      <c:pt idx="22">
                        <c:v>97.647111111111101</c:v>
                      </c:pt>
                      <c:pt idx="23">
                        <c:v>97.876333333333321</c:v>
                      </c:pt>
                      <c:pt idx="24">
                        <c:v>98.363666666666688</c:v>
                      </c:pt>
                      <c:pt idx="25">
                        <c:v>95.460555555555558</c:v>
                      </c:pt>
                      <c:pt idx="26">
                        <c:v>97.527555555555551</c:v>
                      </c:pt>
                      <c:pt idx="27">
                        <c:v>99.175888888888892</c:v>
                      </c:pt>
                      <c:pt idx="28">
                        <c:v>98.679222222222208</c:v>
                      </c:pt>
                      <c:pt idx="29">
                        <c:v>98.677000000000007</c:v>
                      </c:pt>
                      <c:pt idx="30">
                        <c:v>97.639888888888891</c:v>
                      </c:pt>
                      <c:pt idx="31">
                        <c:v>99.37544444444444</c:v>
                      </c:pt>
                      <c:pt idx="32">
                        <c:v>99.805444444444447</c:v>
                      </c:pt>
                      <c:pt idx="33">
                        <c:v>102.25422222222223</c:v>
                      </c:pt>
                      <c:pt idx="34">
                        <c:v>101.63677777777779</c:v>
                      </c:pt>
                      <c:pt idx="35">
                        <c:v>101.59533333333333</c:v>
                      </c:pt>
                      <c:pt idx="36">
                        <c:v>103.06266666666666</c:v>
                      </c:pt>
                      <c:pt idx="37">
                        <c:v>101.64211111111109</c:v>
                      </c:pt>
                      <c:pt idx="38">
                        <c:v>99.418000000000006</c:v>
                      </c:pt>
                      <c:pt idx="39">
                        <c:v>99.103999999999985</c:v>
                      </c:pt>
                      <c:pt idx="40">
                        <c:v>99.39422222222224</c:v>
                      </c:pt>
                      <c:pt idx="41">
                        <c:v>98.581666666666649</c:v>
                      </c:pt>
                      <c:pt idx="42">
                        <c:v>100.51966666666667</c:v>
                      </c:pt>
                      <c:pt idx="43">
                        <c:v>102.129</c:v>
                      </c:pt>
                      <c:pt idx="44">
                        <c:v>103.94833333333332</c:v>
                      </c:pt>
                      <c:pt idx="45">
                        <c:v>103.46066666666667</c:v>
                      </c:pt>
                      <c:pt idx="46">
                        <c:v>104.09277777777777</c:v>
                      </c:pt>
                      <c:pt idx="47">
                        <c:v>104.46588888888888</c:v>
                      </c:pt>
                      <c:pt idx="48">
                        <c:v>105.29677777777776</c:v>
                      </c:pt>
                      <c:pt idx="49">
                        <c:v>105.82533333333335</c:v>
                      </c:pt>
                      <c:pt idx="50">
                        <c:v>106.86833333333334</c:v>
                      </c:pt>
                      <c:pt idx="51">
                        <c:v>107.2981111111111</c:v>
                      </c:pt>
                      <c:pt idx="52">
                        <c:v>110.69155555555555</c:v>
                      </c:pt>
                      <c:pt idx="53">
                        <c:v>110.63</c:v>
                      </c:pt>
                      <c:pt idx="54">
                        <c:v>108.73488888888888</c:v>
                      </c:pt>
                      <c:pt idx="55">
                        <c:v>109.63155555555556</c:v>
                      </c:pt>
                      <c:pt idx="56">
                        <c:v>109.02677777777778</c:v>
                      </c:pt>
                      <c:pt idx="57">
                        <c:v>110.63655555555555</c:v>
                      </c:pt>
                      <c:pt idx="58">
                        <c:v>111.88100000000001</c:v>
                      </c:pt>
                      <c:pt idx="59">
                        <c:v>112.53711111111109</c:v>
                      </c:pt>
                      <c:pt idx="60">
                        <c:v>113.26233333333334</c:v>
                      </c:pt>
                      <c:pt idx="61">
                        <c:v>115.77722222222224</c:v>
                      </c:pt>
                      <c:pt idx="62">
                        <c:v>113.191</c:v>
                      </c:pt>
                      <c:pt idx="63">
                        <c:v>113.49933333333333</c:v>
                      </c:pt>
                      <c:pt idx="64">
                        <c:v>112.93988888888887</c:v>
                      </c:pt>
                    </c:numCache>
                  </c:numRef>
                </c:val>
                <c:smooth val="0"/>
                <c:extLst xmlns:c15="http://schemas.microsoft.com/office/drawing/2012/chart">
                  <c:ext xmlns:c16="http://schemas.microsoft.com/office/drawing/2014/chart" uri="{C3380CC4-5D6E-409C-BE32-E72D297353CC}">
                    <c16:uniqueId val="{00000011-A74E-43EC-ACDF-1CA2D59ACD5D}"/>
                  </c:ext>
                </c:extLst>
              </c15:ser>
            </c15:filteredLineSeries>
            <c15:filteredLineSeries>
              <c15:ser>
                <c:idx val="18"/>
                <c:order val="18"/>
                <c:tx>
                  <c:strRef>
                    <c:extLst xmlns:c15="http://schemas.microsoft.com/office/drawing/2012/chart">
                      <c:ext xmlns:c15="http://schemas.microsoft.com/office/drawing/2012/chart" uri="{02D57815-91ED-43cb-92C2-25804820EDAC}">
                        <c15:formulaRef>
                          <c15:sqref>Average!$Z$38</c15:sqref>
                        </c15:formulaRef>
                      </c:ext>
                    </c:extLst>
                    <c:strCache>
                      <c:ptCount val="1"/>
                      <c:pt idx="0">
                        <c:v>MSCI Korea</c:v>
                      </c:pt>
                    </c:strCache>
                  </c:strRef>
                </c:tx>
                <c:spPr>
                  <a:ln w="12700" cap="rnd" cmpd="sng" algn="ctr">
                    <a:solidFill>
                      <a:srgbClr val="00898D"/>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Z$79:$Z$143</c15:sqref>
                        </c15:formulaRef>
                      </c:ext>
                    </c:extLst>
                    <c:numCache>
                      <c:formatCode>0.0</c:formatCode>
                      <c:ptCount val="65"/>
                      <c:pt idx="0">
                        <c:v>103.78055555555557</c:v>
                      </c:pt>
                      <c:pt idx="1">
                        <c:v>103.3438888888889</c:v>
                      </c:pt>
                      <c:pt idx="2">
                        <c:v>107.10933333333332</c:v>
                      </c:pt>
                      <c:pt idx="3">
                        <c:v>106.41566666666668</c:v>
                      </c:pt>
                      <c:pt idx="4">
                        <c:v>105.47544444444445</c:v>
                      </c:pt>
                      <c:pt idx="5">
                        <c:v>105.693</c:v>
                      </c:pt>
                      <c:pt idx="6">
                        <c:v>102.59611111111113</c:v>
                      </c:pt>
                      <c:pt idx="7">
                        <c:v>103.47855555555556</c:v>
                      </c:pt>
                      <c:pt idx="8">
                        <c:v>102.45722222222223</c:v>
                      </c:pt>
                      <c:pt idx="9">
                        <c:v>103.88055555555556</c:v>
                      </c:pt>
                      <c:pt idx="10">
                        <c:v>101.51655555555556</c:v>
                      </c:pt>
                      <c:pt idx="11">
                        <c:v>100.13255555555557</c:v>
                      </c:pt>
                      <c:pt idx="12">
                        <c:v>100</c:v>
                      </c:pt>
                      <c:pt idx="13">
                        <c:v>101.70544444444445</c:v>
                      </c:pt>
                      <c:pt idx="14">
                        <c:v>102.0091111111111</c:v>
                      </c:pt>
                      <c:pt idx="15">
                        <c:v>104.03722222222223</c:v>
                      </c:pt>
                      <c:pt idx="16">
                        <c:v>102.13666666666667</c:v>
                      </c:pt>
                      <c:pt idx="17">
                        <c:v>102.05833333333334</c:v>
                      </c:pt>
                      <c:pt idx="18">
                        <c:v>102.97888888888889</c:v>
                      </c:pt>
                      <c:pt idx="19">
                        <c:v>104.72477777777777</c:v>
                      </c:pt>
                      <c:pt idx="20">
                        <c:v>103.97955555555556</c:v>
                      </c:pt>
                      <c:pt idx="21">
                        <c:v>103.24833333333333</c:v>
                      </c:pt>
                      <c:pt idx="22">
                        <c:v>105.5258888888889</c:v>
                      </c:pt>
                      <c:pt idx="23">
                        <c:v>108.19655555555556</c:v>
                      </c:pt>
                      <c:pt idx="24">
                        <c:v>109.8311111111111</c:v>
                      </c:pt>
                      <c:pt idx="25">
                        <c:v>109.92511111111111</c:v>
                      </c:pt>
                      <c:pt idx="26">
                        <c:v>114.56544444444444</c:v>
                      </c:pt>
                      <c:pt idx="27">
                        <c:v>115.37388888888889</c:v>
                      </c:pt>
                      <c:pt idx="28">
                        <c:v>115.14933333333335</c:v>
                      </c:pt>
                      <c:pt idx="29">
                        <c:v>112.52188888888888</c:v>
                      </c:pt>
                      <c:pt idx="30">
                        <c:v>111.67744444444445</c:v>
                      </c:pt>
                      <c:pt idx="31">
                        <c:v>109.72255555555556</c:v>
                      </c:pt>
                      <c:pt idx="32">
                        <c:v>113.1928888888889</c:v>
                      </c:pt>
                      <c:pt idx="33">
                        <c:v>111.93633333333332</c:v>
                      </c:pt>
                      <c:pt idx="34">
                        <c:v>113.38244444444445</c:v>
                      </c:pt>
                      <c:pt idx="35">
                        <c:v>115.08322222222222</c:v>
                      </c:pt>
                      <c:pt idx="36">
                        <c:v>114.32077777777778</c:v>
                      </c:pt>
                      <c:pt idx="37">
                        <c:v>114.86377777777778</c:v>
                      </c:pt>
                      <c:pt idx="38">
                        <c:v>113.14344444444447</c:v>
                      </c:pt>
                      <c:pt idx="39">
                        <c:v>115.14211111111111</c:v>
                      </c:pt>
                      <c:pt idx="40">
                        <c:v>115.95611111111111</c:v>
                      </c:pt>
                      <c:pt idx="41">
                        <c:v>119.15822222222222</c:v>
                      </c:pt>
                      <c:pt idx="42">
                        <c:v>119.82222222222224</c:v>
                      </c:pt>
                      <c:pt idx="43">
                        <c:v>119.50733333333334</c:v>
                      </c:pt>
                      <c:pt idx="44">
                        <c:v>119.83833333333334</c:v>
                      </c:pt>
                      <c:pt idx="45">
                        <c:v>117.21833333333332</c:v>
                      </c:pt>
                      <c:pt idx="46">
                        <c:v>116.43322222222224</c:v>
                      </c:pt>
                      <c:pt idx="47">
                        <c:v>117.26711111111111</c:v>
                      </c:pt>
                      <c:pt idx="48">
                        <c:v>120.28677777777777</c:v>
                      </c:pt>
                      <c:pt idx="49">
                        <c:v>120.20066666666668</c:v>
                      </c:pt>
                      <c:pt idx="50">
                        <c:v>123.44388888888888</c:v>
                      </c:pt>
                      <c:pt idx="51">
                        <c:v>125.72088888888889</c:v>
                      </c:pt>
                      <c:pt idx="52">
                        <c:v>130.11699999999999</c:v>
                      </c:pt>
                      <c:pt idx="53">
                        <c:v>130.92211111111112</c:v>
                      </c:pt>
                      <c:pt idx="54">
                        <c:v>131.67288888888891</c:v>
                      </c:pt>
                      <c:pt idx="55">
                        <c:v>129.47055555555556</c:v>
                      </c:pt>
                      <c:pt idx="56">
                        <c:v>133.28522222222222</c:v>
                      </c:pt>
                      <c:pt idx="57">
                        <c:v>134.82855555555554</c:v>
                      </c:pt>
                      <c:pt idx="58">
                        <c:v>130.10911111111108</c:v>
                      </c:pt>
                      <c:pt idx="59">
                        <c:v>132.43122222222223</c:v>
                      </c:pt>
                      <c:pt idx="60">
                        <c:v>135.31066666666666</c:v>
                      </c:pt>
                      <c:pt idx="61">
                        <c:v>134.08855555555556</c:v>
                      </c:pt>
                      <c:pt idx="62">
                        <c:v>134.92155555555556</c:v>
                      </c:pt>
                      <c:pt idx="63">
                        <c:v>134.66788888888885</c:v>
                      </c:pt>
                      <c:pt idx="64">
                        <c:v>135.78700000000001</c:v>
                      </c:pt>
                    </c:numCache>
                  </c:numRef>
                </c:val>
                <c:smooth val="0"/>
                <c:extLst xmlns:c15="http://schemas.microsoft.com/office/drawing/2012/chart">
                  <c:ext xmlns:c16="http://schemas.microsoft.com/office/drawing/2014/chart" uri="{C3380CC4-5D6E-409C-BE32-E72D297353CC}">
                    <c16:uniqueId val="{00000012-A74E-43EC-ACDF-1CA2D59ACD5D}"/>
                  </c:ext>
                </c:extLst>
              </c15:ser>
            </c15:filteredLineSeries>
            <c15:filteredLineSeries>
              <c15:ser>
                <c:idx val="19"/>
                <c:order val="19"/>
                <c:tx>
                  <c:strRef>
                    <c:extLst xmlns:c15="http://schemas.microsoft.com/office/drawing/2012/chart">
                      <c:ext xmlns:c15="http://schemas.microsoft.com/office/drawing/2012/chart" uri="{02D57815-91ED-43cb-92C2-25804820EDAC}">
                        <c15:formulaRef>
                          <c15:sqref>Average!$AA$38</c15:sqref>
                        </c15:formulaRef>
                      </c:ext>
                    </c:extLst>
                    <c:strCache>
                      <c:ptCount val="1"/>
                      <c:pt idx="0">
                        <c:v>MSCI Malaysia</c:v>
                      </c:pt>
                    </c:strCache>
                  </c:strRef>
                </c:tx>
                <c:spPr>
                  <a:ln w="12700" cap="rnd" cmpd="sng" algn="ctr">
                    <a:solidFill>
                      <a:srgbClr val="00B050"/>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A$79:$AA$143</c15:sqref>
                        </c15:formulaRef>
                      </c:ext>
                    </c:extLst>
                    <c:numCache>
                      <c:formatCode>0.0</c:formatCode>
                      <c:ptCount val="65"/>
                      <c:pt idx="0">
                        <c:v>101.38433333333334</c:v>
                      </c:pt>
                      <c:pt idx="1">
                        <c:v>101.28622222222222</c:v>
                      </c:pt>
                      <c:pt idx="2">
                        <c:v>102.51244444444445</c:v>
                      </c:pt>
                      <c:pt idx="3">
                        <c:v>101.59444444444446</c:v>
                      </c:pt>
                      <c:pt idx="4">
                        <c:v>102.459</c:v>
                      </c:pt>
                      <c:pt idx="5">
                        <c:v>100.98066666666665</c:v>
                      </c:pt>
                      <c:pt idx="6">
                        <c:v>99.430555555555557</c:v>
                      </c:pt>
                      <c:pt idx="7">
                        <c:v>100.34099999999999</c:v>
                      </c:pt>
                      <c:pt idx="8">
                        <c:v>98.166666666666671</c:v>
                      </c:pt>
                      <c:pt idx="9">
                        <c:v>101.06522222222222</c:v>
                      </c:pt>
                      <c:pt idx="10">
                        <c:v>101.91266666666667</c:v>
                      </c:pt>
                      <c:pt idx="11">
                        <c:v>100.37844444444444</c:v>
                      </c:pt>
                      <c:pt idx="12">
                        <c:v>100</c:v>
                      </c:pt>
                      <c:pt idx="13">
                        <c:v>100.39477777777778</c:v>
                      </c:pt>
                      <c:pt idx="14">
                        <c:v>99.581666666666649</c:v>
                      </c:pt>
                      <c:pt idx="15">
                        <c:v>101.16911111111111</c:v>
                      </c:pt>
                      <c:pt idx="16">
                        <c:v>101.07411111111112</c:v>
                      </c:pt>
                      <c:pt idx="17">
                        <c:v>101.50033333333334</c:v>
                      </c:pt>
                      <c:pt idx="18">
                        <c:v>101.43088888888889</c:v>
                      </c:pt>
                      <c:pt idx="19">
                        <c:v>102.2818888888889</c:v>
                      </c:pt>
                      <c:pt idx="20">
                        <c:v>102.54744444444445</c:v>
                      </c:pt>
                      <c:pt idx="21">
                        <c:v>102.94255555555554</c:v>
                      </c:pt>
                      <c:pt idx="22">
                        <c:v>101.79022222222223</c:v>
                      </c:pt>
                      <c:pt idx="23">
                        <c:v>102.91788888888888</c:v>
                      </c:pt>
                      <c:pt idx="24">
                        <c:v>102.45433333333332</c:v>
                      </c:pt>
                      <c:pt idx="25">
                        <c:v>102.58633333333334</c:v>
                      </c:pt>
                      <c:pt idx="26">
                        <c:v>103.57388888888889</c:v>
                      </c:pt>
                      <c:pt idx="27">
                        <c:v>104.60855555555557</c:v>
                      </c:pt>
                      <c:pt idx="28">
                        <c:v>104.91322222222222</c:v>
                      </c:pt>
                      <c:pt idx="29">
                        <c:v>105.0018888888889</c:v>
                      </c:pt>
                      <c:pt idx="30">
                        <c:v>102.81533333333334</c:v>
                      </c:pt>
                      <c:pt idx="31">
                        <c:v>100.76388888888889</c:v>
                      </c:pt>
                      <c:pt idx="32">
                        <c:v>103.41666666666667</c:v>
                      </c:pt>
                      <c:pt idx="33">
                        <c:v>103.42933333333333</c:v>
                      </c:pt>
                      <c:pt idx="34">
                        <c:v>102.46877777777779</c:v>
                      </c:pt>
                      <c:pt idx="35">
                        <c:v>102.71166666666666</c:v>
                      </c:pt>
                      <c:pt idx="36">
                        <c:v>101.48811111111111</c:v>
                      </c:pt>
                      <c:pt idx="37">
                        <c:v>99.952111111111108</c:v>
                      </c:pt>
                      <c:pt idx="38">
                        <c:v>99.967777777777783</c:v>
                      </c:pt>
                      <c:pt idx="39">
                        <c:v>103.03333333333333</c:v>
                      </c:pt>
                      <c:pt idx="40">
                        <c:v>104.87011111111113</c:v>
                      </c:pt>
                      <c:pt idx="41">
                        <c:v>106.0488888888889</c:v>
                      </c:pt>
                      <c:pt idx="42">
                        <c:v>108.49311111111111</c:v>
                      </c:pt>
                      <c:pt idx="43">
                        <c:v>110.59022222222221</c:v>
                      </c:pt>
                      <c:pt idx="44">
                        <c:v>112.07211111111111</c:v>
                      </c:pt>
                      <c:pt idx="45">
                        <c:v>112.71188888888889</c:v>
                      </c:pt>
                      <c:pt idx="46">
                        <c:v>113.67077777777777</c:v>
                      </c:pt>
                      <c:pt idx="47">
                        <c:v>114.29299999999999</c:v>
                      </c:pt>
                      <c:pt idx="48">
                        <c:v>114.90655555555557</c:v>
                      </c:pt>
                      <c:pt idx="49">
                        <c:v>115.7228888888889</c:v>
                      </c:pt>
                      <c:pt idx="50">
                        <c:v>114.00355555555555</c:v>
                      </c:pt>
                      <c:pt idx="51">
                        <c:v>115.85333333333334</c:v>
                      </c:pt>
                      <c:pt idx="52">
                        <c:v>116.46733333333333</c:v>
                      </c:pt>
                      <c:pt idx="53">
                        <c:v>117.00600000000001</c:v>
                      </c:pt>
                      <c:pt idx="54">
                        <c:v>115.79355555555556</c:v>
                      </c:pt>
                      <c:pt idx="55">
                        <c:v>113.76466666666668</c:v>
                      </c:pt>
                      <c:pt idx="56">
                        <c:v>111.04400000000001</c:v>
                      </c:pt>
                      <c:pt idx="57">
                        <c:v>110.66</c:v>
                      </c:pt>
                      <c:pt idx="58">
                        <c:v>112.25800000000001</c:v>
                      </c:pt>
                      <c:pt idx="59">
                        <c:v>112.63988888888888</c:v>
                      </c:pt>
                      <c:pt idx="60">
                        <c:v>113.038</c:v>
                      </c:pt>
                      <c:pt idx="61">
                        <c:v>113.48577777777777</c:v>
                      </c:pt>
                      <c:pt idx="62">
                        <c:v>113.236</c:v>
                      </c:pt>
                      <c:pt idx="63">
                        <c:v>113.51866666666666</c:v>
                      </c:pt>
                      <c:pt idx="64">
                        <c:v>111.00311111111111</c:v>
                      </c:pt>
                    </c:numCache>
                  </c:numRef>
                </c:val>
                <c:smooth val="0"/>
                <c:extLst xmlns:c15="http://schemas.microsoft.com/office/drawing/2012/chart">
                  <c:ext xmlns:c16="http://schemas.microsoft.com/office/drawing/2014/chart" uri="{C3380CC4-5D6E-409C-BE32-E72D297353CC}">
                    <c16:uniqueId val="{00000013-A74E-43EC-ACDF-1CA2D59ACD5D}"/>
                  </c:ext>
                </c:extLst>
              </c15:ser>
            </c15:filteredLineSeries>
            <c15:filteredLineSeries>
              <c15:ser>
                <c:idx val="20"/>
                <c:order val="20"/>
                <c:tx>
                  <c:strRef>
                    <c:extLst xmlns:c15="http://schemas.microsoft.com/office/drawing/2012/chart">
                      <c:ext xmlns:c15="http://schemas.microsoft.com/office/drawing/2012/chart" uri="{02D57815-91ED-43cb-92C2-25804820EDAC}">
                        <c15:formulaRef>
                          <c15:sqref>Average!$AB$38</c15:sqref>
                        </c15:formulaRef>
                      </c:ext>
                    </c:extLst>
                    <c:strCache>
                      <c:ptCount val="1"/>
                      <c:pt idx="0">
                        <c:v>MSCI Indonesia</c:v>
                      </c:pt>
                    </c:strCache>
                  </c:strRef>
                </c:tx>
                <c:spPr>
                  <a:ln w="12700" cap="rnd" cmpd="sng" algn="ctr">
                    <a:solidFill>
                      <a:srgbClr val="7030A0"/>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B$79:$AB$143</c15:sqref>
                        </c15:formulaRef>
                      </c:ext>
                    </c:extLst>
                    <c:numCache>
                      <c:formatCode>0.0</c:formatCode>
                      <c:ptCount val="65"/>
                      <c:pt idx="0">
                        <c:v>110.86966666666666</c:v>
                      </c:pt>
                      <c:pt idx="1">
                        <c:v>109.93099999999998</c:v>
                      </c:pt>
                      <c:pt idx="2">
                        <c:v>112.49144444444445</c:v>
                      </c:pt>
                      <c:pt idx="3">
                        <c:v>112.64699999999999</c:v>
                      </c:pt>
                      <c:pt idx="4">
                        <c:v>113.16911111111111</c:v>
                      </c:pt>
                      <c:pt idx="5">
                        <c:v>109.75277777777778</c:v>
                      </c:pt>
                      <c:pt idx="6">
                        <c:v>108.99855555555557</c:v>
                      </c:pt>
                      <c:pt idx="7">
                        <c:v>106.7988888888889</c:v>
                      </c:pt>
                      <c:pt idx="8">
                        <c:v>103.5382222222222</c:v>
                      </c:pt>
                      <c:pt idx="9">
                        <c:v>103.62400000000001</c:v>
                      </c:pt>
                      <c:pt idx="10">
                        <c:v>101.27355555555555</c:v>
                      </c:pt>
                      <c:pt idx="11">
                        <c:v>99.690222222222218</c:v>
                      </c:pt>
                      <c:pt idx="12">
                        <c:v>100</c:v>
                      </c:pt>
                      <c:pt idx="13">
                        <c:v>98.545111111111112</c:v>
                      </c:pt>
                      <c:pt idx="14">
                        <c:v>100.71655555555554</c:v>
                      </c:pt>
                      <c:pt idx="15">
                        <c:v>100.71711111111112</c:v>
                      </c:pt>
                      <c:pt idx="16">
                        <c:v>102.39611111111111</c:v>
                      </c:pt>
                      <c:pt idx="17">
                        <c:v>103.47944444444445</c:v>
                      </c:pt>
                      <c:pt idx="18">
                        <c:v>105.92944444444444</c:v>
                      </c:pt>
                      <c:pt idx="19">
                        <c:v>105.85688888888889</c:v>
                      </c:pt>
                      <c:pt idx="20">
                        <c:v>108.58455555555554</c:v>
                      </c:pt>
                      <c:pt idx="21">
                        <c:v>107.90944444444445</c:v>
                      </c:pt>
                      <c:pt idx="22">
                        <c:v>112.26033333333334</c:v>
                      </c:pt>
                      <c:pt idx="23">
                        <c:v>112.54422222222223</c:v>
                      </c:pt>
                      <c:pt idx="24">
                        <c:v>113.84333333333332</c:v>
                      </c:pt>
                      <c:pt idx="25">
                        <c:v>113.62833333333334</c:v>
                      </c:pt>
                      <c:pt idx="26">
                        <c:v>115.09244444444442</c:v>
                      </c:pt>
                      <c:pt idx="27">
                        <c:v>117.4631111111111</c:v>
                      </c:pt>
                      <c:pt idx="28">
                        <c:v>113.95477777777779</c:v>
                      </c:pt>
                      <c:pt idx="29">
                        <c:v>112.37366666666667</c:v>
                      </c:pt>
                      <c:pt idx="30">
                        <c:v>111.57333333333332</c:v>
                      </c:pt>
                      <c:pt idx="31">
                        <c:v>111.42288888888888</c:v>
                      </c:pt>
                      <c:pt idx="32">
                        <c:v>111.03622222222224</c:v>
                      </c:pt>
                      <c:pt idx="33">
                        <c:v>112.01844444444444</c:v>
                      </c:pt>
                      <c:pt idx="34">
                        <c:v>113.91966666666667</c:v>
                      </c:pt>
                      <c:pt idx="35">
                        <c:v>113.18899999999999</c:v>
                      </c:pt>
                      <c:pt idx="36">
                        <c:v>114.19733333333332</c:v>
                      </c:pt>
                      <c:pt idx="37">
                        <c:v>113.46533333333333</c:v>
                      </c:pt>
                      <c:pt idx="38">
                        <c:v>111.78622222222224</c:v>
                      </c:pt>
                      <c:pt idx="39">
                        <c:v>112.18777777777777</c:v>
                      </c:pt>
                      <c:pt idx="40">
                        <c:v>114.00777777777778</c:v>
                      </c:pt>
                      <c:pt idx="41">
                        <c:v>115.983</c:v>
                      </c:pt>
                      <c:pt idx="42">
                        <c:v>115.01111111111111</c:v>
                      </c:pt>
                      <c:pt idx="43">
                        <c:v>121.87488888888889</c:v>
                      </c:pt>
                      <c:pt idx="44">
                        <c:v>125.19855555555559</c:v>
                      </c:pt>
                      <c:pt idx="45">
                        <c:v>123.26900000000001</c:v>
                      </c:pt>
                      <c:pt idx="46">
                        <c:v>124.40355555555556</c:v>
                      </c:pt>
                      <c:pt idx="47">
                        <c:v>125.12511111111111</c:v>
                      </c:pt>
                      <c:pt idx="48">
                        <c:v>130.42744444444443</c:v>
                      </c:pt>
                      <c:pt idx="49">
                        <c:v>130.53644444444441</c:v>
                      </c:pt>
                      <c:pt idx="50">
                        <c:v>133.15344444444446</c:v>
                      </c:pt>
                      <c:pt idx="51">
                        <c:v>135.46666666666667</c:v>
                      </c:pt>
                      <c:pt idx="52">
                        <c:v>136.4136666666667</c:v>
                      </c:pt>
                      <c:pt idx="53">
                        <c:v>135.49955555555556</c:v>
                      </c:pt>
                      <c:pt idx="54">
                        <c:v>133.17077777777774</c:v>
                      </c:pt>
                      <c:pt idx="55">
                        <c:v>128.85311111111113</c:v>
                      </c:pt>
                      <c:pt idx="56">
                        <c:v>130.92033333333333</c:v>
                      </c:pt>
                      <c:pt idx="57">
                        <c:v>129.35622222222221</c:v>
                      </c:pt>
                      <c:pt idx="58">
                        <c:v>128.60577777777775</c:v>
                      </c:pt>
                      <c:pt idx="59">
                        <c:v>128.57255555555557</c:v>
                      </c:pt>
                      <c:pt idx="60">
                        <c:v>126.41822222222221</c:v>
                      </c:pt>
                      <c:pt idx="61">
                        <c:v>123.84466666666665</c:v>
                      </c:pt>
                      <c:pt idx="62">
                        <c:v>125.24155555555555</c:v>
                      </c:pt>
                      <c:pt idx="63">
                        <c:v>122.99611111111113</c:v>
                      </c:pt>
                      <c:pt idx="64">
                        <c:v>121.37633333333332</c:v>
                      </c:pt>
                    </c:numCache>
                  </c:numRef>
                </c:val>
                <c:smooth val="0"/>
                <c:extLst xmlns:c15="http://schemas.microsoft.com/office/drawing/2012/chart">
                  <c:ext xmlns:c16="http://schemas.microsoft.com/office/drawing/2014/chart" uri="{C3380CC4-5D6E-409C-BE32-E72D297353CC}">
                    <c16:uniqueId val="{00000014-A74E-43EC-ACDF-1CA2D59ACD5D}"/>
                  </c:ext>
                </c:extLst>
              </c15:ser>
            </c15:filteredLineSeries>
            <c15:filteredLineSeries>
              <c15:ser>
                <c:idx val="21"/>
                <c:order val="21"/>
                <c:tx>
                  <c:strRef>
                    <c:extLst xmlns:c15="http://schemas.microsoft.com/office/drawing/2012/chart">
                      <c:ext xmlns:c15="http://schemas.microsoft.com/office/drawing/2012/chart" uri="{02D57815-91ED-43cb-92C2-25804820EDAC}">
                        <c15:formulaRef>
                          <c15:sqref>Average!$AC$38</c15:sqref>
                        </c15:formulaRef>
                      </c:ext>
                    </c:extLst>
                    <c:strCache>
                      <c:ptCount val="1"/>
                      <c:pt idx="0">
                        <c:v>MSCI Thailand</c:v>
                      </c:pt>
                    </c:strCache>
                  </c:strRef>
                </c:tx>
                <c:spPr>
                  <a:ln w="12700" cap="rnd" cmpd="sng" algn="ctr">
                    <a:solidFill>
                      <a:srgbClr val="FFC000"/>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C$79:$AC$143</c15:sqref>
                        </c15:formulaRef>
                      </c:ext>
                    </c:extLst>
                    <c:numCache>
                      <c:formatCode>0.0</c:formatCode>
                      <c:ptCount val="65"/>
                      <c:pt idx="0">
                        <c:v>92.699444444444453</c:v>
                      </c:pt>
                      <c:pt idx="1">
                        <c:v>93.680111111111117</c:v>
                      </c:pt>
                      <c:pt idx="2">
                        <c:v>97.13022222222223</c:v>
                      </c:pt>
                      <c:pt idx="3">
                        <c:v>96.609555555555573</c:v>
                      </c:pt>
                      <c:pt idx="4">
                        <c:v>99.630888888888904</c:v>
                      </c:pt>
                      <c:pt idx="5">
                        <c:v>98.372777777777799</c:v>
                      </c:pt>
                      <c:pt idx="6">
                        <c:v>98.733555555555554</c:v>
                      </c:pt>
                      <c:pt idx="7">
                        <c:v>97.704444444444448</c:v>
                      </c:pt>
                      <c:pt idx="8">
                        <c:v>96.257444444444445</c:v>
                      </c:pt>
                      <c:pt idx="9">
                        <c:v>96.972555555555545</c:v>
                      </c:pt>
                      <c:pt idx="10">
                        <c:v>98.238111111111095</c:v>
                      </c:pt>
                      <c:pt idx="11">
                        <c:v>97.700222222222223</c:v>
                      </c:pt>
                      <c:pt idx="12">
                        <c:v>100</c:v>
                      </c:pt>
                      <c:pt idx="13">
                        <c:v>101.69566666666667</c:v>
                      </c:pt>
                      <c:pt idx="14">
                        <c:v>102.43311111111113</c:v>
                      </c:pt>
                      <c:pt idx="15">
                        <c:v>104.65122222222223</c:v>
                      </c:pt>
                      <c:pt idx="16">
                        <c:v>103.70866666666667</c:v>
                      </c:pt>
                      <c:pt idx="17">
                        <c:v>105.35100000000001</c:v>
                      </c:pt>
                      <c:pt idx="18">
                        <c:v>102.82033333333332</c:v>
                      </c:pt>
                      <c:pt idx="19">
                        <c:v>104.36911111111112</c:v>
                      </c:pt>
                      <c:pt idx="20">
                        <c:v>106.22866666666667</c:v>
                      </c:pt>
                      <c:pt idx="21">
                        <c:v>102.08088888888888</c:v>
                      </c:pt>
                      <c:pt idx="22">
                        <c:v>100.42188888888889</c:v>
                      </c:pt>
                      <c:pt idx="23">
                        <c:v>101.21999999999998</c:v>
                      </c:pt>
                      <c:pt idx="24">
                        <c:v>101.63066666666666</c:v>
                      </c:pt>
                      <c:pt idx="25">
                        <c:v>100.60411111111111</c:v>
                      </c:pt>
                      <c:pt idx="26">
                        <c:v>103.64211111111111</c:v>
                      </c:pt>
                      <c:pt idx="27">
                        <c:v>104.97022222222222</c:v>
                      </c:pt>
                      <c:pt idx="28">
                        <c:v>102.62433333333335</c:v>
                      </c:pt>
                      <c:pt idx="29">
                        <c:v>101.05077777777778</c:v>
                      </c:pt>
                      <c:pt idx="30">
                        <c:v>99.355888888888899</c:v>
                      </c:pt>
                      <c:pt idx="31">
                        <c:v>96.376555555555555</c:v>
                      </c:pt>
                      <c:pt idx="32">
                        <c:v>99.11022222222222</c:v>
                      </c:pt>
                      <c:pt idx="33">
                        <c:v>99.082555555555544</c:v>
                      </c:pt>
                      <c:pt idx="34">
                        <c:v>100.19677777777778</c:v>
                      </c:pt>
                      <c:pt idx="35">
                        <c:v>100.79588888888888</c:v>
                      </c:pt>
                      <c:pt idx="36">
                        <c:v>102.59022222222221</c:v>
                      </c:pt>
                      <c:pt idx="37">
                        <c:v>101.96444444444444</c:v>
                      </c:pt>
                      <c:pt idx="38">
                        <c:v>102.27277777777778</c:v>
                      </c:pt>
                      <c:pt idx="39">
                        <c:v>102.91766666666665</c:v>
                      </c:pt>
                      <c:pt idx="40">
                        <c:v>103.95777777777776</c:v>
                      </c:pt>
                      <c:pt idx="41">
                        <c:v>106.73966666666668</c:v>
                      </c:pt>
                      <c:pt idx="42">
                        <c:v>108.19455555555555</c:v>
                      </c:pt>
                      <c:pt idx="43">
                        <c:v>115.30977777777778</c:v>
                      </c:pt>
                      <c:pt idx="44">
                        <c:v>112.53433333333334</c:v>
                      </c:pt>
                      <c:pt idx="45">
                        <c:v>109.75377777777778</c:v>
                      </c:pt>
                      <c:pt idx="46">
                        <c:v>109.14011111111112</c:v>
                      </c:pt>
                      <c:pt idx="47">
                        <c:v>109.54822222222222</c:v>
                      </c:pt>
                      <c:pt idx="48">
                        <c:v>111.45144444444446</c:v>
                      </c:pt>
                      <c:pt idx="49">
                        <c:v>110.32622222222221</c:v>
                      </c:pt>
                      <c:pt idx="50">
                        <c:v>111.82444444444445</c:v>
                      </c:pt>
                      <c:pt idx="51">
                        <c:v>110.15077777777779</c:v>
                      </c:pt>
                      <c:pt idx="52">
                        <c:v>112.04711111111112</c:v>
                      </c:pt>
                      <c:pt idx="53">
                        <c:v>110.51633333333332</c:v>
                      </c:pt>
                      <c:pt idx="54">
                        <c:v>108.37911111111111</c:v>
                      </c:pt>
                      <c:pt idx="55">
                        <c:v>107.04599999999999</c:v>
                      </c:pt>
                      <c:pt idx="56">
                        <c:v>106.33244444444443</c:v>
                      </c:pt>
                      <c:pt idx="57">
                        <c:v>106.02233333333335</c:v>
                      </c:pt>
                      <c:pt idx="58">
                        <c:v>105.607</c:v>
                      </c:pt>
                      <c:pt idx="59">
                        <c:v>109.66755555555557</c:v>
                      </c:pt>
                      <c:pt idx="60">
                        <c:v>108.21644444444445</c:v>
                      </c:pt>
                      <c:pt idx="61">
                        <c:v>106.84599999999998</c:v>
                      </c:pt>
                      <c:pt idx="62">
                        <c:v>107.75511111111112</c:v>
                      </c:pt>
                      <c:pt idx="63">
                        <c:v>107.01811111111112</c:v>
                      </c:pt>
                      <c:pt idx="64">
                        <c:v>105.09144444444445</c:v>
                      </c:pt>
                    </c:numCache>
                  </c:numRef>
                </c:val>
                <c:smooth val="0"/>
                <c:extLst xmlns:c15="http://schemas.microsoft.com/office/drawing/2012/chart">
                  <c:ext xmlns:c16="http://schemas.microsoft.com/office/drawing/2014/chart" uri="{C3380CC4-5D6E-409C-BE32-E72D297353CC}">
                    <c16:uniqueId val="{00000015-A74E-43EC-ACDF-1CA2D59ACD5D}"/>
                  </c:ext>
                </c:extLst>
              </c15:ser>
            </c15:filteredLineSeries>
            <c15:filteredLineSeries>
              <c15:ser>
                <c:idx val="22"/>
                <c:order val="22"/>
                <c:tx>
                  <c:strRef>
                    <c:extLst xmlns:c15="http://schemas.microsoft.com/office/drawing/2012/chart">
                      <c:ext xmlns:c15="http://schemas.microsoft.com/office/drawing/2012/chart" uri="{02D57815-91ED-43cb-92C2-25804820EDAC}">
                        <c15:formulaRef>
                          <c15:sqref>Average!$AD$38</c15:sqref>
                        </c15:formulaRef>
                      </c:ext>
                    </c:extLst>
                    <c:strCache>
                      <c:ptCount val="1"/>
                      <c:pt idx="0">
                        <c:v>MSCI Philippines</c:v>
                      </c:pt>
                    </c:strCache>
                  </c:strRef>
                </c:tx>
                <c:spPr>
                  <a:ln w="12700" cap="rnd" cmpd="sng" algn="ctr">
                    <a:solidFill>
                      <a:srgbClr val="C07156"/>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D$79:$AD$143</c15:sqref>
                        </c15:formulaRef>
                      </c:ext>
                    </c:extLst>
                    <c:numCache>
                      <c:formatCode>0.0</c:formatCode>
                      <c:ptCount val="65"/>
                      <c:pt idx="0">
                        <c:v>102.91844444444445</c:v>
                      </c:pt>
                      <c:pt idx="1">
                        <c:v>101.10022222222221</c:v>
                      </c:pt>
                      <c:pt idx="2">
                        <c:v>101.44311111111112</c:v>
                      </c:pt>
                      <c:pt idx="3">
                        <c:v>100.80777777777777</c:v>
                      </c:pt>
                      <c:pt idx="4">
                        <c:v>101.27922222222223</c:v>
                      </c:pt>
                      <c:pt idx="5">
                        <c:v>99.611666666666665</c:v>
                      </c:pt>
                      <c:pt idx="6">
                        <c:v>97.887555555555551</c:v>
                      </c:pt>
                      <c:pt idx="7">
                        <c:v>97.935000000000002</c:v>
                      </c:pt>
                      <c:pt idx="8">
                        <c:v>98.094111111111104</c:v>
                      </c:pt>
                      <c:pt idx="9">
                        <c:v>99.473777777777784</c:v>
                      </c:pt>
                      <c:pt idx="10">
                        <c:v>99.525222222222226</c:v>
                      </c:pt>
                      <c:pt idx="11">
                        <c:v>98.78166666666668</c:v>
                      </c:pt>
                      <c:pt idx="12">
                        <c:v>100</c:v>
                      </c:pt>
                      <c:pt idx="13">
                        <c:v>99.938777777777773</c:v>
                      </c:pt>
                      <c:pt idx="14">
                        <c:v>100.61511111111112</c:v>
                      </c:pt>
                      <c:pt idx="15">
                        <c:v>103.08099999999999</c:v>
                      </c:pt>
                      <c:pt idx="16">
                        <c:v>104.67011111111111</c:v>
                      </c:pt>
                      <c:pt idx="17">
                        <c:v>105.26355555555556</c:v>
                      </c:pt>
                      <c:pt idx="18">
                        <c:v>103.9001111111111</c:v>
                      </c:pt>
                      <c:pt idx="19">
                        <c:v>105.57022222222223</c:v>
                      </c:pt>
                      <c:pt idx="20">
                        <c:v>105.3881111111111</c:v>
                      </c:pt>
                      <c:pt idx="21">
                        <c:v>104.878</c:v>
                      </c:pt>
                      <c:pt idx="22">
                        <c:v>102.42799999999998</c:v>
                      </c:pt>
                      <c:pt idx="23">
                        <c:v>101.95155555555556</c:v>
                      </c:pt>
                      <c:pt idx="24">
                        <c:v>101.85899999999999</c:v>
                      </c:pt>
                      <c:pt idx="25">
                        <c:v>102.42544444444447</c:v>
                      </c:pt>
                      <c:pt idx="26">
                        <c:v>104.52500000000002</c:v>
                      </c:pt>
                      <c:pt idx="27">
                        <c:v>105.872</c:v>
                      </c:pt>
                      <c:pt idx="28">
                        <c:v>104.35955555555556</c:v>
                      </c:pt>
                      <c:pt idx="29">
                        <c:v>102.73666666666666</c:v>
                      </c:pt>
                      <c:pt idx="30">
                        <c:v>103.06055555555555</c:v>
                      </c:pt>
                      <c:pt idx="31">
                        <c:v>102.41688888888888</c:v>
                      </c:pt>
                      <c:pt idx="32">
                        <c:v>102.91344444444444</c:v>
                      </c:pt>
                      <c:pt idx="33">
                        <c:v>102.43277777777777</c:v>
                      </c:pt>
                      <c:pt idx="34">
                        <c:v>104.17966666666666</c:v>
                      </c:pt>
                      <c:pt idx="35">
                        <c:v>104.23033333333335</c:v>
                      </c:pt>
                      <c:pt idx="36">
                        <c:v>104.85733333333333</c:v>
                      </c:pt>
                      <c:pt idx="37">
                        <c:v>103.50399999999999</c:v>
                      </c:pt>
                      <c:pt idx="38">
                        <c:v>102.88288888888889</c:v>
                      </c:pt>
                      <c:pt idx="39">
                        <c:v>102.82633333333332</c:v>
                      </c:pt>
                      <c:pt idx="40">
                        <c:v>102.214</c:v>
                      </c:pt>
                      <c:pt idx="41">
                        <c:v>105.55011111111109</c:v>
                      </c:pt>
                      <c:pt idx="42">
                        <c:v>106.34488888888889</c:v>
                      </c:pt>
                      <c:pt idx="43">
                        <c:v>106.23322222222222</c:v>
                      </c:pt>
                      <c:pt idx="44">
                        <c:v>106.81455555555556</c:v>
                      </c:pt>
                      <c:pt idx="45">
                        <c:v>104.77133333333333</c:v>
                      </c:pt>
                      <c:pt idx="46">
                        <c:v>104.23444444444445</c:v>
                      </c:pt>
                      <c:pt idx="47">
                        <c:v>104.67588888888889</c:v>
                      </c:pt>
                      <c:pt idx="48">
                        <c:v>104.98644444444443</c:v>
                      </c:pt>
                      <c:pt idx="49">
                        <c:v>106.31122222222223</c:v>
                      </c:pt>
                      <c:pt idx="50">
                        <c:v>106.29444444444447</c:v>
                      </c:pt>
                      <c:pt idx="51">
                        <c:v>105.41711111111113</c:v>
                      </c:pt>
                      <c:pt idx="52">
                        <c:v>105.20555555555558</c:v>
                      </c:pt>
                      <c:pt idx="53">
                        <c:v>105.91400000000002</c:v>
                      </c:pt>
                      <c:pt idx="54">
                        <c:v>105.06777777777776</c:v>
                      </c:pt>
                      <c:pt idx="55">
                        <c:v>102.42033333333333</c:v>
                      </c:pt>
                      <c:pt idx="56">
                        <c:v>105.13577777777778</c:v>
                      </c:pt>
                      <c:pt idx="57">
                        <c:v>105.92655555555555</c:v>
                      </c:pt>
                      <c:pt idx="58">
                        <c:v>104.94088888888888</c:v>
                      </c:pt>
                      <c:pt idx="59">
                        <c:v>106.038</c:v>
                      </c:pt>
                      <c:pt idx="60">
                        <c:v>105.34133333333334</c:v>
                      </c:pt>
                      <c:pt idx="61">
                        <c:v>103.97499999999999</c:v>
                      </c:pt>
                      <c:pt idx="62">
                        <c:v>102.58799999999999</c:v>
                      </c:pt>
                      <c:pt idx="63">
                        <c:v>102.25466666666665</c:v>
                      </c:pt>
                      <c:pt idx="64">
                        <c:v>99.925222222222217</c:v>
                      </c:pt>
                    </c:numCache>
                  </c:numRef>
                </c:val>
                <c:smooth val="0"/>
                <c:extLst xmlns:c15="http://schemas.microsoft.com/office/drawing/2012/chart">
                  <c:ext xmlns:c16="http://schemas.microsoft.com/office/drawing/2014/chart" uri="{C3380CC4-5D6E-409C-BE32-E72D297353CC}">
                    <c16:uniqueId val="{00000016-A74E-43EC-ACDF-1CA2D59ACD5D}"/>
                  </c:ext>
                </c:extLst>
              </c15:ser>
            </c15:filteredLineSeries>
            <c15:filteredLineSeries>
              <c15:ser>
                <c:idx val="23"/>
                <c:order val="23"/>
                <c:tx>
                  <c:strRef>
                    <c:extLst xmlns:c15="http://schemas.microsoft.com/office/drawing/2012/chart">
                      <c:ext xmlns:c15="http://schemas.microsoft.com/office/drawing/2012/chart" uri="{02D57815-91ED-43cb-92C2-25804820EDAC}">
                        <c15:formulaRef>
                          <c15:sqref>Average!$AE$38</c15:sqref>
                        </c15:formulaRef>
                      </c:ext>
                    </c:extLst>
                    <c:strCache>
                      <c:ptCount val="1"/>
                      <c:pt idx="0">
                        <c:v>MSCI Brazil</c:v>
                      </c:pt>
                    </c:strCache>
                  </c:strRef>
                </c:tx>
                <c:spPr>
                  <a:ln w="12700" cap="rnd" cmpd="sng" algn="ctr">
                    <a:solidFill>
                      <a:srgbClr val="BEB29E"/>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E$79:$AE$143</c15:sqref>
                        </c15:formulaRef>
                      </c:ext>
                    </c:extLst>
                    <c:numCache>
                      <c:formatCode>0.0</c:formatCode>
                      <c:ptCount val="65"/>
                      <c:pt idx="0">
                        <c:v>92.12222222222222</c:v>
                      </c:pt>
                      <c:pt idx="1">
                        <c:v>94.711111111111109</c:v>
                      </c:pt>
                      <c:pt idx="2">
                        <c:v>97.222222222222229</c:v>
                      </c:pt>
                      <c:pt idx="3">
                        <c:v>97.85555555555554</c:v>
                      </c:pt>
                      <c:pt idx="4">
                        <c:v>96.533333333333346</c:v>
                      </c:pt>
                      <c:pt idx="5">
                        <c:v>96.722222222222229</c:v>
                      </c:pt>
                      <c:pt idx="6">
                        <c:v>97.555555555555557</c:v>
                      </c:pt>
                      <c:pt idx="7">
                        <c:v>95.36666666666666</c:v>
                      </c:pt>
                      <c:pt idx="8">
                        <c:v>93.811111111111089</c:v>
                      </c:pt>
                      <c:pt idx="9">
                        <c:v>93.544444444444437</c:v>
                      </c:pt>
                      <c:pt idx="10">
                        <c:v>96.577777777777783</c:v>
                      </c:pt>
                      <c:pt idx="11">
                        <c:v>97.199999999999989</c:v>
                      </c:pt>
                      <c:pt idx="12">
                        <c:v>100</c:v>
                      </c:pt>
                      <c:pt idx="13">
                        <c:v>99.122222222222206</c:v>
                      </c:pt>
                      <c:pt idx="14">
                        <c:v>95.388888888888872</c:v>
                      </c:pt>
                      <c:pt idx="15">
                        <c:v>97.077777777777769</c:v>
                      </c:pt>
                      <c:pt idx="16">
                        <c:v>96.26666666666668</c:v>
                      </c:pt>
                      <c:pt idx="17">
                        <c:v>100.15555555555557</c:v>
                      </c:pt>
                      <c:pt idx="18">
                        <c:v>102.2</c:v>
                      </c:pt>
                      <c:pt idx="19">
                        <c:v>102.78888888888889</c:v>
                      </c:pt>
                      <c:pt idx="20">
                        <c:v>103.7</c:v>
                      </c:pt>
                      <c:pt idx="21">
                        <c:v>104.62222222222223</c:v>
                      </c:pt>
                      <c:pt idx="22">
                        <c:v>104.33333333333333</c:v>
                      </c:pt>
                      <c:pt idx="23">
                        <c:v>105.44444444444444</c:v>
                      </c:pt>
                      <c:pt idx="24">
                        <c:v>105.87777777777778</c:v>
                      </c:pt>
                      <c:pt idx="25">
                        <c:v>103.36666666666667</c:v>
                      </c:pt>
                      <c:pt idx="26">
                        <c:v>105.7</c:v>
                      </c:pt>
                      <c:pt idx="27">
                        <c:v>105.4</c:v>
                      </c:pt>
                      <c:pt idx="28">
                        <c:v>108.52222222222221</c:v>
                      </c:pt>
                      <c:pt idx="29">
                        <c:v>113.32222222222222</c:v>
                      </c:pt>
                      <c:pt idx="30">
                        <c:v>119.36666666666666</c:v>
                      </c:pt>
                      <c:pt idx="31">
                        <c:v>124.83333333333336</c:v>
                      </c:pt>
                      <c:pt idx="32">
                        <c:v>132.61111111111111</c:v>
                      </c:pt>
                      <c:pt idx="33">
                        <c:v>135.04444444444445</c:v>
                      </c:pt>
                      <c:pt idx="34">
                        <c:v>133.42222222222225</c:v>
                      </c:pt>
                      <c:pt idx="35">
                        <c:v>132.22222222222223</c:v>
                      </c:pt>
                      <c:pt idx="36">
                        <c:v>135.36666666666667</c:v>
                      </c:pt>
                      <c:pt idx="37">
                        <c:v>137.8111111111111</c:v>
                      </c:pt>
                      <c:pt idx="38">
                        <c:v>142.29999999999998</c:v>
                      </c:pt>
                      <c:pt idx="39">
                        <c:v>147.07777777777781</c:v>
                      </c:pt>
                      <c:pt idx="40">
                        <c:v>169.68888888888887</c:v>
                      </c:pt>
                      <c:pt idx="41">
                        <c:v>180.37777777777777</c:v>
                      </c:pt>
                      <c:pt idx="42">
                        <c:v>193.64444444444447</c:v>
                      </c:pt>
                      <c:pt idx="43">
                        <c:v>221.72222222222223</c:v>
                      </c:pt>
                      <c:pt idx="44">
                        <c:v>222.3111111111111</c:v>
                      </c:pt>
                      <c:pt idx="45">
                        <c:v>237.84444444444443</c:v>
                      </c:pt>
                      <c:pt idx="46">
                        <c:v>238.06666666666672</c:v>
                      </c:pt>
                      <c:pt idx="47">
                        <c:v>253.35555555555553</c:v>
                      </c:pt>
                      <c:pt idx="48">
                        <c:v>301.29999999999995</c:v>
                      </c:pt>
                      <c:pt idx="49">
                        <c:v>330.5888888888889</c:v>
                      </c:pt>
                      <c:pt idx="50">
                        <c:v>339.01111111111106</c:v>
                      </c:pt>
                      <c:pt idx="51">
                        <c:v>370.9666666666667</c:v>
                      </c:pt>
                      <c:pt idx="52">
                        <c:v>367.77777777777783</c:v>
                      </c:pt>
                      <c:pt idx="53">
                        <c:v>371.9111111111111</c:v>
                      </c:pt>
                      <c:pt idx="54">
                        <c:v>269.43333333333334</c:v>
                      </c:pt>
                      <c:pt idx="55">
                        <c:v>235.33333333333334</c:v>
                      </c:pt>
                      <c:pt idx="56">
                        <c:v>268.33333333333331</c:v>
                      </c:pt>
                      <c:pt idx="57">
                        <c:v>296.20000000000005</c:v>
                      </c:pt>
                      <c:pt idx="58">
                        <c:v>347.42222222222222</c:v>
                      </c:pt>
                      <c:pt idx="59">
                        <c:v>368.1</c:v>
                      </c:pt>
                      <c:pt idx="60">
                        <c:v>371.14444444444439</c:v>
                      </c:pt>
                      <c:pt idx="61">
                        <c:v>353.67777777777775</c:v>
                      </c:pt>
                      <c:pt idx="62">
                        <c:v>346.84444444444449</c:v>
                      </c:pt>
                      <c:pt idx="63">
                        <c:v>356.45555555555552</c:v>
                      </c:pt>
                      <c:pt idx="64">
                        <c:v>362.16666666666669</c:v>
                      </c:pt>
                    </c:numCache>
                  </c:numRef>
                </c:val>
                <c:smooth val="0"/>
                <c:extLst xmlns:c15="http://schemas.microsoft.com/office/drawing/2012/chart">
                  <c:ext xmlns:c16="http://schemas.microsoft.com/office/drawing/2014/chart" uri="{C3380CC4-5D6E-409C-BE32-E72D297353CC}">
                    <c16:uniqueId val="{00000017-A74E-43EC-ACDF-1CA2D59ACD5D}"/>
                  </c:ext>
                </c:extLst>
              </c15:ser>
            </c15:filteredLineSeries>
            <c15:filteredLineSeries>
              <c15:ser>
                <c:idx val="24"/>
                <c:order val="24"/>
                <c:tx>
                  <c:strRef>
                    <c:extLst xmlns:c15="http://schemas.microsoft.com/office/drawing/2012/chart">
                      <c:ext xmlns:c15="http://schemas.microsoft.com/office/drawing/2012/chart" uri="{02D57815-91ED-43cb-92C2-25804820EDAC}">
                        <c15:formulaRef>
                          <c15:sqref>Average!$AF$38</c15:sqref>
                        </c15:formulaRef>
                      </c:ext>
                    </c:extLst>
                    <c:strCache>
                      <c:ptCount val="1"/>
                      <c:pt idx="0">
                        <c:v>MSCI Mexico</c:v>
                      </c:pt>
                    </c:strCache>
                  </c:strRef>
                </c:tx>
                <c:spPr>
                  <a:ln w="12700" cap="rnd" cmpd="sng" algn="ctr">
                    <a:solidFill>
                      <a:srgbClr val="4D3C2F"/>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F$79:$AF$143</c15:sqref>
                        </c15:formulaRef>
                      </c:ext>
                    </c:extLst>
                    <c:numCache>
                      <c:formatCode>0.0</c:formatCode>
                      <c:ptCount val="65"/>
                      <c:pt idx="0">
                        <c:v>93.842555555555549</c:v>
                      </c:pt>
                      <c:pt idx="1">
                        <c:v>95.25</c:v>
                      </c:pt>
                      <c:pt idx="2">
                        <c:v>96.516111111111115</c:v>
                      </c:pt>
                      <c:pt idx="3">
                        <c:v>97.042999999999992</c:v>
                      </c:pt>
                      <c:pt idx="4">
                        <c:v>97.2668888888889</c:v>
                      </c:pt>
                      <c:pt idx="5">
                        <c:v>96.369</c:v>
                      </c:pt>
                      <c:pt idx="6">
                        <c:v>96.86722222222221</c:v>
                      </c:pt>
                      <c:pt idx="7">
                        <c:v>96.120222222222225</c:v>
                      </c:pt>
                      <c:pt idx="8">
                        <c:v>93.755333333333326</c:v>
                      </c:pt>
                      <c:pt idx="9">
                        <c:v>94.833777777777783</c:v>
                      </c:pt>
                      <c:pt idx="10">
                        <c:v>96.223888888888879</c:v>
                      </c:pt>
                      <c:pt idx="11">
                        <c:v>97.120555555555555</c:v>
                      </c:pt>
                      <c:pt idx="12">
                        <c:v>100</c:v>
                      </c:pt>
                      <c:pt idx="13">
                        <c:v>100.20444444444445</c:v>
                      </c:pt>
                      <c:pt idx="14">
                        <c:v>100.24877777777778</c:v>
                      </c:pt>
                      <c:pt idx="15">
                        <c:v>101.40222222222221</c:v>
                      </c:pt>
                      <c:pt idx="16">
                        <c:v>101.71577777777777</c:v>
                      </c:pt>
                      <c:pt idx="17">
                        <c:v>103.90944444444445</c:v>
                      </c:pt>
                      <c:pt idx="18">
                        <c:v>101.22499999999999</c:v>
                      </c:pt>
                      <c:pt idx="19">
                        <c:v>100.90788888888889</c:v>
                      </c:pt>
                      <c:pt idx="20">
                        <c:v>100.45655555555555</c:v>
                      </c:pt>
                      <c:pt idx="21">
                        <c:v>100.91722222222221</c:v>
                      </c:pt>
                      <c:pt idx="22">
                        <c:v>100.16466666666668</c:v>
                      </c:pt>
                      <c:pt idx="23">
                        <c:v>100.65522222222222</c:v>
                      </c:pt>
                      <c:pt idx="24">
                        <c:v>101.05466666666668</c:v>
                      </c:pt>
                      <c:pt idx="25">
                        <c:v>100.83088888888889</c:v>
                      </c:pt>
                      <c:pt idx="26">
                        <c:v>103.94433333333335</c:v>
                      </c:pt>
                      <c:pt idx="27">
                        <c:v>102.80822222222223</c:v>
                      </c:pt>
                      <c:pt idx="28">
                        <c:v>102.00588888888889</c:v>
                      </c:pt>
                      <c:pt idx="29">
                        <c:v>102.65655555555556</c:v>
                      </c:pt>
                      <c:pt idx="30">
                        <c:v>103.8858888888889</c:v>
                      </c:pt>
                      <c:pt idx="31">
                        <c:v>103.06166666666667</c:v>
                      </c:pt>
                      <c:pt idx="32">
                        <c:v>108.06055555555557</c:v>
                      </c:pt>
                      <c:pt idx="33">
                        <c:v>108.40244444444447</c:v>
                      </c:pt>
                      <c:pt idx="34">
                        <c:v>107.88888888888887</c:v>
                      </c:pt>
                      <c:pt idx="35">
                        <c:v>108.46533333333333</c:v>
                      </c:pt>
                      <c:pt idx="36">
                        <c:v>109.62133333333334</c:v>
                      </c:pt>
                      <c:pt idx="37">
                        <c:v>109.15855555555557</c:v>
                      </c:pt>
                      <c:pt idx="38">
                        <c:v>110.05611111111111</c:v>
                      </c:pt>
                      <c:pt idx="39">
                        <c:v>110.87922222222223</c:v>
                      </c:pt>
                      <c:pt idx="40">
                        <c:v>111.96144444444445</c:v>
                      </c:pt>
                      <c:pt idx="41">
                        <c:v>112.35566666666668</c:v>
                      </c:pt>
                      <c:pt idx="42">
                        <c:v>113.53677777777777</c:v>
                      </c:pt>
                      <c:pt idx="43">
                        <c:v>115.65577777777779</c:v>
                      </c:pt>
                      <c:pt idx="44">
                        <c:v>114.4477777777778</c:v>
                      </c:pt>
                      <c:pt idx="45">
                        <c:v>113.91522222222223</c:v>
                      </c:pt>
                      <c:pt idx="46">
                        <c:v>113.60644444444443</c:v>
                      </c:pt>
                      <c:pt idx="47">
                        <c:v>114.2863333333333</c:v>
                      </c:pt>
                      <c:pt idx="48">
                        <c:v>115.78466666666668</c:v>
                      </c:pt>
                      <c:pt idx="49">
                        <c:v>116.20277777777781</c:v>
                      </c:pt>
                      <c:pt idx="50">
                        <c:v>119.60622222222221</c:v>
                      </c:pt>
                      <c:pt idx="51">
                        <c:v>119.86744444444444</c:v>
                      </c:pt>
                      <c:pt idx="52">
                        <c:v>122.25033333333333</c:v>
                      </c:pt>
                      <c:pt idx="53">
                        <c:v>122.86811111111112</c:v>
                      </c:pt>
                      <c:pt idx="54">
                        <c:v>121.95455555555554</c:v>
                      </c:pt>
                      <c:pt idx="55">
                        <c:v>121.49644444444445</c:v>
                      </c:pt>
                      <c:pt idx="56">
                        <c:v>122.85877777777776</c:v>
                      </c:pt>
                      <c:pt idx="57">
                        <c:v>124.08966666666667</c:v>
                      </c:pt>
                      <c:pt idx="58">
                        <c:v>125.26033333333332</c:v>
                      </c:pt>
                      <c:pt idx="59">
                        <c:v>125.38277777777778</c:v>
                      </c:pt>
                      <c:pt idx="60">
                        <c:v>125.61444444444444</c:v>
                      </c:pt>
                      <c:pt idx="61">
                        <c:v>126.24944444444444</c:v>
                      </c:pt>
                      <c:pt idx="62">
                        <c:v>127.94288888888887</c:v>
                      </c:pt>
                      <c:pt idx="63">
                        <c:v>130.40111111111111</c:v>
                      </c:pt>
                      <c:pt idx="64">
                        <c:v>132.50188888888886</c:v>
                      </c:pt>
                    </c:numCache>
                  </c:numRef>
                </c:val>
                <c:smooth val="0"/>
                <c:extLst xmlns:c15="http://schemas.microsoft.com/office/drawing/2012/chart">
                  <c:ext xmlns:c16="http://schemas.microsoft.com/office/drawing/2014/chart" uri="{C3380CC4-5D6E-409C-BE32-E72D297353CC}">
                    <c16:uniqueId val="{00000018-A74E-43EC-ACDF-1CA2D59ACD5D}"/>
                  </c:ext>
                </c:extLst>
              </c15:ser>
            </c15:filteredLineSeries>
            <c15:filteredLineSeries>
              <c15:ser>
                <c:idx val="25"/>
                <c:order val="25"/>
                <c:tx>
                  <c:strRef>
                    <c:extLst xmlns:c15="http://schemas.microsoft.com/office/drawing/2012/chart">
                      <c:ext xmlns:c15="http://schemas.microsoft.com/office/drawing/2012/chart" uri="{02D57815-91ED-43cb-92C2-25804820EDAC}">
                        <c15:formulaRef>
                          <c15:sqref>Average!$AG$38</c15:sqref>
                        </c15:formulaRef>
                      </c:ext>
                    </c:extLst>
                    <c:strCache>
                      <c:ptCount val="1"/>
                      <c:pt idx="0">
                        <c:v>MSCI South Africa</c:v>
                      </c:pt>
                    </c:strCache>
                  </c:strRef>
                </c:tx>
                <c:spPr>
                  <a:ln w="12700" cap="rnd" cmpd="sng" algn="ctr">
                    <a:solidFill>
                      <a:srgbClr val="CFBD9B"/>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G$79:$AG$143</c15:sqref>
                        </c15:formulaRef>
                      </c:ext>
                    </c:extLst>
                    <c:numCache>
                      <c:formatCode>0.0</c:formatCode>
                      <c:ptCount val="65"/>
                      <c:pt idx="0">
                        <c:v>104.43400000000001</c:v>
                      </c:pt>
                      <c:pt idx="1">
                        <c:v>104.52671428571429</c:v>
                      </c:pt>
                      <c:pt idx="2">
                        <c:v>105.15385714285715</c:v>
                      </c:pt>
                      <c:pt idx="3">
                        <c:v>104.55242857142856</c:v>
                      </c:pt>
                      <c:pt idx="4">
                        <c:v>105.82385714285715</c:v>
                      </c:pt>
                      <c:pt idx="5">
                        <c:v>103.45057142857142</c:v>
                      </c:pt>
                      <c:pt idx="6">
                        <c:v>101.85528571428571</c:v>
                      </c:pt>
                      <c:pt idx="7">
                        <c:v>100.61842857142857</c:v>
                      </c:pt>
                      <c:pt idx="8">
                        <c:v>99.083714285714294</c:v>
                      </c:pt>
                      <c:pt idx="9">
                        <c:v>100.91214285714287</c:v>
                      </c:pt>
                      <c:pt idx="10">
                        <c:v>100.98328571428571</c:v>
                      </c:pt>
                      <c:pt idx="11">
                        <c:v>100.57257142857142</c:v>
                      </c:pt>
                      <c:pt idx="12">
                        <c:v>100</c:v>
                      </c:pt>
                      <c:pt idx="13">
                        <c:v>100.27514285714287</c:v>
                      </c:pt>
                      <c:pt idx="14">
                        <c:v>98.078285714285713</c:v>
                      </c:pt>
                      <c:pt idx="15">
                        <c:v>99.822999999999993</c:v>
                      </c:pt>
                      <c:pt idx="16">
                        <c:v>101.60342857142859</c:v>
                      </c:pt>
                      <c:pt idx="17">
                        <c:v>103.91714285714285</c:v>
                      </c:pt>
                      <c:pt idx="18">
                        <c:v>104.72857142857141</c:v>
                      </c:pt>
                      <c:pt idx="19">
                        <c:v>103.87842857142857</c:v>
                      </c:pt>
                      <c:pt idx="20">
                        <c:v>103.44528571428573</c:v>
                      </c:pt>
                      <c:pt idx="21">
                        <c:v>102.11499999999999</c:v>
                      </c:pt>
                      <c:pt idx="22">
                        <c:v>100.43971428571429</c:v>
                      </c:pt>
                      <c:pt idx="23">
                        <c:v>101.71585714285713</c:v>
                      </c:pt>
                      <c:pt idx="24">
                        <c:v>100.79142857142857</c:v>
                      </c:pt>
                      <c:pt idx="25">
                        <c:v>99.41</c:v>
                      </c:pt>
                      <c:pt idx="26">
                        <c:v>102.43057142857143</c:v>
                      </c:pt>
                      <c:pt idx="27">
                        <c:v>103.30785714285716</c:v>
                      </c:pt>
                      <c:pt idx="28">
                        <c:v>104.3</c:v>
                      </c:pt>
                      <c:pt idx="29">
                        <c:v>102.59799999999998</c:v>
                      </c:pt>
                      <c:pt idx="30">
                        <c:v>102.66928571428572</c:v>
                      </c:pt>
                      <c:pt idx="31">
                        <c:v>104.44657142857145</c:v>
                      </c:pt>
                      <c:pt idx="32">
                        <c:v>106.16099999999999</c:v>
                      </c:pt>
                      <c:pt idx="33">
                        <c:v>107.00285714285714</c:v>
                      </c:pt>
                      <c:pt idx="34">
                        <c:v>107.94485714285713</c:v>
                      </c:pt>
                      <c:pt idx="35">
                        <c:v>108.76728571428571</c:v>
                      </c:pt>
                      <c:pt idx="36">
                        <c:v>109.75785714285715</c:v>
                      </c:pt>
                      <c:pt idx="37">
                        <c:v>109.56428571428572</c:v>
                      </c:pt>
                      <c:pt idx="38">
                        <c:v>109.27142857142857</c:v>
                      </c:pt>
                      <c:pt idx="39">
                        <c:v>108.64585714285715</c:v>
                      </c:pt>
                      <c:pt idx="40">
                        <c:v>109.14657142857143</c:v>
                      </c:pt>
                      <c:pt idx="41">
                        <c:v>110.22414285714287</c:v>
                      </c:pt>
                      <c:pt idx="42">
                        <c:v>110.42214285714284</c:v>
                      </c:pt>
                      <c:pt idx="43">
                        <c:v>109.94571428571427</c:v>
                      </c:pt>
                      <c:pt idx="44">
                        <c:v>109.18871428571431</c:v>
                      </c:pt>
                      <c:pt idx="45">
                        <c:v>106.00114285714287</c:v>
                      </c:pt>
                      <c:pt idx="46">
                        <c:v>107.50842857142857</c:v>
                      </c:pt>
                      <c:pt idx="47">
                        <c:v>107.95242857142857</c:v>
                      </c:pt>
                      <c:pt idx="48">
                        <c:v>108.88571428571427</c:v>
                      </c:pt>
                      <c:pt idx="49">
                        <c:v>108.69685714285716</c:v>
                      </c:pt>
                      <c:pt idx="50">
                        <c:v>109.01257142857142</c:v>
                      </c:pt>
                      <c:pt idx="51">
                        <c:v>109.22514285714286</c:v>
                      </c:pt>
                      <c:pt idx="52">
                        <c:v>110.20885714285714</c:v>
                      </c:pt>
                      <c:pt idx="53">
                        <c:v>111.33185714285715</c:v>
                      </c:pt>
                      <c:pt idx="54">
                        <c:v>110.77814285714285</c:v>
                      </c:pt>
                      <c:pt idx="55">
                        <c:v>109.73828571428571</c:v>
                      </c:pt>
                      <c:pt idx="56">
                        <c:v>110.76785714285714</c:v>
                      </c:pt>
                      <c:pt idx="57">
                        <c:v>111.92842857142857</c:v>
                      </c:pt>
                      <c:pt idx="58">
                        <c:v>113.23314285714287</c:v>
                      </c:pt>
                      <c:pt idx="59">
                        <c:v>113.94285714285714</c:v>
                      </c:pt>
                      <c:pt idx="60">
                        <c:v>114.11728571428571</c:v>
                      </c:pt>
                      <c:pt idx="61">
                        <c:v>115.37985714285716</c:v>
                      </c:pt>
                      <c:pt idx="62">
                        <c:v>117.24900000000001</c:v>
                      </c:pt>
                      <c:pt idx="63">
                        <c:v>116.27385714285715</c:v>
                      </c:pt>
                      <c:pt idx="64">
                        <c:v>118.34314285714287</c:v>
                      </c:pt>
                    </c:numCache>
                  </c:numRef>
                </c:val>
                <c:smooth val="0"/>
                <c:extLst xmlns:c15="http://schemas.microsoft.com/office/drawing/2012/chart">
                  <c:ext xmlns:c16="http://schemas.microsoft.com/office/drawing/2014/chart" uri="{C3380CC4-5D6E-409C-BE32-E72D297353CC}">
                    <c16:uniqueId val="{00000019-A74E-43EC-ACDF-1CA2D59ACD5D}"/>
                  </c:ext>
                </c:extLst>
              </c15:ser>
            </c15:filteredLineSeries>
            <c15:filteredLineSeries>
              <c15:ser>
                <c:idx val="26"/>
                <c:order val="26"/>
                <c:tx>
                  <c:strRef>
                    <c:extLst xmlns:c15="http://schemas.microsoft.com/office/drawing/2012/chart">
                      <c:ext xmlns:c15="http://schemas.microsoft.com/office/drawing/2012/chart" uri="{02D57815-91ED-43cb-92C2-25804820EDAC}">
                        <c15:formulaRef>
                          <c15:sqref>Average!$AH$38</c15:sqref>
                        </c15:formulaRef>
                      </c:ext>
                    </c:extLst>
                    <c:strCache>
                      <c:ptCount val="1"/>
                      <c:pt idx="0">
                        <c:v>MSCI Saudi Arabia</c:v>
                      </c:pt>
                    </c:strCache>
                  </c:strRef>
                </c:tx>
                <c:spPr>
                  <a:ln w="12700" cap="rnd" cmpd="sng" algn="ctr">
                    <a:solidFill>
                      <a:srgbClr val="A43725"/>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H$79:$AH$143</c15:sqref>
                        </c15:formulaRef>
                      </c:ext>
                    </c:extLst>
                    <c:numCache>
                      <c:formatCode>0.0</c:formatCode>
                      <c:ptCount val="65"/>
                      <c:pt idx="0">
                        <c:v>104.12233333333332</c:v>
                      </c:pt>
                      <c:pt idx="1">
                        <c:v>102.40933333333334</c:v>
                      </c:pt>
                      <c:pt idx="2">
                        <c:v>104.94366666666667</c:v>
                      </c:pt>
                      <c:pt idx="3">
                        <c:v>104.42066666666666</c:v>
                      </c:pt>
                      <c:pt idx="4">
                        <c:v>103.39866666666667</c:v>
                      </c:pt>
                      <c:pt idx="5">
                        <c:v>107.33199999999999</c:v>
                      </c:pt>
                      <c:pt idx="6">
                        <c:v>105.13266666666668</c:v>
                      </c:pt>
                      <c:pt idx="7">
                        <c:v>102.82266666666668</c:v>
                      </c:pt>
                      <c:pt idx="8">
                        <c:v>103.99166666666667</c:v>
                      </c:pt>
                      <c:pt idx="9">
                        <c:v>102.69600000000001</c:v>
                      </c:pt>
                      <c:pt idx="10">
                        <c:v>103.13133333333333</c:v>
                      </c:pt>
                      <c:pt idx="11">
                        <c:v>100.44233333333334</c:v>
                      </c:pt>
                      <c:pt idx="12">
                        <c:v>100</c:v>
                      </c:pt>
                      <c:pt idx="13">
                        <c:v>96.047666666666672</c:v>
                      </c:pt>
                      <c:pt idx="14">
                        <c:v>92.503</c:v>
                      </c:pt>
                      <c:pt idx="15">
                        <c:v>93.131000000000014</c:v>
                      </c:pt>
                      <c:pt idx="16">
                        <c:v>92.683666666666667</c:v>
                      </c:pt>
                      <c:pt idx="17">
                        <c:v>94.927000000000007</c:v>
                      </c:pt>
                      <c:pt idx="18">
                        <c:v>93.72966666666666</c:v>
                      </c:pt>
                      <c:pt idx="19">
                        <c:v>91.899666666666647</c:v>
                      </c:pt>
                      <c:pt idx="20">
                        <c:v>93.382000000000005</c:v>
                      </c:pt>
                      <c:pt idx="21">
                        <c:v>92.315999999999988</c:v>
                      </c:pt>
                      <c:pt idx="22">
                        <c:v>90.682000000000002</c:v>
                      </c:pt>
                      <c:pt idx="23">
                        <c:v>92.51766666666667</c:v>
                      </c:pt>
                      <c:pt idx="24">
                        <c:v>94.570666666666668</c:v>
                      </c:pt>
                      <c:pt idx="25">
                        <c:v>94.816333333333333</c:v>
                      </c:pt>
                      <c:pt idx="26">
                        <c:v>94.871333333333325</c:v>
                      </c:pt>
                      <c:pt idx="27">
                        <c:v>95.944666666666663</c:v>
                      </c:pt>
                      <c:pt idx="28">
                        <c:v>95.967333333333343</c:v>
                      </c:pt>
                      <c:pt idx="29">
                        <c:v>95.311666666666653</c:v>
                      </c:pt>
                      <c:pt idx="30">
                        <c:v>96.022000000000006</c:v>
                      </c:pt>
                      <c:pt idx="31">
                        <c:v>96.781333333333336</c:v>
                      </c:pt>
                      <c:pt idx="32">
                        <c:v>97.226333333333329</c:v>
                      </c:pt>
                      <c:pt idx="33">
                        <c:v>97.61433333333332</c:v>
                      </c:pt>
                      <c:pt idx="34">
                        <c:v>97.725000000000009</c:v>
                      </c:pt>
                      <c:pt idx="35">
                        <c:v>96.633333333333326</c:v>
                      </c:pt>
                      <c:pt idx="36">
                        <c:v>98.143333333333331</c:v>
                      </c:pt>
                      <c:pt idx="37">
                        <c:v>97.942666666666653</c:v>
                      </c:pt>
                      <c:pt idx="38">
                        <c:v>96.474000000000004</c:v>
                      </c:pt>
                      <c:pt idx="39">
                        <c:v>97.347333333333339</c:v>
                      </c:pt>
                      <c:pt idx="40">
                        <c:v>97.184000000000012</c:v>
                      </c:pt>
                      <c:pt idx="41">
                        <c:v>96.075000000000003</c:v>
                      </c:pt>
                      <c:pt idx="42">
                        <c:v>94.959666666666678</c:v>
                      </c:pt>
                      <c:pt idx="43">
                        <c:v>95.409000000000006</c:v>
                      </c:pt>
                      <c:pt idx="44">
                        <c:v>92.524000000000001</c:v>
                      </c:pt>
                      <c:pt idx="45">
                        <c:v>90.320333333333338</c:v>
                      </c:pt>
                      <c:pt idx="46">
                        <c:v>89.859666666666655</c:v>
                      </c:pt>
                      <c:pt idx="47">
                        <c:v>89.407333333333341</c:v>
                      </c:pt>
                      <c:pt idx="48">
                        <c:v>92.549333333333337</c:v>
                      </c:pt>
                      <c:pt idx="49">
                        <c:v>92.482000000000014</c:v>
                      </c:pt>
                      <c:pt idx="50">
                        <c:v>91.061333333333323</c:v>
                      </c:pt>
                      <c:pt idx="51">
                        <c:v>92.368333333333339</c:v>
                      </c:pt>
                      <c:pt idx="52">
                        <c:v>92.009999999999991</c:v>
                      </c:pt>
                      <c:pt idx="53">
                        <c:v>93.064000000000007</c:v>
                      </c:pt>
                      <c:pt idx="54">
                        <c:v>94.798000000000002</c:v>
                      </c:pt>
                      <c:pt idx="55">
                        <c:v>94.251333333333321</c:v>
                      </c:pt>
                      <c:pt idx="56">
                        <c:v>94.806666666666672</c:v>
                      </c:pt>
                      <c:pt idx="57">
                        <c:v>96.024999999999991</c:v>
                      </c:pt>
                      <c:pt idx="58">
                        <c:v>95.886666666666656</c:v>
                      </c:pt>
                      <c:pt idx="59">
                        <c:v>94.627666666666684</c:v>
                      </c:pt>
                      <c:pt idx="60">
                        <c:v>94.169666666666672</c:v>
                      </c:pt>
                      <c:pt idx="61">
                        <c:v>95.273666666666671</c:v>
                      </c:pt>
                      <c:pt idx="62">
                        <c:v>96.116666666666674</c:v>
                      </c:pt>
                      <c:pt idx="63">
                        <c:v>95.713666666666668</c:v>
                      </c:pt>
                      <c:pt idx="64">
                        <c:v>97.212666666666678</c:v>
                      </c:pt>
                    </c:numCache>
                  </c:numRef>
                </c:val>
                <c:smooth val="0"/>
                <c:extLst xmlns:c15="http://schemas.microsoft.com/office/drawing/2012/chart">
                  <c:ext xmlns:c16="http://schemas.microsoft.com/office/drawing/2014/chart" uri="{C3380CC4-5D6E-409C-BE32-E72D297353CC}">
                    <c16:uniqueId val="{0000001A-A74E-43EC-ACDF-1CA2D59ACD5D}"/>
                  </c:ext>
                </c:extLst>
              </c15:ser>
            </c15:filteredLineSeries>
            <c15:filteredLineSeries>
              <c15:ser>
                <c:idx val="27"/>
                <c:order val="27"/>
                <c:tx>
                  <c:strRef>
                    <c:extLst xmlns:c15="http://schemas.microsoft.com/office/drawing/2012/chart">
                      <c:ext xmlns:c15="http://schemas.microsoft.com/office/drawing/2012/chart" uri="{02D57815-91ED-43cb-92C2-25804820EDAC}">
                        <c15:formulaRef>
                          <c15:sqref>Average!$AI$38</c15:sqref>
                        </c15:formulaRef>
                      </c:ext>
                    </c:extLst>
                    <c:strCache>
                      <c:ptCount val="1"/>
                      <c:pt idx="0">
                        <c:v>HSTECH</c:v>
                      </c:pt>
                    </c:strCache>
                  </c:strRef>
                </c:tx>
                <c:spPr>
                  <a:ln w="12700" cap="rnd" cmpd="sng" algn="ctr">
                    <a:solidFill>
                      <a:srgbClr val="55B1B4"/>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I$79:$AI$143</c15:sqref>
                        </c15:formulaRef>
                      </c:ext>
                    </c:extLst>
                    <c:numCache>
                      <c:formatCode>0.0</c:formatCode>
                      <c:ptCount val="65"/>
                      <c:pt idx="0">
                        <c:v>96.716666666666654</c:v>
                      </c:pt>
                      <c:pt idx="1">
                        <c:v>98.54</c:v>
                      </c:pt>
                      <c:pt idx="2">
                        <c:v>96.643333333333331</c:v>
                      </c:pt>
                      <c:pt idx="3">
                        <c:v>95.356666666666669</c:v>
                      </c:pt>
                      <c:pt idx="4">
                        <c:v>93.766666666666666</c:v>
                      </c:pt>
                      <c:pt idx="5">
                        <c:v>96.56</c:v>
                      </c:pt>
                      <c:pt idx="6">
                        <c:v>96.75333333333333</c:v>
                      </c:pt>
                      <c:pt idx="7">
                        <c:v>96.77</c:v>
                      </c:pt>
                      <c:pt idx="8">
                        <c:v>98.17</c:v>
                      </c:pt>
                      <c:pt idx="9">
                        <c:v>98.006666666666675</c:v>
                      </c:pt>
                      <c:pt idx="10">
                        <c:v>98.660000000000011</c:v>
                      </c:pt>
                      <c:pt idx="11">
                        <c:v>99.71</c:v>
                      </c:pt>
                      <c:pt idx="12">
                        <c:v>100</c:v>
                      </c:pt>
                      <c:pt idx="13">
                        <c:v>100.75</c:v>
                      </c:pt>
                      <c:pt idx="14">
                        <c:v>103.62</c:v>
                      </c:pt>
                      <c:pt idx="15">
                        <c:v>102.77333333333333</c:v>
                      </c:pt>
                      <c:pt idx="16">
                        <c:v>100.01666666666667</c:v>
                      </c:pt>
                      <c:pt idx="17">
                        <c:v>103.88666666666667</c:v>
                      </c:pt>
                      <c:pt idx="18">
                        <c:v>105.62333333333333</c:v>
                      </c:pt>
                      <c:pt idx="19">
                        <c:v>109.07333333333334</c:v>
                      </c:pt>
                      <c:pt idx="20">
                        <c:v>105.83666666666666</c:v>
                      </c:pt>
                      <c:pt idx="21">
                        <c:v>105.56333333333333</c:v>
                      </c:pt>
                      <c:pt idx="22">
                        <c:v>107.57000000000001</c:v>
                      </c:pt>
                      <c:pt idx="23">
                        <c:v>111.10666666666667</c:v>
                      </c:pt>
                      <c:pt idx="24">
                        <c:v>112.39999999999999</c:v>
                      </c:pt>
                      <c:pt idx="25">
                        <c:v>112.77999999999999</c:v>
                      </c:pt>
                      <c:pt idx="26">
                        <c:v>115.79</c:v>
                      </c:pt>
                      <c:pt idx="27">
                        <c:v>114.38999999999999</c:v>
                      </c:pt>
                      <c:pt idx="28">
                        <c:v>118.14999999999999</c:v>
                      </c:pt>
                      <c:pt idx="29">
                        <c:v>118.92</c:v>
                      </c:pt>
                      <c:pt idx="30">
                        <c:v>123.66666666666667</c:v>
                      </c:pt>
                      <c:pt idx="31">
                        <c:v>130.44666666666669</c:v>
                      </c:pt>
                      <c:pt idx="32">
                        <c:v>134.55000000000001</c:v>
                      </c:pt>
                      <c:pt idx="33">
                        <c:v>133.43666666666667</c:v>
                      </c:pt>
                      <c:pt idx="34">
                        <c:v>138.92999999999998</c:v>
                      </c:pt>
                      <c:pt idx="35">
                        <c:v>141.26333333333335</c:v>
                      </c:pt>
                      <c:pt idx="36">
                        <c:v>146.63</c:v>
                      </c:pt>
                      <c:pt idx="37">
                        <c:v>145.29333333333332</c:v>
                      </c:pt>
                      <c:pt idx="38">
                        <c:v>147.12666666666667</c:v>
                      </c:pt>
                      <c:pt idx="39">
                        <c:v>141.03666666666666</c:v>
                      </c:pt>
                      <c:pt idx="40">
                        <c:v>142.09333333333333</c:v>
                      </c:pt>
                      <c:pt idx="41">
                        <c:v>136.69000000000003</c:v>
                      </c:pt>
                      <c:pt idx="42">
                        <c:v>134.61333333333334</c:v>
                      </c:pt>
                      <c:pt idx="43">
                        <c:v>137.19333333333336</c:v>
                      </c:pt>
                      <c:pt idx="44">
                        <c:v>138.35666666666665</c:v>
                      </c:pt>
                      <c:pt idx="45">
                        <c:v>131.5</c:v>
                      </c:pt>
                      <c:pt idx="46">
                        <c:v>135.19666666666669</c:v>
                      </c:pt>
                      <c:pt idx="47">
                        <c:v>135.69333333333333</c:v>
                      </c:pt>
                      <c:pt idx="48">
                        <c:v>140.19666666666666</c:v>
                      </c:pt>
                      <c:pt idx="49">
                        <c:v>141.11666666666665</c:v>
                      </c:pt>
                      <c:pt idx="50">
                        <c:v>144.10333333333332</c:v>
                      </c:pt>
                      <c:pt idx="51">
                        <c:v>141.14666666666668</c:v>
                      </c:pt>
                      <c:pt idx="52">
                        <c:v>144.59333333333333</c:v>
                      </c:pt>
                      <c:pt idx="53">
                        <c:v>146.06333333333336</c:v>
                      </c:pt>
                      <c:pt idx="54">
                        <c:v>148.57666666666668</c:v>
                      </c:pt>
                      <c:pt idx="55">
                        <c:v>146.80666666666664</c:v>
                      </c:pt>
                      <c:pt idx="56">
                        <c:v>155.84</c:v>
                      </c:pt>
                      <c:pt idx="57">
                        <c:v>155.5</c:v>
                      </c:pt>
                      <c:pt idx="58">
                        <c:v>162.33333333333334</c:v>
                      </c:pt>
                      <c:pt idx="59">
                        <c:v>170.99</c:v>
                      </c:pt>
                      <c:pt idx="60">
                        <c:v>169.67</c:v>
                      </c:pt>
                      <c:pt idx="61">
                        <c:v>180.17999999999998</c:v>
                      </c:pt>
                      <c:pt idx="62">
                        <c:v>183.64999999999998</c:v>
                      </c:pt>
                      <c:pt idx="63">
                        <c:v>178.23333333333335</c:v>
                      </c:pt>
                      <c:pt idx="64">
                        <c:v>178.24666666666667</c:v>
                      </c:pt>
                    </c:numCache>
                  </c:numRef>
                </c:val>
                <c:smooth val="0"/>
                <c:extLst xmlns:c15="http://schemas.microsoft.com/office/drawing/2012/chart">
                  <c:ext xmlns:c16="http://schemas.microsoft.com/office/drawing/2014/chart" uri="{C3380CC4-5D6E-409C-BE32-E72D297353CC}">
                    <c16:uniqueId val="{0000001B-A74E-43EC-ACDF-1CA2D59ACD5D}"/>
                  </c:ext>
                </c:extLst>
              </c15:ser>
            </c15:filteredLineSeries>
            <c15:filteredLineSeries>
              <c15:ser>
                <c:idx val="28"/>
                <c:order val="28"/>
                <c:tx>
                  <c:strRef>
                    <c:extLst xmlns:c15="http://schemas.microsoft.com/office/drawing/2012/chart">
                      <c:ext xmlns:c15="http://schemas.microsoft.com/office/drawing/2012/chart" uri="{02D57815-91ED-43cb-92C2-25804820EDAC}">
                        <c15:formulaRef>
                          <c15:sqref>Average!$AJ$38</c15:sqref>
                        </c15:formulaRef>
                      </c:ext>
                    </c:extLst>
                    <c:strCache>
                      <c:ptCount val="1"/>
                      <c:pt idx="0">
                        <c:v>0</c:v>
                      </c:pt>
                    </c:strCache>
                  </c:strRef>
                </c:tx>
                <c:spPr>
                  <a:ln w="12700" cap="rnd" cmpd="sng" algn="ctr">
                    <a:solidFill>
                      <a:srgbClr val="E5B01C"/>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J$79:$AJ$143</c15:sqref>
                        </c15:formulaRef>
                      </c:ext>
                    </c:extLst>
                    <c:numCache>
                      <c:formatCode>0.0</c:formatCode>
                      <c:ptCount val="6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numCache>
                  </c:numRef>
                </c:val>
                <c:smooth val="0"/>
                <c:extLst xmlns:c15="http://schemas.microsoft.com/office/drawing/2012/chart">
                  <c:ext xmlns:c16="http://schemas.microsoft.com/office/drawing/2014/chart" uri="{C3380CC4-5D6E-409C-BE32-E72D297353CC}">
                    <c16:uniqueId val="{0000001C-A74E-43EC-ACDF-1CA2D59ACD5D}"/>
                  </c:ext>
                </c:extLst>
              </c15:ser>
            </c15:filteredLineSeries>
            <c15:filteredLineSeries>
              <c15:ser>
                <c:idx val="29"/>
                <c:order val="29"/>
                <c:tx>
                  <c:strRef>
                    <c:extLst xmlns:c15="http://schemas.microsoft.com/office/drawing/2012/chart">
                      <c:ext xmlns:c15="http://schemas.microsoft.com/office/drawing/2012/chart" uri="{02D57815-91ED-43cb-92C2-25804820EDAC}">
                        <c15:formulaRef>
                          <c15:sqref>Average!$AK$38</c15:sqref>
                        </c15:formulaRef>
                      </c:ext>
                    </c:extLst>
                    <c:strCache>
                      <c:ptCount val="1"/>
                      <c:pt idx="0">
                        <c:v>0</c:v>
                      </c:pt>
                    </c:strCache>
                  </c:strRef>
                </c:tx>
                <c:spPr>
                  <a:ln w="12700" cap="rnd" cmpd="sng" algn="ctr">
                    <a:solidFill>
                      <a:srgbClr val="3A578A"/>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K$79:$AK$143</c15:sqref>
                        </c15:formulaRef>
                      </c:ext>
                    </c:extLst>
                    <c:numCache>
                      <c:formatCode>0.0</c:formatCode>
                      <c:ptCount val="6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numCache>
                  </c:numRef>
                </c:val>
                <c:smooth val="0"/>
                <c:extLst xmlns:c15="http://schemas.microsoft.com/office/drawing/2012/chart">
                  <c:ext xmlns:c16="http://schemas.microsoft.com/office/drawing/2014/chart" uri="{C3380CC4-5D6E-409C-BE32-E72D297353CC}">
                    <c16:uniqueId val="{0000001D-A74E-43EC-ACDF-1CA2D59ACD5D}"/>
                  </c:ext>
                </c:extLst>
              </c15:ser>
            </c15:filteredLineSeries>
            <c15:filteredLineSeries>
              <c15:ser>
                <c:idx val="30"/>
                <c:order val="30"/>
                <c:tx>
                  <c:strRef>
                    <c:extLst xmlns:c15="http://schemas.microsoft.com/office/drawing/2012/chart">
                      <c:ext xmlns:c15="http://schemas.microsoft.com/office/drawing/2012/chart" uri="{02D57815-91ED-43cb-92C2-25804820EDAC}">
                        <c15:formulaRef>
                          <c15:sqref>Average!$AL$38</c15:sqref>
                        </c15:formulaRef>
                      </c:ext>
                    </c:extLst>
                    <c:strCache>
                      <c:ptCount val="1"/>
                      <c:pt idx="0">
                        <c:v>0</c:v>
                      </c:pt>
                    </c:strCache>
                  </c:strRef>
                </c:tx>
                <c:spPr>
                  <a:ln w="12700" cap="rnd" cmpd="sng" algn="ctr">
                    <a:solidFill>
                      <a:srgbClr val="97D3CC"/>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L$79:$AL$143</c15:sqref>
                        </c15:formulaRef>
                      </c:ext>
                    </c:extLst>
                    <c:numCache>
                      <c:formatCode>0.0</c:formatCode>
                      <c:ptCount val="6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numCache>
                  </c:numRef>
                </c:val>
                <c:smooth val="0"/>
                <c:extLst xmlns:c15="http://schemas.microsoft.com/office/drawing/2012/chart">
                  <c:ext xmlns:c16="http://schemas.microsoft.com/office/drawing/2014/chart" uri="{C3380CC4-5D6E-409C-BE32-E72D297353CC}">
                    <c16:uniqueId val="{0000001E-A74E-43EC-ACDF-1CA2D59ACD5D}"/>
                  </c:ext>
                </c:extLst>
              </c15:ser>
            </c15:filteredLineSeries>
            <c15:filteredLineSeries>
              <c15:ser>
                <c:idx val="31"/>
                <c:order val="31"/>
                <c:tx>
                  <c:strRef>
                    <c:extLst xmlns:c15="http://schemas.microsoft.com/office/drawing/2012/chart">
                      <c:ext xmlns:c15="http://schemas.microsoft.com/office/drawing/2012/chart" uri="{02D57815-91ED-43cb-92C2-25804820EDAC}">
                        <c15:formulaRef>
                          <c15:sqref>Average!$AM$38</c15:sqref>
                        </c15:formulaRef>
                      </c:ext>
                    </c:extLst>
                    <c:strCache>
                      <c:ptCount val="1"/>
                      <c:pt idx="0">
                        <c:v>0</c:v>
                      </c:pt>
                    </c:strCache>
                  </c:strRef>
                </c:tx>
                <c:spPr>
                  <a:ln w="12700" cap="rnd" cmpd="sng" algn="ctr">
                    <a:solidFill>
                      <a:srgbClr val="EDC860"/>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M$79:$AM$143</c15:sqref>
                        </c15:formulaRef>
                      </c:ext>
                    </c:extLst>
                    <c:numCache>
                      <c:formatCode>0.0</c:formatCode>
                      <c:ptCount val="6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numCache>
                  </c:numRef>
                </c:val>
                <c:smooth val="0"/>
                <c:extLst xmlns:c15="http://schemas.microsoft.com/office/drawing/2012/chart">
                  <c:ext xmlns:c16="http://schemas.microsoft.com/office/drawing/2014/chart" uri="{C3380CC4-5D6E-409C-BE32-E72D297353CC}">
                    <c16:uniqueId val="{0000001F-A74E-43EC-ACDF-1CA2D59ACD5D}"/>
                  </c:ext>
                </c:extLst>
              </c15:ser>
            </c15:filteredLineSeries>
            <c15:filteredLineSeries>
              <c15:ser>
                <c:idx val="32"/>
                <c:order val="32"/>
                <c:tx>
                  <c:strRef>
                    <c:extLst xmlns:c15="http://schemas.microsoft.com/office/drawing/2012/chart">
                      <c:ext xmlns:c15="http://schemas.microsoft.com/office/drawing/2012/chart" uri="{02D57815-91ED-43cb-92C2-25804820EDAC}">
                        <c15:formulaRef>
                          <c15:sqref>Average!$AN$38</c15:sqref>
                        </c15:formulaRef>
                      </c:ext>
                    </c:extLst>
                    <c:strCache>
                      <c:ptCount val="1"/>
                      <c:pt idx="0">
                        <c:v>0</c:v>
                      </c:pt>
                    </c:strCache>
                  </c:strRef>
                </c:tx>
                <c:spPr>
                  <a:ln w="12700" cap="rnd" cmpd="sng" algn="ctr">
                    <a:solidFill>
                      <a:srgbClr val="6C87B3"/>
                    </a:solidFill>
                    <a:prstDash val="solid"/>
                    <a:round/>
                    <a:headEnd type="none" w="med" len="med"/>
                    <a:tailEnd type="none" w="med" len="med"/>
                  </a:ln>
                  <a:effectLst/>
                </c:spPr>
                <c:marker>
                  <c:symbol val="none"/>
                </c:marker>
                <c:cat>
                  <c:numRef>
                    <c:extLst xmlns:c15="http://schemas.microsoft.com/office/drawing/2012/chart">
                      <c:ext xmlns:c15="http://schemas.microsoft.com/office/drawing/2012/chart" uri="{02D57815-91ED-43cb-92C2-25804820EDAC}">
                        <c15:formulaRef>
                          <c15:sqref>Average!$F$79:$F$143</c15:sqref>
                        </c15:formulaRef>
                      </c:ext>
                    </c:extLst>
                    <c:numCache>
                      <c:formatCode>General</c:formatCode>
                      <c:ptCount val="65"/>
                      <c:pt idx="0">
                        <c:v>-12</c:v>
                      </c:pt>
                      <c:pt idx="1">
                        <c:v>-11</c:v>
                      </c:pt>
                      <c:pt idx="2">
                        <c:v>-10</c:v>
                      </c:pt>
                      <c:pt idx="3">
                        <c:v>-9</c:v>
                      </c:pt>
                      <c:pt idx="4">
                        <c:v>-8</c:v>
                      </c:pt>
                      <c:pt idx="5">
                        <c:v>-7</c:v>
                      </c:pt>
                      <c:pt idx="6">
                        <c:v>-6</c:v>
                      </c:pt>
                      <c:pt idx="7">
                        <c:v>-5</c:v>
                      </c:pt>
                      <c:pt idx="8">
                        <c:v>-4</c:v>
                      </c:pt>
                      <c:pt idx="9">
                        <c:v>-3</c:v>
                      </c:pt>
                      <c:pt idx="10">
                        <c:v>-2</c:v>
                      </c:pt>
                      <c:pt idx="11">
                        <c:v>-1</c:v>
                      </c:pt>
                      <c:pt idx="12">
                        <c:v>0</c:v>
                      </c:pt>
                      <c:pt idx="13">
                        <c:v>1</c:v>
                      </c:pt>
                      <c:pt idx="14">
                        <c:v>2</c:v>
                      </c:pt>
                      <c:pt idx="15">
                        <c:v>3</c:v>
                      </c:pt>
                      <c:pt idx="16">
                        <c:v>4</c:v>
                      </c:pt>
                      <c:pt idx="17">
                        <c:v>5</c:v>
                      </c:pt>
                      <c:pt idx="18">
                        <c:v>6</c:v>
                      </c:pt>
                      <c:pt idx="19">
                        <c:v>7</c:v>
                      </c:pt>
                      <c:pt idx="20">
                        <c:v>8</c:v>
                      </c:pt>
                      <c:pt idx="21">
                        <c:v>9</c:v>
                      </c:pt>
                      <c:pt idx="22">
                        <c:v>10</c:v>
                      </c:pt>
                      <c:pt idx="23">
                        <c:v>11</c:v>
                      </c:pt>
                      <c:pt idx="24">
                        <c:v>12</c:v>
                      </c:pt>
                      <c:pt idx="25">
                        <c:v>13</c:v>
                      </c:pt>
                      <c:pt idx="26">
                        <c:v>14</c:v>
                      </c:pt>
                      <c:pt idx="27">
                        <c:v>15</c:v>
                      </c:pt>
                      <c:pt idx="28">
                        <c:v>16</c:v>
                      </c:pt>
                      <c:pt idx="29">
                        <c:v>17</c:v>
                      </c:pt>
                      <c:pt idx="30">
                        <c:v>18</c:v>
                      </c:pt>
                      <c:pt idx="31">
                        <c:v>19</c:v>
                      </c:pt>
                      <c:pt idx="32">
                        <c:v>20</c:v>
                      </c:pt>
                      <c:pt idx="33">
                        <c:v>21</c:v>
                      </c:pt>
                      <c:pt idx="34">
                        <c:v>22</c:v>
                      </c:pt>
                      <c:pt idx="35">
                        <c:v>23</c:v>
                      </c:pt>
                      <c:pt idx="36">
                        <c:v>24</c:v>
                      </c:pt>
                      <c:pt idx="37">
                        <c:v>25</c:v>
                      </c:pt>
                      <c:pt idx="38">
                        <c:v>26</c:v>
                      </c:pt>
                      <c:pt idx="39">
                        <c:v>27</c:v>
                      </c:pt>
                      <c:pt idx="40">
                        <c:v>28</c:v>
                      </c:pt>
                      <c:pt idx="41">
                        <c:v>29</c:v>
                      </c:pt>
                      <c:pt idx="42">
                        <c:v>30</c:v>
                      </c:pt>
                      <c:pt idx="43">
                        <c:v>31</c:v>
                      </c:pt>
                      <c:pt idx="44">
                        <c:v>32</c:v>
                      </c:pt>
                      <c:pt idx="45">
                        <c:v>33</c:v>
                      </c:pt>
                      <c:pt idx="46">
                        <c:v>34</c:v>
                      </c:pt>
                      <c:pt idx="47">
                        <c:v>35</c:v>
                      </c:pt>
                      <c:pt idx="48">
                        <c:v>36</c:v>
                      </c:pt>
                      <c:pt idx="49">
                        <c:v>37</c:v>
                      </c:pt>
                      <c:pt idx="50">
                        <c:v>38</c:v>
                      </c:pt>
                      <c:pt idx="51">
                        <c:v>39</c:v>
                      </c:pt>
                      <c:pt idx="52">
                        <c:v>40</c:v>
                      </c:pt>
                      <c:pt idx="53">
                        <c:v>41</c:v>
                      </c:pt>
                      <c:pt idx="54">
                        <c:v>42</c:v>
                      </c:pt>
                      <c:pt idx="55">
                        <c:v>43</c:v>
                      </c:pt>
                      <c:pt idx="56">
                        <c:v>44</c:v>
                      </c:pt>
                      <c:pt idx="57">
                        <c:v>45</c:v>
                      </c:pt>
                      <c:pt idx="58">
                        <c:v>46</c:v>
                      </c:pt>
                      <c:pt idx="59">
                        <c:v>47</c:v>
                      </c:pt>
                      <c:pt idx="60">
                        <c:v>48</c:v>
                      </c:pt>
                      <c:pt idx="61">
                        <c:v>49</c:v>
                      </c:pt>
                      <c:pt idx="62">
                        <c:v>50</c:v>
                      </c:pt>
                      <c:pt idx="63">
                        <c:v>51</c:v>
                      </c:pt>
                      <c:pt idx="64">
                        <c:v>52</c:v>
                      </c:pt>
                    </c:numCache>
                  </c:numRef>
                </c:cat>
                <c:val>
                  <c:numRef>
                    <c:extLst xmlns:c15="http://schemas.microsoft.com/office/drawing/2012/chart">
                      <c:ext xmlns:c15="http://schemas.microsoft.com/office/drawing/2012/chart" uri="{02D57815-91ED-43cb-92C2-25804820EDAC}">
                        <c15:formulaRef>
                          <c15:sqref>Average!$AN$79:$AN$143</c15:sqref>
                        </c15:formulaRef>
                      </c:ext>
                    </c:extLst>
                    <c:numCache>
                      <c:formatCode>0.0</c:formatCode>
                      <c:ptCount val="6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numCache>
                  </c:numRef>
                </c:val>
                <c:smooth val="0"/>
                <c:extLst xmlns:c15="http://schemas.microsoft.com/office/drawing/2012/chart">
                  <c:ext xmlns:c16="http://schemas.microsoft.com/office/drawing/2014/chart" uri="{C3380CC4-5D6E-409C-BE32-E72D297353CC}">
                    <c16:uniqueId val="{00000020-A74E-43EC-ACDF-1CA2D59ACD5D}"/>
                  </c:ext>
                </c:extLst>
              </c15:ser>
            </c15:filteredLineSeries>
          </c:ext>
        </c:extLst>
      </c:lineChart>
      <c:catAx>
        <c:axId val="821585247"/>
        <c:scaling>
          <c:orientation val="minMax"/>
        </c:scaling>
        <c:delete val="0"/>
        <c:axPos val="b"/>
        <c:numFmt formatCode="General" sourceLinked="0"/>
        <c:majorTickMark val="none"/>
        <c:minorTickMark val="none"/>
        <c:tickLblPos val="low"/>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crossAx val="821562207"/>
        <c:crosses val="autoZero"/>
        <c:auto val="1"/>
        <c:lblAlgn val="ctr"/>
        <c:lblOffset val="100"/>
        <c:tickLblSkip val="2"/>
        <c:noMultiLvlLbl val="0"/>
      </c:catAx>
      <c:valAx>
        <c:axId val="821562207"/>
        <c:scaling>
          <c:orientation val="minMax"/>
          <c:max val="115"/>
          <c:min val="95"/>
        </c:scaling>
        <c:delete val="0"/>
        <c:axPos val="l"/>
        <c:majorGridlines>
          <c:spPr>
            <a:ln w="6350" cap="flat" cmpd="sng" algn="ctr">
              <a:solidFill>
                <a:srgbClr val="ECEBE4"/>
              </a:solidFill>
              <a:prstDash val="solid"/>
              <a:round/>
              <a:headEnd type="none" w="med" len="med"/>
              <a:tailEnd type="none" w="med" len="med"/>
            </a:ln>
            <a:effectLst/>
          </c:spPr>
        </c:majorGridlines>
        <c:numFmt formatCode="General" sourceLinked="0"/>
        <c:majorTickMark val="none"/>
        <c:minorTickMark val="none"/>
        <c:tickLblPos val="nextTo"/>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crossAx val="821585247"/>
        <c:crosses val="autoZero"/>
        <c:crossBetween val="between"/>
        <c:majorUnit val="5"/>
      </c:valAx>
      <c:spPr>
        <a:solidFill>
          <a:srgbClr val="FFFFFF"/>
        </a:solidFill>
        <a:ln>
          <a:noFill/>
        </a:ln>
        <a:effectLst/>
      </c:spPr>
    </c:plotArea>
    <c:legend>
      <c:legendPos val="b"/>
      <c:layout>
        <c:manualLayout>
          <c:xMode val="edge"/>
          <c:yMode val="edge"/>
          <c:x val="8.2063973063972919E-3"/>
          <c:y val="0.93493429219639568"/>
          <c:w val="0.98572508657826829"/>
          <c:h val="6.506570780360429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legend>
    <c:plotVisOnly val="1"/>
    <c:dispBlanksAs val="gap"/>
    <c:showDLblsOverMax val="0"/>
    <c:extLst/>
  </c:chart>
  <c:spPr>
    <a:solidFill>
      <a:srgbClr val="FFFFFF"/>
    </a:solidFill>
    <a:ln w="9525" cap="flat" cmpd="sng" algn="ctr">
      <a:noFill/>
      <a:round/>
    </a:ln>
    <a:effectLst/>
  </c:spPr>
  <c:txPr>
    <a:bodyPr/>
    <a:lstStyle/>
    <a:p>
      <a:pPr>
        <a:defRPr sz="1200">
          <a:solidFill>
            <a:schemeClr val="tx1">
              <a:lumMod val="65000"/>
              <a:lumOff val="35000"/>
            </a:schemeClr>
          </a:solidFill>
          <a:latin typeface="+mn-lt"/>
          <a:ea typeface="+mn-ea"/>
        </a:defRPr>
      </a:pPr>
      <a:endParaRPr lang="en-CH"/>
    </a:p>
  </c:txPr>
  <c:externalData r:id="rId3">
    <c:autoUpdate val="0"/>
  </c:externalData>
  <c:userShapes r:id="rId4"/>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163286629118921E-2"/>
          <c:y val="1.8108122107880379E-2"/>
          <c:w val="0.85928916485574491"/>
          <c:h val="0.7934219779967574"/>
        </c:manualLayout>
      </c:layout>
      <c:scatterChart>
        <c:scatterStyle val="lineMarker"/>
        <c:varyColors val="0"/>
        <c:ser>
          <c:idx val="0"/>
          <c:order val="0"/>
          <c:tx>
            <c:strRef>
              <c:f>'3m'!$AB$20</c:f>
              <c:strCache>
                <c:ptCount val="1"/>
                <c:pt idx="0">
                  <c:v>DXY 3m Chg</c:v>
                </c:pt>
              </c:strCache>
            </c:strRef>
          </c:tx>
          <c:spPr>
            <a:solidFill>
              <a:srgbClr val="FFFFFF"/>
            </a:solidFill>
            <a:ln w="25400" cap="rnd" cmpd="sng" algn="ctr">
              <a:noFill/>
              <a:prstDash val="solid"/>
              <a:round/>
              <a:headEnd type="none" w="med" len="med"/>
              <a:tailEnd type="none" w="med" len="med"/>
            </a:ln>
            <a:effectLst/>
            <a:extLst>
              <a:ext uri="{91240B29-F687-4F45-9708-019B960494DF}">
                <a14:hiddenLine xmlns:a14="http://schemas.microsoft.com/office/drawing/2010/main" w="25400" cap="rnd" cmpd="sng" algn="ctr">
                  <a:solidFill>
                    <a:srgbClr val="8E8D83"/>
                  </a:solidFill>
                  <a:prstDash val="solid"/>
                  <a:round/>
                  <a:headEnd type="none" w="med" len="med"/>
                  <a:tailEnd type="none" w="med" len="med"/>
                </a14:hiddenLine>
              </a:ext>
            </a:extLst>
          </c:spPr>
          <c:marker>
            <c:symbol val="circle"/>
            <c:size val="5"/>
            <c:spPr>
              <a:solidFill>
                <a:srgbClr val="8E8D83"/>
              </a:solidFill>
              <a:ln w="25400" cap="rnd" cmpd="sng" algn="ctr">
                <a:noFill/>
                <a:prstDash val="solid"/>
                <a:round/>
                <a:headEnd type="none" w="med" len="med"/>
                <a:tailEnd type="none" w="med" len="med"/>
              </a:ln>
              <a:effectLst/>
              <a:extLst>
                <a:ext uri="{91240B29-F687-4F45-9708-019B960494DF}">
                  <a14:hiddenLine xmlns:a14="http://schemas.microsoft.com/office/drawing/2010/main" w="25400" cap="rnd" cmpd="sng" algn="ctr">
                    <a:solidFill>
                      <a:srgbClr val="8E8D83"/>
                    </a:solidFill>
                    <a:prstDash val="solid"/>
                    <a:round/>
                    <a:headEnd type="none" w="med" len="med"/>
                    <a:tailEnd type="none" w="med" len="med"/>
                  </a14:hiddenLine>
                </a:ext>
              </a:extLst>
            </c:spPr>
          </c:marker>
          <c:trendline>
            <c:spPr>
              <a:ln w="12700" cap="rnd">
                <a:solidFill>
                  <a:schemeClr val="tx2"/>
                </a:solidFill>
                <a:prstDash val="solid"/>
              </a:ln>
              <a:effectLst/>
            </c:spPr>
            <c:trendlineType val="linear"/>
            <c:dispRSqr val="1"/>
            <c:dispEq val="0"/>
            <c:trendlineLbl>
              <c:layout>
                <c:manualLayout>
                  <c:x val="0.15956613795060318"/>
                  <c:y val="-0.31036654183448864"/>
                </c:manualLayout>
              </c:layout>
              <c:numFmt formatCode="General" sourceLinked="0"/>
              <c:spPr>
                <a:solidFill>
                  <a:schemeClr val="tx2">
                    <a:lumMod val="20000"/>
                    <a:lumOff val="80000"/>
                  </a:schemeClr>
                </a:solidFill>
                <a:ln>
                  <a:noFill/>
                </a:ln>
                <a:effectLst/>
              </c:spPr>
              <c:txPr>
                <a:bodyPr rot="0" vert="horz"/>
                <a:lstStyle/>
                <a:p>
                  <a:pPr>
                    <a:defRPr/>
                  </a:pPr>
                  <a:endParaRPr lang="en-CH"/>
                </a:p>
              </c:txPr>
            </c:trendlineLbl>
          </c:trendline>
          <c:xVal>
            <c:numRef>
              <c:f>'3m'!$AB$21:$AB$85</c:f>
              <c:numCache>
                <c:formatCode>0.0</c:formatCode>
                <c:ptCount val="65"/>
                <c:pt idx="0">
                  <c:v>0.63</c:v>
                </c:pt>
                <c:pt idx="1">
                  <c:v>0.91600000000000004</c:v>
                </c:pt>
                <c:pt idx="2">
                  <c:v>-7.1369999999999996</c:v>
                </c:pt>
                <c:pt idx="3">
                  <c:v>-3.8959999999999999</c:v>
                </c:pt>
                <c:pt idx="4">
                  <c:v>7.2069999999999999</c:v>
                </c:pt>
                <c:pt idx="5">
                  <c:v>-4.4450000000000003</c:v>
                </c:pt>
                <c:pt idx="6">
                  <c:v>0.84</c:v>
                </c:pt>
                <c:pt idx="7">
                  <c:v>3.6379999999999999</c:v>
                </c:pt>
                <c:pt idx="8">
                  <c:v>-5.2110000000000003</c:v>
                </c:pt>
                <c:pt idx="9">
                  <c:v>3.802</c:v>
                </c:pt>
                <c:pt idx="10">
                  <c:v>0.877</c:v>
                </c:pt>
                <c:pt idx="11">
                  <c:v>-2.0019999999999998</c:v>
                </c:pt>
                <c:pt idx="12">
                  <c:v>-6.7709999999999999</c:v>
                </c:pt>
                <c:pt idx="13">
                  <c:v>6.2839999999999998</c:v>
                </c:pt>
                <c:pt idx="14">
                  <c:v>6.5979999999999999</c:v>
                </c:pt>
                <c:pt idx="15">
                  <c:v>2.5150000000000001</c:v>
                </c:pt>
                <c:pt idx="16">
                  <c:v>2.3079999999999998</c:v>
                </c:pt>
                <c:pt idx="17">
                  <c:v>1.5549999999999999</c:v>
                </c:pt>
                <c:pt idx="18">
                  <c:v>-0.35499999999999998</c:v>
                </c:pt>
                <c:pt idx="19">
                  <c:v>3.3239999999999998</c:v>
                </c:pt>
                <c:pt idx="20">
                  <c:v>-4.0229999999999997</c:v>
                </c:pt>
                <c:pt idx="21">
                  <c:v>-3.5910000000000002</c:v>
                </c:pt>
                <c:pt idx="22">
                  <c:v>-2.4780000000000002</c:v>
                </c:pt>
                <c:pt idx="23">
                  <c:v>3.403</c:v>
                </c:pt>
                <c:pt idx="24">
                  <c:v>-2.7639999999999998</c:v>
                </c:pt>
                <c:pt idx="25">
                  <c:v>2.3650000000000002</c:v>
                </c:pt>
                <c:pt idx="26">
                  <c:v>-0.40100000000000002</c:v>
                </c:pt>
                <c:pt idx="27">
                  <c:v>1.1020000000000001</c:v>
                </c:pt>
                <c:pt idx="28">
                  <c:v>0.91300000000000003</c:v>
                </c:pt>
                <c:pt idx="29">
                  <c:v>0.27400000000000002</c:v>
                </c:pt>
                <c:pt idx="30">
                  <c:v>5.5410000000000004</c:v>
                </c:pt>
                <c:pt idx="31">
                  <c:v>-2.2509999999999999</c:v>
                </c:pt>
                <c:pt idx="32">
                  <c:v>-1.5349999999999999</c:v>
                </c:pt>
                <c:pt idx="33">
                  <c:v>-2.7650000000000001</c:v>
                </c:pt>
                <c:pt idx="34">
                  <c:v>-4.2969999999999997</c:v>
                </c:pt>
                <c:pt idx="35">
                  <c:v>-2.2269999999999999</c:v>
                </c:pt>
                <c:pt idx="36">
                  <c:v>7.45</c:v>
                </c:pt>
                <c:pt idx="37">
                  <c:v>5.1999999999999998E-2</c:v>
                </c:pt>
                <c:pt idx="38">
                  <c:v>1.089</c:v>
                </c:pt>
                <c:pt idx="39">
                  <c:v>-4.0670000000000002</c:v>
                </c:pt>
                <c:pt idx="40">
                  <c:v>2.5379999999999998</c:v>
                </c:pt>
                <c:pt idx="41">
                  <c:v>-0.125</c:v>
                </c:pt>
                <c:pt idx="42">
                  <c:v>-1.915</c:v>
                </c:pt>
                <c:pt idx="43">
                  <c:v>8.7739999999999991</c:v>
                </c:pt>
                <c:pt idx="44">
                  <c:v>5.0019999999999998</c:v>
                </c:pt>
                <c:pt idx="45">
                  <c:v>7.7050000000000001</c:v>
                </c:pt>
                <c:pt idx="46">
                  <c:v>-0.33700000000000002</c:v>
                </c:pt>
                <c:pt idx="47">
                  <c:v>6.2E-2</c:v>
                </c:pt>
                <c:pt idx="48">
                  <c:v>-0.125</c:v>
                </c:pt>
                <c:pt idx="49">
                  <c:v>-3.504</c:v>
                </c:pt>
                <c:pt idx="50">
                  <c:v>0.38700000000000001</c:v>
                </c:pt>
                <c:pt idx="51">
                  <c:v>3.7109999999999999</c:v>
                </c:pt>
                <c:pt idx="52">
                  <c:v>-6.3E-2</c:v>
                </c:pt>
                <c:pt idx="53">
                  <c:v>-2.504</c:v>
                </c:pt>
                <c:pt idx="54">
                  <c:v>3.87</c:v>
                </c:pt>
                <c:pt idx="55">
                  <c:v>-1.696</c:v>
                </c:pt>
                <c:pt idx="56">
                  <c:v>0.94399999999999995</c:v>
                </c:pt>
                <c:pt idx="57">
                  <c:v>6.8330000000000002</c:v>
                </c:pt>
                <c:pt idx="58">
                  <c:v>-1.952</c:v>
                </c:pt>
                <c:pt idx="59">
                  <c:v>-4.17</c:v>
                </c:pt>
                <c:pt idx="60">
                  <c:v>1.3320000000000001</c:v>
                </c:pt>
                <c:pt idx="61">
                  <c:v>-7.8259999999999996</c:v>
                </c:pt>
                <c:pt idx="62">
                  <c:v>4.8769999999999998</c:v>
                </c:pt>
                <c:pt idx="63">
                  <c:v>3.75</c:v>
                </c:pt>
                <c:pt idx="64">
                  <c:v>0.86799999999999999</c:v>
                </c:pt>
              </c:numCache>
            </c:numRef>
          </c:xVal>
          <c:yVal>
            <c:numRef>
              <c:f>'3m'!$AC$21:$AC$85</c:f>
              <c:numCache>
                <c:formatCode>0.0</c:formatCode>
                <c:ptCount val="65"/>
                <c:pt idx="0">
                  <c:v>3.8879999999999999</c:v>
                </c:pt>
                <c:pt idx="1">
                  <c:v>10.045</c:v>
                </c:pt>
                <c:pt idx="2">
                  <c:v>10.677</c:v>
                </c:pt>
                <c:pt idx="3">
                  <c:v>3.1720000000000002</c:v>
                </c:pt>
                <c:pt idx="4">
                  <c:v>-8.1929999999999996</c:v>
                </c:pt>
                <c:pt idx="5">
                  <c:v>7.8360000000000003</c:v>
                </c:pt>
                <c:pt idx="6">
                  <c:v>4.3490000000000002</c:v>
                </c:pt>
                <c:pt idx="7">
                  <c:v>1.698</c:v>
                </c:pt>
                <c:pt idx="8">
                  <c:v>7.6909999999999998</c:v>
                </c:pt>
                <c:pt idx="9">
                  <c:v>-5.335</c:v>
                </c:pt>
                <c:pt idx="10">
                  <c:v>1.61</c:v>
                </c:pt>
                <c:pt idx="11">
                  <c:v>3.4580000000000002</c:v>
                </c:pt>
                <c:pt idx="12">
                  <c:v>9.1280000000000001</c:v>
                </c:pt>
                <c:pt idx="13">
                  <c:v>-11.753</c:v>
                </c:pt>
                <c:pt idx="14">
                  <c:v>-13.353999999999999</c:v>
                </c:pt>
                <c:pt idx="15">
                  <c:v>-7.1059999999999999</c:v>
                </c:pt>
                <c:pt idx="16">
                  <c:v>-1.0509999999999999</c:v>
                </c:pt>
                <c:pt idx="17">
                  <c:v>-8.8889999999999993</c:v>
                </c:pt>
                <c:pt idx="18">
                  <c:v>2.4700000000000002</c:v>
                </c:pt>
                <c:pt idx="19">
                  <c:v>3.3660000000000001</c:v>
                </c:pt>
                <c:pt idx="20">
                  <c:v>19.074000000000002</c:v>
                </c:pt>
                <c:pt idx="21">
                  <c:v>8.3670000000000009</c:v>
                </c:pt>
                <c:pt idx="22">
                  <c:v>21.010999999999999</c:v>
                </c:pt>
                <c:pt idx="23">
                  <c:v>-25.782</c:v>
                </c:pt>
                <c:pt idx="24">
                  <c:v>11.632999999999999</c:v>
                </c:pt>
                <c:pt idx="25">
                  <c:v>-6.165</c:v>
                </c:pt>
                <c:pt idx="26">
                  <c:v>-0.56100000000000005</c:v>
                </c:pt>
                <c:pt idx="27">
                  <c:v>10.77</c:v>
                </c:pt>
                <c:pt idx="28">
                  <c:v>-7.6790000000000003</c:v>
                </c:pt>
                <c:pt idx="29">
                  <c:v>-1.22</c:v>
                </c:pt>
                <c:pt idx="30">
                  <c:v>-9.4160000000000004</c:v>
                </c:pt>
                <c:pt idx="31">
                  <c:v>1.0269999999999999</c:v>
                </c:pt>
                <c:pt idx="32">
                  <c:v>6.8860000000000001</c:v>
                </c:pt>
                <c:pt idx="33">
                  <c:v>6.7759999999999998</c:v>
                </c:pt>
                <c:pt idx="34">
                  <c:v>5.0869999999999997</c:v>
                </c:pt>
                <c:pt idx="35">
                  <c:v>11.981</c:v>
                </c:pt>
                <c:pt idx="36">
                  <c:v>-5.4539999999999997</c:v>
                </c:pt>
                <c:pt idx="37">
                  <c:v>8.6210000000000004</c:v>
                </c:pt>
                <c:pt idx="38">
                  <c:v>1.581</c:v>
                </c:pt>
                <c:pt idx="39">
                  <c:v>4.0270000000000001</c:v>
                </c:pt>
                <c:pt idx="40">
                  <c:v>-0.42599999999999999</c:v>
                </c:pt>
                <c:pt idx="41">
                  <c:v>-17.933</c:v>
                </c:pt>
                <c:pt idx="42">
                  <c:v>-1.121</c:v>
                </c:pt>
                <c:pt idx="43">
                  <c:v>2.7869999999999999</c:v>
                </c:pt>
                <c:pt idx="44">
                  <c:v>-4.07</c:v>
                </c:pt>
                <c:pt idx="45">
                  <c:v>-5.1870000000000003</c:v>
                </c:pt>
                <c:pt idx="46">
                  <c:v>5.056</c:v>
                </c:pt>
                <c:pt idx="47">
                  <c:v>-0.187</c:v>
                </c:pt>
                <c:pt idx="48">
                  <c:v>0.63400000000000001</c:v>
                </c:pt>
                <c:pt idx="49">
                  <c:v>5.7770000000000001</c:v>
                </c:pt>
                <c:pt idx="50">
                  <c:v>-8.6530000000000005</c:v>
                </c:pt>
                <c:pt idx="51">
                  <c:v>-2.331</c:v>
                </c:pt>
                <c:pt idx="52">
                  <c:v>5.0419999999999998</c:v>
                </c:pt>
                <c:pt idx="53">
                  <c:v>6.7649999999999997</c:v>
                </c:pt>
                <c:pt idx="54">
                  <c:v>-10.148</c:v>
                </c:pt>
                <c:pt idx="55">
                  <c:v>14.244999999999999</c:v>
                </c:pt>
                <c:pt idx="56">
                  <c:v>7.609</c:v>
                </c:pt>
                <c:pt idx="57">
                  <c:v>-26.324000000000002</c:v>
                </c:pt>
                <c:pt idx="58">
                  <c:v>-2.395</c:v>
                </c:pt>
                <c:pt idx="59">
                  <c:v>1.8580000000000001</c:v>
                </c:pt>
                <c:pt idx="60">
                  <c:v>7.1269999999999998</c:v>
                </c:pt>
                <c:pt idx="61">
                  <c:v>19.442</c:v>
                </c:pt>
                <c:pt idx="62">
                  <c:v>-11.484</c:v>
                </c:pt>
                <c:pt idx="63">
                  <c:v>3.8210000000000002</c:v>
                </c:pt>
                <c:pt idx="64">
                  <c:v>8.5820000000000007</c:v>
                </c:pt>
              </c:numCache>
            </c:numRef>
          </c:yVal>
          <c:smooth val="0"/>
          <c:extLst xmlns:c15="http://schemas.microsoft.com/office/drawing/2012/chart">
            <c:ext xmlns:c16="http://schemas.microsoft.com/office/drawing/2014/chart" uri="{C3380CC4-5D6E-409C-BE32-E72D297353CC}">
              <c16:uniqueId val="{00000001-FBF4-4002-A4D6-55779DAFEC69}"/>
            </c:ext>
          </c:extLst>
        </c:ser>
        <c:dLbls>
          <c:showLegendKey val="0"/>
          <c:showVal val="0"/>
          <c:showCatName val="0"/>
          <c:showSerName val="0"/>
          <c:showPercent val="0"/>
          <c:showBubbleSize val="0"/>
        </c:dLbls>
        <c:axId val="538954175"/>
        <c:axId val="538959935"/>
        <c:extLst/>
      </c:scatterChart>
      <c:valAx>
        <c:axId val="538954175"/>
        <c:scaling>
          <c:orientation val="minMax"/>
        </c:scaling>
        <c:delete val="0"/>
        <c:axPos val="b"/>
        <c:majorGridlines>
          <c:spPr>
            <a:ln w="9525" cap="flat" cmpd="sng" algn="ctr">
              <a:solidFill>
                <a:schemeClr val="tx1">
                  <a:lumMod val="15000"/>
                  <a:lumOff val="85000"/>
                </a:schemeClr>
              </a:solidFill>
              <a:round/>
            </a:ln>
            <a:effectLst/>
          </c:spPr>
        </c:majorGridlines>
        <c:title>
          <c:tx>
            <c:strRef>
              <c:f>'3m'!$AB$20</c:f>
              <c:strCache>
                <c:ptCount val="1"/>
                <c:pt idx="0">
                  <c:v>DXY 3m Chg</c:v>
                </c:pt>
              </c:strCache>
            </c:strRef>
          </c:tx>
          <c:layout>
            <c:manualLayout>
              <c:xMode val="edge"/>
              <c:yMode val="edge"/>
              <c:x val="0.44066181167682261"/>
              <c:y val="0.84451664833336337"/>
            </c:manualLayout>
          </c:layout>
          <c:overlay val="0"/>
          <c:spPr>
            <a:noFill/>
            <a:ln>
              <a:noFill/>
            </a:ln>
            <a:effectLst/>
          </c:spPr>
          <c:txPr>
            <a:bodyPr rot="0" vert="horz"/>
            <a:lstStyle/>
            <a:p>
              <a:pPr>
                <a:defRPr b="0"/>
              </a:pPr>
              <a:endParaRPr lang="en-CH"/>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en-CH"/>
          </a:p>
        </c:txPr>
        <c:crossAx val="538959935"/>
        <c:crosses val="autoZero"/>
        <c:crossBetween val="midCat"/>
      </c:valAx>
      <c:valAx>
        <c:axId val="538959935"/>
        <c:scaling>
          <c:orientation val="minMax"/>
        </c:scaling>
        <c:delete val="0"/>
        <c:axPos val="l"/>
        <c:majorGridlines>
          <c:spPr>
            <a:ln w="9525" cap="flat" cmpd="sng" algn="ctr">
              <a:solidFill>
                <a:schemeClr val="tx1">
                  <a:lumMod val="15000"/>
                  <a:lumOff val="85000"/>
                </a:schemeClr>
              </a:solidFill>
              <a:round/>
            </a:ln>
            <a:effectLst/>
          </c:spPr>
        </c:majorGridlines>
        <c:title>
          <c:tx>
            <c:strRef>
              <c:f>'3m'!$AC$20</c:f>
              <c:strCache>
                <c:ptCount val="1"/>
                <c:pt idx="0">
                  <c:v>EM 3m Chg</c:v>
                </c:pt>
              </c:strCache>
            </c:strRef>
          </c:tx>
          <c:layout>
            <c:manualLayout>
              <c:xMode val="edge"/>
              <c:yMode val="edge"/>
              <c:x val="5.8795383306287198E-3"/>
              <c:y val="0.30874244468451689"/>
            </c:manualLayout>
          </c:layout>
          <c:overlay val="0"/>
          <c:spPr>
            <a:noFill/>
            <a:ln>
              <a:noFill/>
            </a:ln>
            <a:effectLst/>
          </c:spPr>
          <c:txPr>
            <a:bodyPr rot="-5400000" vert="horz"/>
            <a:lstStyle/>
            <a:p>
              <a:pPr>
                <a:defRPr b="0"/>
              </a:pPr>
              <a:endParaRPr lang="en-CH"/>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en-CH"/>
          </a:p>
        </c:txPr>
        <c:crossAx val="538954175"/>
        <c:crosses val="autoZero"/>
        <c:crossBetween val="midCat"/>
      </c:valAx>
      <c:spPr>
        <a:ln>
          <a:noFill/>
        </a:ln>
      </c:spPr>
    </c:plotArea>
    <c:legend>
      <c:legendPos val="b"/>
      <c:legendEntry>
        <c:idx val="1"/>
        <c:txPr>
          <a:bodyPr rot="0" vert="horz"/>
          <a:lstStyle/>
          <a:p>
            <a:pPr>
              <a:defRPr/>
            </a:pPr>
            <a:endParaRPr lang="en-CH"/>
          </a:p>
        </c:txPr>
      </c:legendEntry>
      <c:layout>
        <c:manualLayout>
          <c:xMode val="edge"/>
          <c:yMode val="edge"/>
          <c:x val="4.7797637272736093E-4"/>
          <c:y val="0.89647394020665538"/>
          <c:w val="0.99090299145299143"/>
          <c:h val="0.10087622807175727"/>
        </c:manualLayout>
      </c:layout>
      <c:overlay val="0"/>
      <c:spPr>
        <a:noFill/>
        <a:ln>
          <a:noFill/>
        </a:ln>
        <a:effectLst/>
      </c:spPr>
      <c:txPr>
        <a:bodyPr rot="0" vert="horz"/>
        <a:lstStyle/>
        <a:p>
          <a:pPr>
            <a:defRPr/>
          </a:pPr>
          <a:endParaRPr lang="en-CH"/>
        </a:p>
      </c:txPr>
    </c:legend>
    <c:plotVisOnly val="1"/>
    <c:dispBlanksAs val="gap"/>
    <c:showDLblsOverMax val="0"/>
    <c:extLst/>
  </c:chart>
  <c:spPr>
    <a:solidFill>
      <a:schemeClr val="bg1"/>
    </a:solidFill>
    <a:ln w="9525" cap="flat" cmpd="sng" algn="ctr">
      <a:noFill/>
      <a:round/>
    </a:ln>
    <a:effectLst/>
  </c:spPr>
  <c:txPr>
    <a:bodyPr/>
    <a:lstStyle/>
    <a:p>
      <a:pPr>
        <a:defRPr sz="1200">
          <a:solidFill>
            <a:schemeClr val="tx1">
              <a:lumMod val="65000"/>
              <a:lumOff val="35000"/>
            </a:schemeClr>
          </a:solidFill>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560367454068233E-2"/>
          <c:y val="5.1952755905511808E-2"/>
          <c:w val="0.82368301618547679"/>
          <c:h val="0.75438538932633425"/>
        </c:manualLayout>
      </c:layout>
      <c:lineChart>
        <c:grouping val="standard"/>
        <c:varyColors val="0"/>
        <c:ser>
          <c:idx val="0"/>
          <c:order val="0"/>
          <c:tx>
            <c:strRef>
              <c:f>'hstech valuations'!$C$7</c:f>
              <c:strCache>
                <c:ptCount val="1"/>
                <c:pt idx="0">
                  <c:v>12-month forward P/E</c:v>
                </c:pt>
              </c:strCache>
            </c:strRef>
          </c:tx>
          <c:spPr>
            <a:ln w="28575" cap="rnd" cmpd="sng" algn="ctr">
              <a:solidFill>
                <a:srgbClr val="8E8D83"/>
              </a:solidFill>
              <a:prstDash val="solid"/>
              <a:round/>
              <a:headEnd type="none" w="med" len="med"/>
              <a:tailEnd type="none" w="med" len="med"/>
            </a:ln>
            <a:effectLst/>
          </c:spPr>
          <c:marker>
            <c:symbol val="none"/>
          </c:marker>
          <c:cat>
            <c:numRef>
              <c:f>'hstech valuations'!$B$11:$B$10000</c:f>
              <c:numCache>
                <c:formatCode>m/d/yyyy</c:formatCode>
                <c:ptCount val="9990"/>
                <c:pt idx="0">
                  <c:v>44568</c:v>
                </c:pt>
                <c:pt idx="1">
                  <c:v>44575</c:v>
                </c:pt>
                <c:pt idx="2">
                  <c:v>44582</c:v>
                </c:pt>
                <c:pt idx="3">
                  <c:v>44589</c:v>
                </c:pt>
                <c:pt idx="4">
                  <c:v>44596</c:v>
                </c:pt>
                <c:pt idx="5">
                  <c:v>44603</c:v>
                </c:pt>
                <c:pt idx="6">
                  <c:v>44610</c:v>
                </c:pt>
                <c:pt idx="7">
                  <c:v>44617</c:v>
                </c:pt>
                <c:pt idx="8">
                  <c:v>44624</c:v>
                </c:pt>
                <c:pt idx="9">
                  <c:v>44631</c:v>
                </c:pt>
                <c:pt idx="10">
                  <c:v>44638</c:v>
                </c:pt>
                <c:pt idx="11">
                  <c:v>44645</c:v>
                </c:pt>
                <c:pt idx="12">
                  <c:v>44652</c:v>
                </c:pt>
                <c:pt idx="13">
                  <c:v>44659</c:v>
                </c:pt>
                <c:pt idx="14">
                  <c:v>44666</c:v>
                </c:pt>
                <c:pt idx="15">
                  <c:v>44673</c:v>
                </c:pt>
                <c:pt idx="16">
                  <c:v>44680</c:v>
                </c:pt>
                <c:pt idx="17">
                  <c:v>44687</c:v>
                </c:pt>
                <c:pt idx="18">
                  <c:v>44694</c:v>
                </c:pt>
                <c:pt idx="19">
                  <c:v>44701</c:v>
                </c:pt>
                <c:pt idx="20">
                  <c:v>44708</c:v>
                </c:pt>
                <c:pt idx="21">
                  <c:v>44715</c:v>
                </c:pt>
                <c:pt idx="22">
                  <c:v>44722</c:v>
                </c:pt>
                <c:pt idx="23">
                  <c:v>44729</c:v>
                </c:pt>
                <c:pt idx="24">
                  <c:v>44736</c:v>
                </c:pt>
                <c:pt idx="25">
                  <c:v>44743</c:v>
                </c:pt>
                <c:pt idx="26">
                  <c:v>44750</c:v>
                </c:pt>
                <c:pt idx="27">
                  <c:v>44757</c:v>
                </c:pt>
                <c:pt idx="28">
                  <c:v>44764</c:v>
                </c:pt>
                <c:pt idx="29">
                  <c:v>44771</c:v>
                </c:pt>
                <c:pt idx="30">
                  <c:v>44778</c:v>
                </c:pt>
                <c:pt idx="31">
                  <c:v>44785</c:v>
                </c:pt>
                <c:pt idx="32">
                  <c:v>44792</c:v>
                </c:pt>
                <c:pt idx="33">
                  <c:v>44799</c:v>
                </c:pt>
                <c:pt idx="34">
                  <c:v>44806</c:v>
                </c:pt>
                <c:pt idx="35">
                  <c:v>44813</c:v>
                </c:pt>
                <c:pt idx="36">
                  <c:v>44820</c:v>
                </c:pt>
                <c:pt idx="37">
                  <c:v>44827</c:v>
                </c:pt>
                <c:pt idx="38">
                  <c:v>44834</c:v>
                </c:pt>
                <c:pt idx="39">
                  <c:v>44841</c:v>
                </c:pt>
                <c:pt idx="40">
                  <c:v>44848</c:v>
                </c:pt>
                <c:pt idx="41">
                  <c:v>44855</c:v>
                </c:pt>
                <c:pt idx="42">
                  <c:v>44862</c:v>
                </c:pt>
                <c:pt idx="43">
                  <c:v>44869</c:v>
                </c:pt>
                <c:pt idx="44">
                  <c:v>44876</c:v>
                </c:pt>
                <c:pt idx="45">
                  <c:v>44883</c:v>
                </c:pt>
                <c:pt idx="46">
                  <c:v>44890</c:v>
                </c:pt>
                <c:pt idx="47">
                  <c:v>44897</c:v>
                </c:pt>
                <c:pt idx="48">
                  <c:v>44904</c:v>
                </c:pt>
                <c:pt idx="49">
                  <c:v>44911</c:v>
                </c:pt>
                <c:pt idx="50">
                  <c:v>44918</c:v>
                </c:pt>
                <c:pt idx="51">
                  <c:v>44925</c:v>
                </c:pt>
                <c:pt idx="52">
                  <c:v>44932</c:v>
                </c:pt>
                <c:pt idx="53">
                  <c:v>44939</c:v>
                </c:pt>
                <c:pt idx="54">
                  <c:v>44946</c:v>
                </c:pt>
                <c:pt idx="55">
                  <c:v>44953</c:v>
                </c:pt>
                <c:pt idx="56">
                  <c:v>44960</c:v>
                </c:pt>
                <c:pt idx="57">
                  <c:v>44967</c:v>
                </c:pt>
                <c:pt idx="58">
                  <c:v>44974</c:v>
                </c:pt>
                <c:pt idx="59">
                  <c:v>44981</c:v>
                </c:pt>
                <c:pt idx="60">
                  <c:v>44988</c:v>
                </c:pt>
                <c:pt idx="61">
                  <c:v>44995</c:v>
                </c:pt>
                <c:pt idx="62">
                  <c:v>45002</c:v>
                </c:pt>
                <c:pt idx="63">
                  <c:v>45009</c:v>
                </c:pt>
                <c:pt idx="64">
                  <c:v>45016</c:v>
                </c:pt>
                <c:pt idx="65">
                  <c:v>45023</c:v>
                </c:pt>
                <c:pt idx="66">
                  <c:v>45030</c:v>
                </c:pt>
                <c:pt idx="67">
                  <c:v>45037</c:v>
                </c:pt>
                <c:pt idx="68">
                  <c:v>45044</c:v>
                </c:pt>
                <c:pt idx="69">
                  <c:v>45051</c:v>
                </c:pt>
                <c:pt idx="70">
                  <c:v>45058</c:v>
                </c:pt>
                <c:pt idx="71">
                  <c:v>45065</c:v>
                </c:pt>
                <c:pt idx="72">
                  <c:v>45072</c:v>
                </c:pt>
                <c:pt idx="73">
                  <c:v>45079</c:v>
                </c:pt>
                <c:pt idx="74">
                  <c:v>45086</c:v>
                </c:pt>
                <c:pt idx="75">
                  <c:v>45093</c:v>
                </c:pt>
                <c:pt idx="76">
                  <c:v>45100</c:v>
                </c:pt>
                <c:pt idx="77">
                  <c:v>45107</c:v>
                </c:pt>
                <c:pt idx="78">
                  <c:v>45114</c:v>
                </c:pt>
                <c:pt idx="79">
                  <c:v>45121</c:v>
                </c:pt>
                <c:pt idx="80">
                  <c:v>45128</c:v>
                </c:pt>
                <c:pt idx="81">
                  <c:v>45135</c:v>
                </c:pt>
                <c:pt idx="82">
                  <c:v>45142</c:v>
                </c:pt>
                <c:pt idx="83">
                  <c:v>45149</c:v>
                </c:pt>
                <c:pt idx="84">
                  <c:v>45156</c:v>
                </c:pt>
                <c:pt idx="85">
                  <c:v>45163</c:v>
                </c:pt>
                <c:pt idx="86">
                  <c:v>45170</c:v>
                </c:pt>
                <c:pt idx="87">
                  <c:v>45177</c:v>
                </c:pt>
                <c:pt idx="88">
                  <c:v>45184</c:v>
                </c:pt>
                <c:pt idx="89">
                  <c:v>45191</c:v>
                </c:pt>
                <c:pt idx="90">
                  <c:v>45198</c:v>
                </c:pt>
                <c:pt idx="91">
                  <c:v>45205</c:v>
                </c:pt>
                <c:pt idx="92">
                  <c:v>45212</c:v>
                </c:pt>
                <c:pt idx="93">
                  <c:v>45219</c:v>
                </c:pt>
                <c:pt idx="94">
                  <c:v>45226</c:v>
                </c:pt>
                <c:pt idx="95">
                  <c:v>45233</c:v>
                </c:pt>
                <c:pt idx="96">
                  <c:v>45240</c:v>
                </c:pt>
                <c:pt idx="97">
                  <c:v>45247</c:v>
                </c:pt>
                <c:pt idx="98">
                  <c:v>45254</c:v>
                </c:pt>
                <c:pt idx="99">
                  <c:v>45261</c:v>
                </c:pt>
                <c:pt idx="100">
                  <c:v>45268</c:v>
                </c:pt>
                <c:pt idx="101">
                  <c:v>45275</c:v>
                </c:pt>
                <c:pt idx="102">
                  <c:v>45282</c:v>
                </c:pt>
                <c:pt idx="103">
                  <c:v>45289</c:v>
                </c:pt>
                <c:pt idx="104">
                  <c:v>45296</c:v>
                </c:pt>
                <c:pt idx="105">
                  <c:v>45303</c:v>
                </c:pt>
                <c:pt idx="106">
                  <c:v>45310</c:v>
                </c:pt>
                <c:pt idx="107">
                  <c:v>45317</c:v>
                </c:pt>
                <c:pt idx="108">
                  <c:v>45324</c:v>
                </c:pt>
                <c:pt idx="109">
                  <c:v>45331</c:v>
                </c:pt>
                <c:pt idx="110">
                  <c:v>45338</c:v>
                </c:pt>
                <c:pt idx="111">
                  <c:v>45345</c:v>
                </c:pt>
                <c:pt idx="112">
                  <c:v>45352</c:v>
                </c:pt>
                <c:pt idx="113">
                  <c:v>45359</c:v>
                </c:pt>
                <c:pt idx="114">
                  <c:v>45366</c:v>
                </c:pt>
                <c:pt idx="115">
                  <c:v>45373</c:v>
                </c:pt>
                <c:pt idx="116">
                  <c:v>45380</c:v>
                </c:pt>
                <c:pt idx="117">
                  <c:v>45387</c:v>
                </c:pt>
                <c:pt idx="118">
                  <c:v>45394</c:v>
                </c:pt>
                <c:pt idx="119">
                  <c:v>45401</c:v>
                </c:pt>
                <c:pt idx="120">
                  <c:v>45408</c:v>
                </c:pt>
                <c:pt idx="121">
                  <c:v>45415</c:v>
                </c:pt>
                <c:pt idx="122">
                  <c:v>45422</c:v>
                </c:pt>
                <c:pt idx="123">
                  <c:v>45429</c:v>
                </c:pt>
                <c:pt idx="124">
                  <c:v>45436</c:v>
                </c:pt>
                <c:pt idx="125">
                  <c:v>45443</c:v>
                </c:pt>
                <c:pt idx="126">
                  <c:v>45450</c:v>
                </c:pt>
                <c:pt idx="127">
                  <c:v>45457</c:v>
                </c:pt>
                <c:pt idx="128">
                  <c:v>45464</c:v>
                </c:pt>
                <c:pt idx="129">
                  <c:v>45471</c:v>
                </c:pt>
                <c:pt idx="130">
                  <c:v>45478</c:v>
                </c:pt>
                <c:pt idx="131">
                  <c:v>45485</c:v>
                </c:pt>
                <c:pt idx="132">
                  <c:v>45492</c:v>
                </c:pt>
                <c:pt idx="133">
                  <c:v>45499</c:v>
                </c:pt>
                <c:pt idx="134">
                  <c:v>45506</c:v>
                </c:pt>
                <c:pt idx="135">
                  <c:v>45513</c:v>
                </c:pt>
                <c:pt idx="136">
                  <c:v>45520</c:v>
                </c:pt>
                <c:pt idx="137">
                  <c:v>45527</c:v>
                </c:pt>
                <c:pt idx="138">
                  <c:v>45534</c:v>
                </c:pt>
                <c:pt idx="139">
                  <c:v>45541</c:v>
                </c:pt>
                <c:pt idx="140">
                  <c:v>45548</c:v>
                </c:pt>
                <c:pt idx="141">
                  <c:v>45555</c:v>
                </c:pt>
                <c:pt idx="142">
                  <c:v>45562</c:v>
                </c:pt>
                <c:pt idx="143">
                  <c:v>45569</c:v>
                </c:pt>
                <c:pt idx="144">
                  <c:v>45576</c:v>
                </c:pt>
                <c:pt idx="145">
                  <c:v>45583</c:v>
                </c:pt>
                <c:pt idx="146">
                  <c:v>45590</c:v>
                </c:pt>
                <c:pt idx="147">
                  <c:v>45597</c:v>
                </c:pt>
                <c:pt idx="148">
                  <c:v>45604</c:v>
                </c:pt>
                <c:pt idx="149">
                  <c:v>45611</c:v>
                </c:pt>
                <c:pt idx="150">
                  <c:v>45618</c:v>
                </c:pt>
                <c:pt idx="151">
                  <c:v>45625</c:v>
                </c:pt>
                <c:pt idx="152">
                  <c:v>45632</c:v>
                </c:pt>
                <c:pt idx="153">
                  <c:v>45639</c:v>
                </c:pt>
                <c:pt idx="154">
                  <c:v>45646</c:v>
                </c:pt>
                <c:pt idx="155">
                  <c:v>45653</c:v>
                </c:pt>
                <c:pt idx="156">
                  <c:v>45660</c:v>
                </c:pt>
                <c:pt idx="157">
                  <c:v>45667</c:v>
                </c:pt>
                <c:pt idx="158">
                  <c:v>45674</c:v>
                </c:pt>
                <c:pt idx="159">
                  <c:v>45681</c:v>
                </c:pt>
                <c:pt idx="160">
                  <c:v>45688</c:v>
                </c:pt>
                <c:pt idx="161">
                  <c:v>45695</c:v>
                </c:pt>
                <c:pt idx="162">
                  <c:v>45702</c:v>
                </c:pt>
                <c:pt idx="163">
                  <c:v>45709</c:v>
                </c:pt>
                <c:pt idx="164">
                  <c:v>45716</c:v>
                </c:pt>
                <c:pt idx="165">
                  <c:v>45723</c:v>
                </c:pt>
                <c:pt idx="166">
                  <c:v>45730</c:v>
                </c:pt>
                <c:pt idx="167">
                  <c:v>45737</c:v>
                </c:pt>
                <c:pt idx="168">
                  <c:v>45744</c:v>
                </c:pt>
                <c:pt idx="169">
                  <c:v>45751</c:v>
                </c:pt>
                <c:pt idx="170">
                  <c:v>45758</c:v>
                </c:pt>
                <c:pt idx="171">
                  <c:v>45765</c:v>
                </c:pt>
                <c:pt idx="172">
                  <c:v>45772</c:v>
                </c:pt>
                <c:pt idx="173">
                  <c:v>45779</c:v>
                </c:pt>
                <c:pt idx="174">
                  <c:v>45786</c:v>
                </c:pt>
                <c:pt idx="175">
                  <c:v>45793</c:v>
                </c:pt>
                <c:pt idx="176">
                  <c:v>45800</c:v>
                </c:pt>
                <c:pt idx="177">
                  <c:v>45807</c:v>
                </c:pt>
                <c:pt idx="178">
                  <c:v>45814</c:v>
                </c:pt>
                <c:pt idx="179">
                  <c:v>45821</c:v>
                </c:pt>
                <c:pt idx="180">
                  <c:v>45828</c:v>
                </c:pt>
                <c:pt idx="181">
                  <c:v>45835</c:v>
                </c:pt>
                <c:pt idx="182">
                  <c:v>45842</c:v>
                </c:pt>
                <c:pt idx="183">
                  <c:v>45849</c:v>
                </c:pt>
                <c:pt idx="184">
                  <c:v>45856</c:v>
                </c:pt>
                <c:pt idx="185">
                  <c:v>45863</c:v>
                </c:pt>
                <c:pt idx="186">
                  <c:v>45870</c:v>
                </c:pt>
                <c:pt idx="187">
                  <c:v>45877</c:v>
                </c:pt>
                <c:pt idx="188">
                  <c:v>45884</c:v>
                </c:pt>
                <c:pt idx="189">
                  <c:v>45891</c:v>
                </c:pt>
                <c:pt idx="190">
                  <c:v>45898</c:v>
                </c:pt>
                <c:pt idx="191">
                  <c:v>45905</c:v>
                </c:pt>
                <c:pt idx="192">
                  <c:v>45912</c:v>
                </c:pt>
                <c:pt idx="193">
                  <c:v>45919</c:v>
                </c:pt>
                <c:pt idx="194">
                  <c:v>45926</c:v>
                </c:pt>
                <c:pt idx="195">
                  <c:v>45933</c:v>
                </c:pt>
                <c:pt idx="196">
                  <c:v>45940</c:v>
                </c:pt>
                <c:pt idx="197">
                  <c:v>45947</c:v>
                </c:pt>
                <c:pt idx="198">
                  <c:v>45954</c:v>
                </c:pt>
                <c:pt idx="199">
                  <c:v>45961</c:v>
                </c:pt>
                <c:pt idx="200">
                  <c:v>45968</c:v>
                </c:pt>
                <c:pt idx="201">
                  <c:v>45975</c:v>
                </c:pt>
                <c:pt idx="202">
                  <c:v>45982</c:v>
                </c:pt>
                <c:pt idx="203">
                  <c:v>45989</c:v>
                </c:pt>
                <c:pt idx="204">
                  <c:v>45996</c:v>
                </c:pt>
                <c:pt idx="205">
                  <c:v>46003</c:v>
                </c:pt>
                <c:pt idx="206">
                  <c:v>46010</c:v>
                </c:pt>
                <c:pt idx="207">
                  <c:v>46017</c:v>
                </c:pt>
              </c:numCache>
            </c:numRef>
          </c:cat>
          <c:val>
            <c:numRef>
              <c:f>'hstech valuations'!$C$11:$C$10000</c:f>
              <c:numCache>
                <c:formatCode>General</c:formatCode>
                <c:ptCount val="9990"/>
                <c:pt idx="0">
                  <c:v>28.511800000000001</c:v>
                </c:pt>
                <c:pt idx="1">
                  <c:v>29.658000000000001</c:v>
                </c:pt>
                <c:pt idx="2">
                  <c:v>29.991599999999998</c:v>
                </c:pt>
                <c:pt idx="3">
                  <c:v>26.9894</c:v>
                </c:pt>
                <c:pt idx="4">
                  <c:v>28.286899999999999</c:v>
                </c:pt>
                <c:pt idx="5">
                  <c:v>27.904399999999999</c:v>
                </c:pt>
                <c:pt idx="6">
                  <c:v>26.682400000000001</c:v>
                </c:pt>
                <c:pt idx="7">
                  <c:v>24.449200000000001</c:v>
                </c:pt>
                <c:pt idx="8">
                  <c:v>22.612400000000001</c:v>
                </c:pt>
                <c:pt idx="9">
                  <c:v>20.4892</c:v>
                </c:pt>
                <c:pt idx="10">
                  <c:v>21.629300000000001</c:v>
                </c:pt>
                <c:pt idx="11">
                  <c:v>21.744700000000002</c:v>
                </c:pt>
                <c:pt idx="12">
                  <c:v>22.5063</c:v>
                </c:pt>
                <c:pt idx="13">
                  <c:v>22.0642</c:v>
                </c:pt>
                <c:pt idx="14">
                  <c:v>21.523700000000002</c:v>
                </c:pt>
                <c:pt idx="15">
                  <c:v>20.114699999999999</c:v>
                </c:pt>
                <c:pt idx="16">
                  <c:v>22.938700000000001</c:v>
                </c:pt>
                <c:pt idx="17">
                  <c:v>20.8202</c:v>
                </c:pt>
                <c:pt idx="18">
                  <c:v>21.278099999999998</c:v>
                </c:pt>
                <c:pt idx="19">
                  <c:v>22.876100000000001</c:v>
                </c:pt>
                <c:pt idx="20">
                  <c:v>21.861799999999999</c:v>
                </c:pt>
                <c:pt idx="21">
                  <c:v>22.825099999999999</c:v>
                </c:pt>
                <c:pt idx="22">
                  <c:v>25.0318</c:v>
                </c:pt>
                <c:pt idx="23">
                  <c:v>24.389399999999998</c:v>
                </c:pt>
                <c:pt idx="24">
                  <c:v>25.224499999999999</c:v>
                </c:pt>
                <c:pt idx="25">
                  <c:v>25.175799999999999</c:v>
                </c:pt>
                <c:pt idx="26">
                  <c:v>24.640699999999999</c:v>
                </c:pt>
                <c:pt idx="27">
                  <c:v>22.902799999999999</c:v>
                </c:pt>
                <c:pt idx="28">
                  <c:v>23.671500000000002</c:v>
                </c:pt>
                <c:pt idx="29">
                  <c:v>22.155100000000001</c:v>
                </c:pt>
                <c:pt idx="30">
                  <c:v>22.932600000000001</c:v>
                </c:pt>
                <c:pt idx="31">
                  <c:v>22.5337</c:v>
                </c:pt>
                <c:pt idx="32">
                  <c:v>21.9392</c:v>
                </c:pt>
                <c:pt idx="33">
                  <c:v>22.610399999999998</c:v>
                </c:pt>
                <c:pt idx="34">
                  <c:v>21.6066</c:v>
                </c:pt>
                <c:pt idx="35">
                  <c:v>22.984500000000001</c:v>
                </c:pt>
                <c:pt idx="36">
                  <c:v>21.706700000000001</c:v>
                </c:pt>
                <c:pt idx="37">
                  <c:v>20.336400000000001</c:v>
                </c:pt>
                <c:pt idx="38">
                  <c:v>19.603400000000001</c:v>
                </c:pt>
                <c:pt idx="39">
                  <c:v>19.9895</c:v>
                </c:pt>
                <c:pt idx="40">
                  <c:v>18.136299999999999</c:v>
                </c:pt>
                <c:pt idx="41">
                  <c:v>17.684799999999999</c:v>
                </c:pt>
                <c:pt idx="42">
                  <c:v>16.111899999999999</c:v>
                </c:pt>
                <c:pt idx="43">
                  <c:v>18.6874</c:v>
                </c:pt>
                <c:pt idx="44">
                  <c:v>19.931100000000001</c:v>
                </c:pt>
                <c:pt idx="45">
                  <c:v>21.523700000000002</c:v>
                </c:pt>
                <c:pt idx="46">
                  <c:v>20.129300000000001</c:v>
                </c:pt>
                <c:pt idx="47">
                  <c:v>22.160599999999999</c:v>
                </c:pt>
                <c:pt idx="48">
                  <c:v>25.8386</c:v>
                </c:pt>
                <c:pt idx="49">
                  <c:v>24.408200000000001</c:v>
                </c:pt>
                <c:pt idx="50">
                  <c:v>24.0472</c:v>
                </c:pt>
                <c:pt idx="51">
                  <c:v>23.8825</c:v>
                </c:pt>
                <c:pt idx="52">
                  <c:v>24.9528</c:v>
                </c:pt>
                <c:pt idx="53">
                  <c:v>25.0837</c:v>
                </c:pt>
                <c:pt idx="54">
                  <c:v>24.984999999999999</c:v>
                </c:pt>
                <c:pt idx="55">
                  <c:v>26.154699999999998</c:v>
                </c:pt>
                <c:pt idx="56">
                  <c:v>24.978899999999999</c:v>
                </c:pt>
                <c:pt idx="57">
                  <c:v>23.718699999999998</c:v>
                </c:pt>
                <c:pt idx="58">
                  <c:v>23.572399999999998</c:v>
                </c:pt>
                <c:pt idx="59">
                  <c:v>22.4376</c:v>
                </c:pt>
                <c:pt idx="60">
                  <c:v>23.141500000000001</c:v>
                </c:pt>
                <c:pt idx="61">
                  <c:v>20.662400000000002</c:v>
                </c:pt>
                <c:pt idx="62">
                  <c:v>23.9115</c:v>
                </c:pt>
                <c:pt idx="63">
                  <c:v>25.433900000000001</c:v>
                </c:pt>
                <c:pt idx="64">
                  <c:v>26.200399999999998</c:v>
                </c:pt>
                <c:pt idx="65">
                  <c:v>25.755700000000001</c:v>
                </c:pt>
                <c:pt idx="66">
                  <c:v>25.489799999999999</c:v>
                </c:pt>
                <c:pt idx="67">
                  <c:v>24.312899999999999</c:v>
                </c:pt>
                <c:pt idx="68">
                  <c:v>23.7851</c:v>
                </c:pt>
                <c:pt idx="69">
                  <c:v>23.494299999999999</c:v>
                </c:pt>
                <c:pt idx="70">
                  <c:v>22.892299999999999</c:v>
                </c:pt>
                <c:pt idx="71">
                  <c:v>22.7087</c:v>
                </c:pt>
                <c:pt idx="72">
                  <c:v>21.7577</c:v>
                </c:pt>
                <c:pt idx="73">
                  <c:v>22.330500000000001</c:v>
                </c:pt>
                <c:pt idx="74">
                  <c:v>22.0365</c:v>
                </c:pt>
                <c:pt idx="75">
                  <c:v>23.4786</c:v>
                </c:pt>
                <c:pt idx="76">
                  <c:v>21.408000000000001</c:v>
                </c:pt>
                <c:pt idx="77">
                  <c:v>21.613700000000001</c:v>
                </c:pt>
                <c:pt idx="78">
                  <c:v>21.380299999999998</c:v>
                </c:pt>
                <c:pt idx="79">
                  <c:v>22.843800000000002</c:v>
                </c:pt>
                <c:pt idx="80">
                  <c:v>22.163799999999998</c:v>
                </c:pt>
                <c:pt idx="81">
                  <c:v>23.925999999999998</c:v>
                </c:pt>
                <c:pt idx="82">
                  <c:v>23.822900000000001</c:v>
                </c:pt>
                <c:pt idx="83">
                  <c:v>22.086400000000001</c:v>
                </c:pt>
                <c:pt idx="84">
                  <c:v>20.827400000000001</c:v>
                </c:pt>
                <c:pt idx="85">
                  <c:v>20.624099999999999</c:v>
                </c:pt>
                <c:pt idx="86">
                  <c:v>20.883900000000001</c:v>
                </c:pt>
                <c:pt idx="87">
                  <c:v>20.521999999999998</c:v>
                </c:pt>
                <c:pt idx="88">
                  <c:v>20.023199999999999</c:v>
                </c:pt>
                <c:pt idx="89">
                  <c:v>19.5322</c:v>
                </c:pt>
                <c:pt idx="90">
                  <c:v>19.099</c:v>
                </c:pt>
                <c:pt idx="91">
                  <c:v>18.467400000000001</c:v>
                </c:pt>
                <c:pt idx="92">
                  <c:v>18.696100000000001</c:v>
                </c:pt>
                <c:pt idx="93">
                  <c:v>17.643899999999999</c:v>
                </c:pt>
                <c:pt idx="94">
                  <c:v>18.229399999999998</c:v>
                </c:pt>
                <c:pt idx="95">
                  <c:v>18.759499999999999</c:v>
                </c:pt>
                <c:pt idx="96">
                  <c:v>18.399699999999999</c:v>
                </c:pt>
                <c:pt idx="97">
                  <c:v>18.575399999999998</c:v>
                </c:pt>
                <c:pt idx="98">
                  <c:v>18.363800000000001</c:v>
                </c:pt>
                <c:pt idx="99">
                  <c:v>17.395900000000001</c:v>
                </c:pt>
                <c:pt idx="100">
                  <c:v>15.887499999999999</c:v>
                </c:pt>
                <c:pt idx="101">
                  <c:v>16.056799999999999</c:v>
                </c:pt>
                <c:pt idx="102">
                  <c:v>15.081300000000001</c:v>
                </c:pt>
                <c:pt idx="103">
                  <c:v>15.923</c:v>
                </c:pt>
                <c:pt idx="104">
                  <c:v>15.137499999999999</c:v>
                </c:pt>
                <c:pt idx="105">
                  <c:v>14.649800000000001</c:v>
                </c:pt>
                <c:pt idx="106">
                  <c:v>13.213200000000001</c:v>
                </c:pt>
                <c:pt idx="107">
                  <c:v>13.3896</c:v>
                </c:pt>
                <c:pt idx="108">
                  <c:v>12.9094</c:v>
                </c:pt>
                <c:pt idx="109">
                  <c:v>13.4787</c:v>
                </c:pt>
                <c:pt idx="110">
                  <c:v>14.3285</c:v>
                </c:pt>
                <c:pt idx="111">
                  <c:v>14.572900000000001</c:v>
                </c:pt>
                <c:pt idx="112">
                  <c:v>14.7174</c:v>
                </c:pt>
                <c:pt idx="113">
                  <c:v>14.4453</c:v>
                </c:pt>
                <c:pt idx="114">
                  <c:v>15.0891</c:v>
                </c:pt>
                <c:pt idx="115">
                  <c:v>14.551399999999999</c:v>
                </c:pt>
                <c:pt idx="116">
                  <c:v>14.5524</c:v>
                </c:pt>
                <c:pt idx="117">
                  <c:v>14.3827</c:v>
                </c:pt>
                <c:pt idx="118">
                  <c:v>14.527699999999999</c:v>
                </c:pt>
                <c:pt idx="119">
                  <c:v>13.6739</c:v>
                </c:pt>
                <c:pt idx="120">
                  <c:v>15.530799999999999</c:v>
                </c:pt>
                <c:pt idx="121">
                  <c:v>16.541899999999998</c:v>
                </c:pt>
                <c:pt idx="122">
                  <c:v>16.414400000000001</c:v>
                </c:pt>
                <c:pt idx="123">
                  <c:v>16.889800000000001</c:v>
                </c:pt>
                <c:pt idx="124">
                  <c:v>15.343500000000001</c:v>
                </c:pt>
                <c:pt idx="125">
                  <c:v>14.799099999999999</c:v>
                </c:pt>
                <c:pt idx="126">
                  <c:v>15.022600000000001</c:v>
                </c:pt>
                <c:pt idx="127">
                  <c:v>14.837199999999999</c:v>
                </c:pt>
                <c:pt idx="128">
                  <c:v>14.7879</c:v>
                </c:pt>
                <c:pt idx="129">
                  <c:v>14.1411</c:v>
                </c:pt>
                <c:pt idx="130">
                  <c:v>14.262600000000001</c:v>
                </c:pt>
                <c:pt idx="131">
                  <c:v>14.863300000000001</c:v>
                </c:pt>
                <c:pt idx="132">
                  <c:v>13.8528</c:v>
                </c:pt>
                <c:pt idx="133">
                  <c:v>13.4139</c:v>
                </c:pt>
                <c:pt idx="134">
                  <c:v>13.095700000000001</c:v>
                </c:pt>
                <c:pt idx="135">
                  <c:v>13.0953</c:v>
                </c:pt>
                <c:pt idx="136">
                  <c:v>12.9626</c:v>
                </c:pt>
                <c:pt idx="137">
                  <c:v>12.812900000000001</c:v>
                </c:pt>
                <c:pt idx="138">
                  <c:v>13.012600000000001</c:v>
                </c:pt>
                <c:pt idx="139">
                  <c:v>12.6835</c:v>
                </c:pt>
                <c:pt idx="140">
                  <c:v>12.622400000000001</c:v>
                </c:pt>
                <c:pt idx="141">
                  <c:v>13.2608</c:v>
                </c:pt>
                <c:pt idx="142">
                  <c:v>15.8307</c:v>
                </c:pt>
                <c:pt idx="143">
                  <c:v>18.4984</c:v>
                </c:pt>
                <c:pt idx="144">
                  <c:v>16.791399999999999</c:v>
                </c:pt>
                <c:pt idx="145">
                  <c:v>16.305199999999999</c:v>
                </c:pt>
                <c:pt idx="146">
                  <c:v>16.058900000000001</c:v>
                </c:pt>
                <c:pt idx="147">
                  <c:v>15.7766</c:v>
                </c:pt>
                <c:pt idx="148">
                  <c:v>16.3996</c:v>
                </c:pt>
                <c:pt idx="149">
                  <c:v>15.1907</c:v>
                </c:pt>
                <c:pt idx="150">
                  <c:v>14.7584</c:v>
                </c:pt>
                <c:pt idx="151">
                  <c:v>15.088100000000001</c:v>
                </c:pt>
                <c:pt idx="152">
                  <c:v>15.411300000000001</c:v>
                </c:pt>
                <c:pt idx="153">
                  <c:v>15.2829</c:v>
                </c:pt>
                <c:pt idx="154">
                  <c:v>15.12</c:v>
                </c:pt>
                <c:pt idx="155">
                  <c:v>15.4063</c:v>
                </c:pt>
                <c:pt idx="156">
                  <c:v>14.904500000000001</c:v>
                </c:pt>
                <c:pt idx="157">
                  <c:v>14.3804</c:v>
                </c:pt>
                <c:pt idx="158">
                  <c:v>15.0548</c:v>
                </c:pt>
                <c:pt idx="159">
                  <c:v>15.453200000000001</c:v>
                </c:pt>
                <c:pt idx="160">
                  <c:v>15.567399999999999</c:v>
                </c:pt>
                <c:pt idx="161">
                  <c:v>16.986599999999999</c:v>
                </c:pt>
                <c:pt idx="162">
                  <c:v>18.1523</c:v>
                </c:pt>
                <c:pt idx="163">
                  <c:v>18.981400000000001</c:v>
                </c:pt>
                <c:pt idx="164">
                  <c:v>18.0123</c:v>
                </c:pt>
                <c:pt idx="165">
                  <c:v>19.2849</c:v>
                </c:pt>
                <c:pt idx="166">
                  <c:v>18.349299999999999</c:v>
                </c:pt>
                <c:pt idx="167">
                  <c:v>17.587299999999999</c:v>
                </c:pt>
                <c:pt idx="168">
                  <c:v>17.383500000000002</c:v>
                </c:pt>
                <c:pt idx="169">
                  <c:v>16.7775</c:v>
                </c:pt>
                <c:pt idx="170">
                  <c:v>15.549200000000001</c:v>
                </c:pt>
                <c:pt idx="171">
                  <c:v>15.3994</c:v>
                </c:pt>
                <c:pt idx="172">
                  <c:v>15.631399999999999</c:v>
                </c:pt>
                <c:pt idx="173">
                  <c:v>16.379100000000001</c:v>
                </c:pt>
                <c:pt idx="174">
                  <c:v>16.028500000000001</c:v>
                </c:pt>
                <c:pt idx="175">
                  <c:v>16.4438</c:v>
                </c:pt>
                <c:pt idx="176">
                  <c:v>16.2531</c:v>
                </c:pt>
                <c:pt idx="177">
                  <c:v>16.097999999999999</c:v>
                </c:pt>
                <c:pt idx="178">
                  <c:v>16.435400000000001</c:v>
                </c:pt>
                <c:pt idx="179">
                  <c:v>14.874000000000001</c:v>
                </c:pt>
                <c:pt idx="180">
                  <c:v>14.5663</c:v>
                </c:pt>
                <c:pt idx="181">
                  <c:v>15.0671</c:v>
                </c:pt>
                <c:pt idx="182">
                  <c:v>14.666700000000001</c:v>
                </c:pt>
                <c:pt idx="183">
                  <c:v>15.1363</c:v>
                </c:pt>
                <c:pt idx="184">
                  <c:v>16.196200000000001</c:v>
                </c:pt>
                <c:pt idx="185">
                  <c:v>16.690799999999999</c:v>
                </c:pt>
                <c:pt idx="186">
                  <c:v>15.8308</c:v>
                </c:pt>
                <c:pt idx="187">
                  <c:v>15.9611</c:v>
                </c:pt>
                <c:pt idx="188">
                  <c:v>16.159700000000001</c:v>
                </c:pt>
                <c:pt idx="189">
                  <c:v>16.504000000000001</c:v>
                </c:pt>
                <c:pt idx="190">
                  <c:v>17.2119</c:v>
                </c:pt>
                <c:pt idx="191">
                  <c:v>17.758700000000001</c:v>
                </c:pt>
                <c:pt idx="192">
                  <c:v>20.625699999999998</c:v>
                </c:pt>
                <c:pt idx="193">
                  <c:v>21.526399999999999</c:v>
                </c:pt>
                <c:pt idx="194">
                  <c:v>21.064499999999999</c:v>
                </c:pt>
                <c:pt idx="195">
                  <c:v>22.337299999999999</c:v>
                </c:pt>
                <c:pt idx="196">
                  <c:v>21.108000000000001</c:v>
                </c:pt>
                <c:pt idx="197">
                  <c:v>19.366</c:v>
                </c:pt>
                <c:pt idx="198">
                  <c:v>20.318000000000001</c:v>
                </c:pt>
                <c:pt idx="199">
                  <c:v>19.822399999999998</c:v>
                </c:pt>
                <c:pt idx="200">
                  <c:v>19.5488</c:v>
                </c:pt>
                <c:pt idx="201">
                  <c:v>19.440899999999999</c:v>
                </c:pt>
                <c:pt idx="202">
                  <c:v>18.193999999999999</c:v>
                </c:pt>
                <c:pt idx="203">
                  <c:v>18.994900000000001</c:v>
                </c:pt>
                <c:pt idx="204">
                  <c:v>19.878399999999999</c:v>
                </c:pt>
                <c:pt idx="205">
                  <c:v>19.920000000000002</c:v>
                </c:pt>
                <c:pt idx="206">
                  <c:v>19.299199999999999</c:v>
                </c:pt>
                <c:pt idx="207">
                  <c:v>19.306799999999999</c:v>
                </c:pt>
              </c:numCache>
            </c:numRef>
          </c:val>
          <c:smooth val="0"/>
          <c:extLst>
            <c:ext xmlns:c16="http://schemas.microsoft.com/office/drawing/2014/chart" uri="{C3380CC4-5D6E-409C-BE32-E72D297353CC}">
              <c16:uniqueId val="{00000000-16BF-435E-8F05-78A0F84712FB}"/>
            </c:ext>
          </c:extLst>
        </c:ser>
        <c:ser>
          <c:idx val="1"/>
          <c:order val="1"/>
          <c:tx>
            <c:strRef>
              <c:f>'hstech valuations'!$D$7</c:f>
              <c:strCache>
                <c:ptCount val="1"/>
                <c:pt idx="0">
                  <c:v>Average since 2022</c:v>
                </c:pt>
              </c:strCache>
            </c:strRef>
          </c:tx>
          <c:spPr>
            <a:ln w="28575" cap="rnd" cmpd="sng" algn="ctr">
              <a:solidFill>
                <a:srgbClr val="BD000C"/>
              </a:solidFill>
              <a:prstDash val="solid"/>
              <a:round/>
              <a:headEnd type="none" w="med" len="med"/>
              <a:tailEnd type="none" w="med" len="med"/>
            </a:ln>
            <a:effectLst/>
          </c:spPr>
          <c:marker>
            <c:symbol val="none"/>
          </c:marker>
          <c:cat>
            <c:numRef>
              <c:f>'hstech valuations'!$B$11:$B$10000</c:f>
              <c:numCache>
                <c:formatCode>m/d/yyyy</c:formatCode>
                <c:ptCount val="9990"/>
                <c:pt idx="0">
                  <c:v>44568</c:v>
                </c:pt>
                <c:pt idx="1">
                  <c:v>44575</c:v>
                </c:pt>
                <c:pt idx="2">
                  <c:v>44582</c:v>
                </c:pt>
                <c:pt idx="3">
                  <c:v>44589</c:v>
                </c:pt>
                <c:pt idx="4">
                  <c:v>44596</c:v>
                </c:pt>
                <c:pt idx="5">
                  <c:v>44603</c:v>
                </c:pt>
                <c:pt idx="6">
                  <c:v>44610</c:v>
                </c:pt>
                <c:pt idx="7">
                  <c:v>44617</c:v>
                </c:pt>
                <c:pt idx="8">
                  <c:v>44624</c:v>
                </c:pt>
                <c:pt idx="9">
                  <c:v>44631</c:v>
                </c:pt>
                <c:pt idx="10">
                  <c:v>44638</c:v>
                </c:pt>
                <c:pt idx="11">
                  <c:v>44645</c:v>
                </c:pt>
                <c:pt idx="12">
                  <c:v>44652</c:v>
                </c:pt>
                <c:pt idx="13">
                  <c:v>44659</c:v>
                </c:pt>
                <c:pt idx="14">
                  <c:v>44666</c:v>
                </c:pt>
                <c:pt idx="15">
                  <c:v>44673</c:v>
                </c:pt>
                <c:pt idx="16">
                  <c:v>44680</c:v>
                </c:pt>
                <c:pt idx="17">
                  <c:v>44687</c:v>
                </c:pt>
                <c:pt idx="18">
                  <c:v>44694</c:v>
                </c:pt>
                <c:pt idx="19">
                  <c:v>44701</c:v>
                </c:pt>
                <c:pt idx="20">
                  <c:v>44708</c:v>
                </c:pt>
                <c:pt idx="21">
                  <c:v>44715</c:v>
                </c:pt>
                <c:pt idx="22">
                  <c:v>44722</c:v>
                </c:pt>
                <c:pt idx="23">
                  <c:v>44729</c:v>
                </c:pt>
                <c:pt idx="24">
                  <c:v>44736</c:v>
                </c:pt>
                <c:pt idx="25">
                  <c:v>44743</c:v>
                </c:pt>
                <c:pt idx="26">
                  <c:v>44750</c:v>
                </c:pt>
                <c:pt idx="27">
                  <c:v>44757</c:v>
                </c:pt>
                <c:pt idx="28">
                  <c:v>44764</c:v>
                </c:pt>
                <c:pt idx="29">
                  <c:v>44771</c:v>
                </c:pt>
                <c:pt idx="30">
                  <c:v>44778</c:v>
                </c:pt>
                <c:pt idx="31">
                  <c:v>44785</c:v>
                </c:pt>
                <c:pt idx="32">
                  <c:v>44792</c:v>
                </c:pt>
                <c:pt idx="33">
                  <c:v>44799</c:v>
                </c:pt>
                <c:pt idx="34">
                  <c:v>44806</c:v>
                </c:pt>
                <c:pt idx="35">
                  <c:v>44813</c:v>
                </c:pt>
                <c:pt idx="36">
                  <c:v>44820</c:v>
                </c:pt>
                <c:pt idx="37">
                  <c:v>44827</c:v>
                </c:pt>
                <c:pt idx="38">
                  <c:v>44834</c:v>
                </c:pt>
                <c:pt idx="39">
                  <c:v>44841</c:v>
                </c:pt>
                <c:pt idx="40">
                  <c:v>44848</c:v>
                </c:pt>
                <c:pt idx="41">
                  <c:v>44855</c:v>
                </c:pt>
                <c:pt idx="42">
                  <c:v>44862</c:v>
                </c:pt>
                <c:pt idx="43">
                  <c:v>44869</c:v>
                </c:pt>
                <c:pt idx="44">
                  <c:v>44876</c:v>
                </c:pt>
                <c:pt idx="45">
                  <c:v>44883</c:v>
                </c:pt>
                <c:pt idx="46">
                  <c:v>44890</c:v>
                </c:pt>
                <c:pt idx="47">
                  <c:v>44897</c:v>
                </c:pt>
                <c:pt idx="48">
                  <c:v>44904</c:v>
                </c:pt>
                <c:pt idx="49">
                  <c:v>44911</c:v>
                </c:pt>
                <c:pt idx="50">
                  <c:v>44918</c:v>
                </c:pt>
                <c:pt idx="51">
                  <c:v>44925</c:v>
                </c:pt>
                <c:pt idx="52">
                  <c:v>44932</c:v>
                </c:pt>
                <c:pt idx="53">
                  <c:v>44939</c:v>
                </c:pt>
                <c:pt idx="54">
                  <c:v>44946</c:v>
                </c:pt>
                <c:pt idx="55">
                  <c:v>44953</c:v>
                </c:pt>
                <c:pt idx="56">
                  <c:v>44960</c:v>
                </c:pt>
                <c:pt idx="57">
                  <c:v>44967</c:v>
                </c:pt>
                <c:pt idx="58">
                  <c:v>44974</c:v>
                </c:pt>
                <c:pt idx="59">
                  <c:v>44981</c:v>
                </c:pt>
                <c:pt idx="60">
                  <c:v>44988</c:v>
                </c:pt>
                <c:pt idx="61">
                  <c:v>44995</c:v>
                </c:pt>
                <c:pt idx="62">
                  <c:v>45002</c:v>
                </c:pt>
                <c:pt idx="63">
                  <c:v>45009</c:v>
                </c:pt>
                <c:pt idx="64">
                  <c:v>45016</c:v>
                </c:pt>
                <c:pt idx="65">
                  <c:v>45023</c:v>
                </c:pt>
                <c:pt idx="66">
                  <c:v>45030</c:v>
                </c:pt>
                <c:pt idx="67">
                  <c:v>45037</c:v>
                </c:pt>
                <c:pt idx="68">
                  <c:v>45044</c:v>
                </c:pt>
                <c:pt idx="69">
                  <c:v>45051</c:v>
                </c:pt>
                <c:pt idx="70">
                  <c:v>45058</c:v>
                </c:pt>
                <c:pt idx="71">
                  <c:v>45065</c:v>
                </c:pt>
                <c:pt idx="72">
                  <c:v>45072</c:v>
                </c:pt>
                <c:pt idx="73">
                  <c:v>45079</c:v>
                </c:pt>
                <c:pt idx="74">
                  <c:v>45086</c:v>
                </c:pt>
                <c:pt idx="75">
                  <c:v>45093</c:v>
                </c:pt>
                <c:pt idx="76">
                  <c:v>45100</c:v>
                </c:pt>
                <c:pt idx="77">
                  <c:v>45107</c:v>
                </c:pt>
                <c:pt idx="78">
                  <c:v>45114</c:v>
                </c:pt>
                <c:pt idx="79">
                  <c:v>45121</c:v>
                </c:pt>
                <c:pt idx="80">
                  <c:v>45128</c:v>
                </c:pt>
                <c:pt idx="81">
                  <c:v>45135</c:v>
                </c:pt>
                <c:pt idx="82">
                  <c:v>45142</c:v>
                </c:pt>
                <c:pt idx="83">
                  <c:v>45149</c:v>
                </c:pt>
                <c:pt idx="84">
                  <c:v>45156</c:v>
                </c:pt>
                <c:pt idx="85">
                  <c:v>45163</c:v>
                </c:pt>
                <c:pt idx="86">
                  <c:v>45170</c:v>
                </c:pt>
                <c:pt idx="87">
                  <c:v>45177</c:v>
                </c:pt>
                <c:pt idx="88">
                  <c:v>45184</c:v>
                </c:pt>
                <c:pt idx="89">
                  <c:v>45191</c:v>
                </c:pt>
                <c:pt idx="90">
                  <c:v>45198</c:v>
                </c:pt>
                <c:pt idx="91">
                  <c:v>45205</c:v>
                </c:pt>
                <c:pt idx="92">
                  <c:v>45212</c:v>
                </c:pt>
                <c:pt idx="93">
                  <c:v>45219</c:v>
                </c:pt>
                <c:pt idx="94">
                  <c:v>45226</c:v>
                </c:pt>
                <c:pt idx="95">
                  <c:v>45233</c:v>
                </c:pt>
                <c:pt idx="96">
                  <c:v>45240</c:v>
                </c:pt>
                <c:pt idx="97">
                  <c:v>45247</c:v>
                </c:pt>
                <c:pt idx="98">
                  <c:v>45254</c:v>
                </c:pt>
                <c:pt idx="99">
                  <c:v>45261</c:v>
                </c:pt>
                <c:pt idx="100">
                  <c:v>45268</c:v>
                </c:pt>
                <c:pt idx="101">
                  <c:v>45275</c:v>
                </c:pt>
                <c:pt idx="102">
                  <c:v>45282</c:v>
                </c:pt>
                <c:pt idx="103">
                  <c:v>45289</c:v>
                </c:pt>
                <c:pt idx="104">
                  <c:v>45296</c:v>
                </c:pt>
                <c:pt idx="105">
                  <c:v>45303</c:v>
                </c:pt>
                <c:pt idx="106">
                  <c:v>45310</c:v>
                </c:pt>
                <c:pt idx="107">
                  <c:v>45317</c:v>
                </c:pt>
                <c:pt idx="108">
                  <c:v>45324</c:v>
                </c:pt>
                <c:pt idx="109">
                  <c:v>45331</c:v>
                </c:pt>
                <c:pt idx="110">
                  <c:v>45338</c:v>
                </c:pt>
                <c:pt idx="111">
                  <c:v>45345</c:v>
                </c:pt>
                <c:pt idx="112">
                  <c:v>45352</c:v>
                </c:pt>
                <c:pt idx="113">
                  <c:v>45359</c:v>
                </c:pt>
                <c:pt idx="114">
                  <c:v>45366</c:v>
                </c:pt>
                <c:pt idx="115">
                  <c:v>45373</c:v>
                </c:pt>
                <c:pt idx="116">
                  <c:v>45380</c:v>
                </c:pt>
                <c:pt idx="117">
                  <c:v>45387</c:v>
                </c:pt>
                <c:pt idx="118">
                  <c:v>45394</c:v>
                </c:pt>
                <c:pt idx="119">
                  <c:v>45401</c:v>
                </c:pt>
                <c:pt idx="120">
                  <c:v>45408</c:v>
                </c:pt>
                <c:pt idx="121">
                  <c:v>45415</c:v>
                </c:pt>
                <c:pt idx="122">
                  <c:v>45422</c:v>
                </c:pt>
                <c:pt idx="123">
                  <c:v>45429</c:v>
                </c:pt>
                <c:pt idx="124">
                  <c:v>45436</c:v>
                </c:pt>
                <c:pt idx="125">
                  <c:v>45443</c:v>
                </c:pt>
                <c:pt idx="126">
                  <c:v>45450</c:v>
                </c:pt>
                <c:pt idx="127">
                  <c:v>45457</c:v>
                </c:pt>
                <c:pt idx="128">
                  <c:v>45464</c:v>
                </c:pt>
                <c:pt idx="129">
                  <c:v>45471</c:v>
                </c:pt>
                <c:pt idx="130">
                  <c:v>45478</c:v>
                </c:pt>
                <c:pt idx="131">
                  <c:v>45485</c:v>
                </c:pt>
                <c:pt idx="132">
                  <c:v>45492</c:v>
                </c:pt>
                <c:pt idx="133">
                  <c:v>45499</c:v>
                </c:pt>
                <c:pt idx="134">
                  <c:v>45506</c:v>
                </c:pt>
                <c:pt idx="135">
                  <c:v>45513</c:v>
                </c:pt>
                <c:pt idx="136">
                  <c:v>45520</c:v>
                </c:pt>
                <c:pt idx="137">
                  <c:v>45527</c:v>
                </c:pt>
                <c:pt idx="138">
                  <c:v>45534</c:v>
                </c:pt>
                <c:pt idx="139">
                  <c:v>45541</c:v>
                </c:pt>
                <c:pt idx="140">
                  <c:v>45548</c:v>
                </c:pt>
                <c:pt idx="141">
                  <c:v>45555</c:v>
                </c:pt>
                <c:pt idx="142">
                  <c:v>45562</c:v>
                </c:pt>
                <c:pt idx="143">
                  <c:v>45569</c:v>
                </c:pt>
                <c:pt idx="144">
                  <c:v>45576</c:v>
                </c:pt>
                <c:pt idx="145">
                  <c:v>45583</c:v>
                </c:pt>
                <c:pt idx="146">
                  <c:v>45590</c:v>
                </c:pt>
                <c:pt idx="147">
                  <c:v>45597</c:v>
                </c:pt>
                <c:pt idx="148">
                  <c:v>45604</c:v>
                </c:pt>
                <c:pt idx="149">
                  <c:v>45611</c:v>
                </c:pt>
                <c:pt idx="150">
                  <c:v>45618</c:v>
                </c:pt>
                <c:pt idx="151">
                  <c:v>45625</c:v>
                </c:pt>
                <c:pt idx="152">
                  <c:v>45632</c:v>
                </c:pt>
                <c:pt idx="153">
                  <c:v>45639</c:v>
                </c:pt>
                <c:pt idx="154">
                  <c:v>45646</c:v>
                </c:pt>
                <c:pt idx="155">
                  <c:v>45653</c:v>
                </c:pt>
                <c:pt idx="156">
                  <c:v>45660</c:v>
                </c:pt>
                <c:pt idx="157">
                  <c:v>45667</c:v>
                </c:pt>
                <c:pt idx="158">
                  <c:v>45674</c:v>
                </c:pt>
                <c:pt idx="159">
                  <c:v>45681</c:v>
                </c:pt>
                <c:pt idx="160">
                  <c:v>45688</c:v>
                </c:pt>
                <c:pt idx="161">
                  <c:v>45695</c:v>
                </c:pt>
                <c:pt idx="162">
                  <c:v>45702</c:v>
                </c:pt>
                <c:pt idx="163">
                  <c:v>45709</c:v>
                </c:pt>
                <c:pt idx="164">
                  <c:v>45716</c:v>
                </c:pt>
                <c:pt idx="165">
                  <c:v>45723</c:v>
                </c:pt>
                <c:pt idx="166">
                  <c:v>45730</c:v>
                </c:pt>
                <c:pt idx="167">
                  <c:v>45737</c:v>
                </c:pt>
                <c:pt idx="168">
                  <c:v>45744</c:v>
                </c:pt>
                <c:pt idx="169">
                  <c:v>45751</c:v>
                </c:pt>
                <c:pt idx="170">
                  <c:v>45758</c:v>
                </c:pt>
                <c:pt idx="171">
                  <c:v>45765</c:v>
                </c:pt>
                <c:pt idx="172">
                  <c:v>45772</c:v>
                </c:pt>
                <c:pt idx="173">
                  <c:v>45779</c:v>
                </c:pt>
                <c:pt idx="174">
                  <c:v>45786</c:v>
                </c:pt>
                <c:pt idx="175">
                  <c:v>45793</c:v>
                </c:pt>
                <c:pt idx="176">
                  <c:v>45800</c:v>
                </c:pt>
                <c:pt idx="177">
                  <c:v>45807</c:v>
                </c:pt>
                <c:pt idx="178">
                  <c:v>45814</c:v>
                </c:pt>
                <c:pt idx="179">
                  <c:v>45821</c:v>
                </c:pt>
                <c:pt idx="180">
                  <c:v>45828</c:v>
                </c:pt>
                <c:pt idx="181">
                  <c:v>45835</c:v>
                </c:pt>
                <c:pt idx="182">
                  <c:v>45842</c:v>
                </c:pt>
                <c:pt idx="183">
                  <c:v>45849</c:v>
                </c:pt>
                <c:pt idx="184">
                  <c:v>45856</c:v>
                </c:pt>
                <c:pt idx="185">
                  <c:v>45863</c:v>
                </c:pt>
                <c:pt idx="186">
                  <c:v>45870</c:v>
                </c:pt>
                <c:pt idx="187">
                  <c:v>45877</c:v>
                </c:pt>
                <c:pt idx="188">
                  <c:v>45884</c:v>
                </c:pt>
                <c:pt idx="189">
                  <c:v>45891</c:v>
                </c:pt>
                <c:pt idx="190">
                  <c:v>45898</c:v>
                </c:pt>
                <c:pt idx="191">
                  <c:v>45905</c:v>
                </c:pt>
                <c:pt idx="192">
                  <c:v>45912</c:v>
                </c:pt>
                <c:pt idx="193">
                  <c:v>45919</c:v>
                </c:pt>
                <c:pt idx="194">
                  <c:v>45926</c:v>
                </c:pt>
                <c:pt idx="195">
                  <c:v>45933</c:v>
                </c:pt>
                <c:pt idx="196">
                  <c:v>45940</c:v>
                </c:pt>
                <c:pt idx="197">
                  <c:v>45947</c:v>
                </c:pt>
                <c:pt idx="198">
                  <c:v>45954</c:v>
                </c:pt>
                <c:pt idx="199">
                  <c:v>45961</c:v>
                </c:pt>
                <c:pt idx="200">
                  <c:v>45968</c:v>
                </c:pt>
                <c:pt idx="201">
                  <c:v>45975</c:v>
                </c:pt>
                <c:pt idx="202">
                  <c:v>45982</c:v>
                </c:pt>
                <c:pt idx="203">
                  <c:v>45989</c:v>
                </c:pt>
                <c:pt idx="204">
                  <c:v>45996</c:v>
                </c:pt>
                <c:pt idx="205">
                  <c:v>46003</c:v>
                </c:pt>
                <c:pt idx="206">
                  <c:v>46010</c:v>
                </c:pt>
                <c:pt idx="207">
                  <c:v>46017</c:v>
                </c:pt>
              </c:numCache>
            </c:numRef>
          </c:cat>
          <c:val>
            <c:numRef>
              <c:f>'hstech valuations'!$D$11:$D$10000</c:f>
              <c:numCache>
                <c:formatCode>0.0</c:formatCode>
                <c:ptCount val="9990"/>
                <c:pt idx="0">
                  <c:v>19.151438942307696</c:v>
                </c:pt>
                <c:pt idx="1">
                  <c:v>19.151438942307696</c:v>
                </c:pt>
                <c:pt idx="2">
                  <c:v>19.151438942307696</c:v>
                </c:pt>
                <c:pt idx="3">
                  <c:v>19.151438942307696</c:v>
                </c:pt>
                <c:pt idx="4">
                  <c:v>19.151438942307696</c:v>
                </c:pt>
                <c:pt idx="5">
                  <c:v>19.151438942307696</c:v>
                </c:pt>
                <c:pt idx="6">
                  <c:v>19.151438942307696</c:v>
                </c:pt>
                <c:pt idx="7">
                  <c:v>19.151438942307696</c:v>
                </c:pt>
                <c:pt idx="8">
                  <c:v>19.151438942307696</c:v>
                </c:pt>
                <c:pt idx="9">
                  <c:v>19.151438942307696</c:v>
                </c:pt>
                <c:pt idx="10">
                  <c:v>19.151438942307696</c:v>
                </c:pt>
                <c:pt idx="11">
                  <c:v>19.151438942307696</c:v>
                </c:pt>
                <c:pt idx="12">
                  <c:v>19.151438942307696</c:v>
                </c:pt>
                <c:pt idx="13">
                  <c:v>19.151438942307696</c:v>
                </c:pt>
                <c:pt idx="14">
                  <c:v>19.151438942307696</c:v>
                </c:pt>
                <c:pt idx="15">
                  <c:v>19.151438942307696</c:v>
                </c:pt>
                <c:pt idx="16">
                  <c:v>19.151438942307696</c:v>
                </c:pt>
                <c:pt idx="17">
                  <c:v>19.151438942307696</c:v>
                </c:pt>
                <c:pt idx="18">
                  <c:v>19.151438942307696</c:v>
                </c:pt>
                <c:pt idx="19">
                  <c:v>19.151438942307696</c:v>
                </c:pt>
                <c:pt idx="20">
                  <c:v>19.151438942307696</c:v>
                </c:pt>
                <c:pt idx="21">
                  <c:v>19.151438942307696</c:v>
                </c:pt>
                <c:pt idx="22">
                  <c:v>19.151438942307696</c:v>
                </c:pt>
                <c:pt idx="23">
                  <c:v>19.151438942307696</c:v>
                </c:pt>
                <c:pt idx="24">
                  <c:v>19.151438942307696</c:v>
                </c:pt>
                <c:pt idx="25">
                  <c:v>19.151438942307696</c:v>
                </c:pt>
                <c:pt idx="26">
                  <c:v>19.151438942307696</c:v>
                </c:pt>
                <c:pt idx="27">
                  <c:v>19.151438942307696</c:v>
                </c:pt>
                <c:pt idx="28">
                  <c:v>19.151438942307696</c:v>
                </c:pt>
                <c:pt idx="29">
                  <c:v>19.151438942307696</c:v>
                </c:pt>
                <c:pt idx="30">
                  <c:v>19.151438942307696</c:v>
                </c:pt>
                <c:pt idx="31">
                  <c:v>19.151438942307696</c:v>
                </c:pt>
                <c:pt idx="32">
                  <c:v>19.151438942307696</c:v>
                </c:pt>
                <c:pt idx="33">
                  <c:v>19.151438942307696</c:v>
                </c:pt>
                <c:pt idx="34">
                  <c:v>19.151438942307696</c:v>
                </c:pt>
                <c:pt idx="35">
                  <c:v>19.151438942307696</c:v>
                </c:pt>
                <c:pt idx="36">
                  <c:v>19.151438942307696</c:v>
                </c:pt>
                <c:pt idx="37">
                  <c:v>19.151438942307696</c:v>
                </c:pt>
                <c:pt idx="38">
                  <c:v>19.151438942307696</c:v>
                </c:pt>
                <c:pt idx="39">
                  <c:v>19.151438942307696</c:v>
                </c:pt>
                <c:pt idx="40">
                  <c:v>19.151438942307696</c:v>
                </c:pt>
                <c:pt idx="41">
                  <c:v>19.151438942307696</c:v>
                </c:pt>
                <c:pt idx="42">
                  <c:v>19.151438942307696</c:v>
                </c:pt>
                <c:pt idx="43">
                  <c:v>19.151438942307696</c:v>
                </c:pt>
                <c:pt idx="44">
                  <c:v>19.151438942307696</c:v>
                </c:pt>
                <c:pt idx="45">
                  <c:v>19.151438942307696</c:v>
                </c:pt>
                <c:pt idx="46">
                  <c:v>19.151438942307696</c:v>
                </c:pt>
                <c:pt idx="47">
                  <c:v>19.151438942307696</c:v>
                </c:pt>
                <c:pt idx="48">
                  <c:v>19.151438942307696</c:v>
                </c:pt>
                <c:pt idx="49">
                  <c:v>19.151438942307696</c:v>
                </c:pt>
                <c:pt idx="50">
                  <c:v>19.151438942307696</c:v>
                </c:pt>
                <c:pt idx="51">
                  <c:v>19.151438942307696</c:v>
                </c:pt>
                <c:pt idx="52">
                  <c:v>19.151438942307696</c:v>
                </c:pt>
                <c:pt idx="53">
                  <c:v>19.151438942307696</c:v>
                </c:pt>
                <c:pt idx="54">
                  <c:v>19.151438942307696</c:v>
                </c:pt>
                <c:pt idx="55">
                  <c:v>19.151438942307696</c:v>
                </c:pt>
                <c:pt idx="56">
                  <c:v>19.151438942307696</c:v>
                </c:pt>
                <c:pt idx="57">
                  <c:v>19.151438942307696</c:v>
                </c:pt>
                <c:pt idx="58">
                  <c:v>19.151438942307696</c:v>
                </c:pt>
                <c:pt idx="59">
                  <c:v>19.151438942307696</c:v>
                </c:pt>
                <c:pt idx="60">
                  <c:v>19.151438942307696</c:v>
                </c:pt>
                <c:pt idx="61">
                  <c:v>19.151438942307696</c:v>
                </c:pt>
                <c:pt idx="62">
                  <c:v>19.151438942307696</c:v>
                </c:pt>
                <c:pt idx="63">
                  <c:v>19.151438942307696</c:v>
                </c:pt>
                <c:pt idx="64">
                  <c:v>19.151438942307696</c:v>
                </c:pt>
                <c:pt idx="65">
                  <c:v>19.151438942307696</c:v>
                </c:pt>
                <c:pt idx="66">
                  <c:v>19.151438942307696</c:v>
                </c:pt>
                <c:pt idx="67">
                  <c:v>19.151438942307696</c:v>
                </c:pt>
                <c:pt idx="68">
                  <c:v>19.151438942307696</c:v>
                </c:pt>
                <c:pt idx="69">
                  <c:v>19.151438942307696</c:v>
                </c:pt>
                <c:pt idx="70">
                  <c:v>19.151438942307696</c:v>
                </c:pt>
                <c:pt idx="71">
                  <c:v>19.151438942307696</c:v>
                </c:pt>
                <c:pt idx="72">
                  <c:v>19.151438942307696</c:v>
                </c:pt>
                <c:pt idx="73">
                  <c:v>19.151438942307696</c:v>
                </c:pt>
                <c:pt idx="74">
                  <c:v>19.151438942307696</c:v>
                </c:pt>
                <c:pt idx="75">
                  <c:v>19.151438942307696</c:v>
                </c:pt>
                <c:pt idx="76">
                  <c:v>19.151438942307696</c:v>
                </c:pt>
                <c:pt idx="77">
                  <c:v>19.151438942307696</c:v>
                </c:pt>
                <c:pt idx="78">
                  <c:v>19.151438942307696</c:v>
                </c:pt>
                <c:pt idx="79">
                  <c:v>19.151438942307696</c:v>
                </c:pt>
                <c:pt idx="80">
                  <c:v>19.151438942307696</c:v>
                </c:pt>
                <c:pt idx="81">
                  <c:v>19.151438942307696</c:v>
                </c:pt>
                <c:pt idx="82">
                  <c:v>19.151438942307696</c:v>
                </c:pt>
                <c:pt idx="83">
                  <c:v>19.151438942307696</c:v>
                </c:pt>
                <c:pt idx="84">
                  <c:v>19.151438942307696</c:v>
                </c:pt>
                <c:pt idx="85">
                  <c:v>19.151438942307696</c:v>
                </c:pt>
                <c:pt idx="86">
                  <c:v>19.151438942307696</c:v>
                </c:pt>
                <c:pt idx="87">
                  <c:v>19.151438942307696</c:v>
                </c:pt>
                <c:pt idx="88">
                  <c:v>19.151438942307696</c:v>
                </c:pt>
                <c:pt idx="89">
                  <c:v>19.151438942307696</c:v>
                </c:pt>
                <c:pt idx="90">
                  <c:v>19.151438942307696</c:v>
                </c:pt>
                <c:pt idx="91">
                  <c:v>19.151438942307696</c:v>
                </c:pt>
                <c:pt idx="92">
                  <c:v>19.151438942307696</c:v>
                </c:pt>
                <c:pt idx="93">
                  <c:v>19.151438942307696</c:v>
                </c:pt>
                <c:pt idx="94">
                  <c:v>19.151438942307696</c:v>
                </c:pt>
                <c:pt idx="95">
                  <c:v>19.151438942307696</c:v>
                </c:pt>
                <c:pt idx="96">
                  <c:v>19.151438942307696</c:v>
                </c:pt>
                <c:pt idx="97">
                  <c:v>19.151438942307696</c:v>
                </c:pt>
                <c:pt idx="98">
                  <c:v>19.151438942307696</c:v>
                </c:pt>
                <c:pt idx="99">
                  <c:v>19.151438942307696</c:v>
                </c:pt>
                <c:pt idx="100">
                  <c:v>19.151438942307696</c:v>
                </c:pt>
                <c:pt idx="101">
                  <c:v>19.151438942307696</c:v>
                </c:pt>
                <c:pt idx="102">
                  <c:v>19.151438942307696</c:v>
                </c:pt>
                <c:pt idx="103">
                  <c:v>19.151438942307696</c:v>
                </c:pt>
                <c:pt idx="104">
                  <c:v>19.151438942307696</c:v>
                </c:pt>
                <c:pt idx="105">
                  <c:v>19.151438942307696</c:v>
                </c:pt>
                <c:pt idx="106">
                  <c:v>19.151438942307696</c:v>
                </c:pt>
                <c:pt idx="107">
                  <c:v>19.151438942307696</c:v>
                </c:pt>
                <c:pt idx="108">
                  <c:v>19.151438942307696</c:v>
                </c:pt>
                <c:pt idx="109">
                  <c:v>19.151438942307696</c:v>
                </c:pt>
                <c:pt idx="110">
                  <c:v>19.151438942307696</c:v>
                </c:pt>
                <c:pt idx="111">
                  <c:v>19.151438942307696</c:v>
                </c:pt>
                <c:pt idx="112">
                  <c:v>19.151438942307696</c:v>
                </c:pt>
                <c:pt idx="113">
                  <c:v>19.151438942307696</c:v>
                </c:pt>
                <c:pt idx="114">
                  <c:v>19.151438942307696</c:v>
                </c:pt>
                <c:pt idx="115">
                  <c:v>19.151438942307696</c:v>
                </c:pt>
                <c:pt idx="116">
                  <c:v>19.151438942307696</c:v>
                </c:pt>
                <c:pt idx="117">
                  <c:v>19.151438942307696</c:v>
                </c:pt>
                <c:pt idx="118">
                  <c:v>19.151438942307696</c:v>
                </c:pt>
                <c:pt idx="119">
                  <c:v>19.151438942307696</c:v>
                </c:pt>
                <c:pt idx="120">
                  <c:v>19.151438942307696</c:v>
                </c:pt>
                <c:pt idx="121">
                  <c:v>19.151438942307696</c:v>
                </c:pt>
                <c:pt idx="122">
                  <c:v>19.151438942307696</c:v>
                </c:pt>
                <c:pt idx="123">
                  <c:v>19.151438942307696</c:v>
                </c:pt>
                <c:pt idx="124">
                  <c:v>19.151438942307696</c:v>
                </c:pt>
                <c:pt idx="125">
                  <c:v>19.151438942307696</c:v>
                </c:pt>
                <c:pt idx="126">
                  <c:v>19.151438942307696</c:v>
                </c:pt>
                <c:pt idx="127">
                  <c:v>19.151438942307696</c:v>
                </c:pt>
                <c:pt idx="128">
                  <c:v>19.151438942307696</c:v>
                </c:pt>
                <c:pt idx="129">
                  <c:v>19.151438942307696</c:v>
                </c:pt>
                <c:pt idx="130">
                  <c:v>19.151438942307696</c:v>
                </c:pt>
                <c:pt idx="131">
                  <c:v>19.151438942307696</c:v>
                </c:pt>
                <c:pt idx="132">
                  <c:v>19.151438942307696</c:v>
                </c:pt>
                <c:pt idx="133">
                  <c:v>19.151438942307696</c:v>
                </c:pt>
                <c:pt idx="134">
                  <c:v>19.151438942307696</c:v>
                </c:pt>
                <c:pt idx="135">
                  <c:v>19.151438942307696</c:v>
                </c:pt>
                <c:pt idx="136">
                  <c:v>19.151438942307696</c:v>
                </c:pt>
                <c:pt idx="137">
                  <c:v>19.151438942307696</c:v>
                </c:pt>
                <c:pt idx="138">
                  <c:v>19.151438942307696</c:v>
                </c:pt>
                <c:pt idx="139">
                  <c:v>19.151438942307696</c:v>
                </c:pt>
                <c:pt idx="140">
                  <c:v>19.151438942307696</c:v>
                </c:pt>
                <c:pt idx="141">
                  <c:v>19.151438942307696</c:v>
                </c:pt>
                <c:pt idx="142">
                  <c:v>19.151438942307696</c:v>
                </c:pt>
                <c:pt idx="143">
                  <c:v>19.151438942307696</c:v>
                </c:pt>
                <c:pt idx="144">
                  <c:v>19.151438942307696</c:v>
                </c:pt>
                <c:pt idx="145">
                  <c:v>19.151438942307696</c:v>
                </c:pt>
                <c:pt idx="146">
                  <c:v>19.151438942307696</c:v>
                </c:pt>
                <c:pt idx="147">
                  <c:v>19.151438942307696</c:v>
                </c:pt>
                <c:pt idx="148">
                  <c:v>19.151438942307696</c:v>
                </c:pt>
                <c:pt idx="149">
                  <c:v>19.151438942307696</c:v>
                </c:pt>
                <c:pt idx="150">
                  <c:v>19.151438942307696</c:v>
                </c:pt>
                <c:pt idx="151">
                  <c:v>19.151438942307696</c:v>
                </c:pt>
                <c:pt idx="152">
                  <c:v>19.151438942307696</c:v>
                </c:pt>
                <c:pt idx="153">
                  <c:v>19.151438942307696</c:v>
                </c:pt>
                <c:pt idx="154">
                  <c:v>19.151438942307696</c:v>
                </c:pt>
                <c:pt idx="155">
                  <c:v>19.151438942307696</c:v>
                </c:pt>
                <c:pt idx="156">
                  <c:v>19.151438942307696</c:v>
                </c:pt>
                <c:pt idx="157">
                  <c:v>19.151438942307696</c:v>
                </c:pt>
                <c:pt idx="158">
                  <c:v>19.151438942307696</c:v>
                </c:pt>
                <c:pt idx="159">
                  <c:v>19.151438942307696</c:v>
                </c:pt>
                <c:pt idx="160">
                  <c:v>19.151438942307696</c:v>
                </c:pt>
                <c:pt idx="161">
                  <c:v>19.151438942307696</c:v>
                </c:pt>
                <c:pt idx="162">
                  <c:v>19.151438942307696</c:v>
                </c:pt>
                <c:pt idx="163">
                  <c:v>19.151438942307696</c:v>
                </c:pt>
                <c:pt idx="164">
                  <c:v>19.151438942307696</c:v>
                </c:pt>
                <c:pt idx="165">
                  <c:v>19.151438942307696</c:v>
                </c:pt>
                <c:pt idx="166">
                  <c:v>19.151438942307696</c:v>
                </c:pt>
                <c:pt idx="167">
                  <c:v>19.151438942307696</c:v>
                </c:pt>
                <c:pt idx="168">
                  <c:v>19.151438942307696</c:v>
                </c:pt>
                <c:pt idx="169">
                  <c:v>19.151438942307696</c:v>
                </c:pt>
                <c:pt idx="170">
                  <c:v>19.151438942307696</c:v>
                </c:pt>
                <c:pt idx="171">
                  <c:v>19.151438942307696</c:v>
                </c:pt>
                <c:pt idx="172">
                  <c:v>19.151438942307696</c:v>
                </c:pt>
                <c:pt idx="173">
                  <c:v>19.151438942307696</c:v>
                </c:pt>
                <c:pt idx="174">
                  <c:v>19.151438942307696</c:v>
                </c:pt>
                <c:pt idx="175">
                  <c:v>19.151438942307696</c:v>
                </c:pt>
                <c:pt idx="176">
                  <c:v>19.151438942307696</c:v>
                </c:pt>
                <c:pt idx="177">
                  <c:v>19.151438942307696</c:v>
                </c:pt>
                <c:pt idx="178">
                  <c:v>19.151438942307696</c:v>
                </c:pt>
                <c:pt idx="179">
                  <c:v>19.151438942307696</c:v>
                </c:pt>
                <c:pt idx="180">
                  <c:v>19.151438942307696</c:v>
                </c:pt>
                <c:pt idx="181">
                  <c:v>19.151438942307696</c:v>
                </c:pt>
                <c:pt idx="182">
                  <c:v>19.151438942307696</c:v>
                </c:pt>
                <c:pt idx="183">
                  <c:v>19.151438942307696</c:v>
                </c:pt>
                <c:pt idx="184">
                  <c:v>19.151438942307696</c:v>
                </c:pt>
                <c:pt idx="185">
                  <c:v>19.151438942307696</c:v>
                </c:pt>
                <c:pt idx="186">
                  <c:v>19.151438942307696</c:v>
                </c:pt>
                <c:pt idx="187">
                  <c:v>19.151438942307696</c:v>
                </c:pt>
                <c:pt idx="188">
                  <c:v>19.151438942307696</c:v>
                </c:pt>
                <c:pt idx="189">
                  <c:v>19.151438942307696</c:v>
                </c:pt>
                <c:pt idx="190">
                  <c:v>19.151438942307696</c:v>
                </c:pt>
                <c:pt idx="191">
                  <c:v>19.151438942307696</c:v>
                </c:pt>
                <c:pt idx="192">
                  <c:v>19.151438942307696</c:v>
                </c:pt>
                <c:pt idx="193">
                  <c:v>19.151438942307696</c:v>
                </c:pt>
                <c:pt idx="194">
                  <c:v>19.151438942307696</c:v>
                </c:pt>
                <c:pt idx="195">
                  <c:v>19.151438942307696</c:v>
                </c:pt>
                <c:pt idx="196">
                  <c:v>19.151438942307696</c:v>
                </c:pt>
                <c:pt idx="197">
                  <c:v>19.151438942307696</c:v>
                </c:pt>
                <c:pt idx="198">
                  <c:v>19.151438942307696</c:v>
                </c:pt>
                <c:pt idx="199">
                  <c:v>19.151438942307696</c:v>
                </c:pt>
                <c:pt idx="200">
                  <c:v>19.151438942307696</c:v>
                </c:pt>
                <c:pt idx="201">
                  <c:v>19.151438942307696</c:v>
                </c:pt>
                <c:pt idx="202">
                  <c:v>19.151438942307696</c:v>
                </c:pt>
                <c:pt idx="203">
                  <c:v>19.151438942307696</c:v>
                </c:pt>
                <c:pt idx="204">
                  <c:v>19.151438942307696</c:v>
                </c:pt>
                <c:pt idx="205">
                  <c:v>19.151438942307696</c:v>
                </c:pt>
                <c:pt idx="206">
                  <c:v>19.151438942307696</c:v>
                </c:pt>
                <c:pt idx="207">
                  <c:v>19.151438942307696</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numCache>
            </c:numRef>
          </c:val>
          <c:smooth val="0"/>
          <c:extLst>
            <c:ext xmlns:c16="http://schemas.microsoft.com/office/drawing/2014/chart" uri="{C3380CC4-5D6E-409C-BE32-E72D297353CC}">
              <c16:uniqueId val="{00000001-16BF-435E-8F05-78A0F84712FB}"/>
            </c:ext>
          </c:extLst>
        </c:ser>
        <c:dLbls>
          <c:showLegendKey val="0"/>
          <c:showVal val="0"/>
          <c:showCatName val="0"/>
          <c:showSerName val="0"/>
          <c:showPercent val="0"/>
          <c:showBubbleSize val="0"/>
        </c:dLbls>
        <c:smooth val="0"/>
        <c:axId val="1724917967"/>
        <c:axId val="1724918383"/>
      </c:lineChart>
      <c:dateAx>
        <c:axId val="1724917967"/>
        <c:scaling>
          <c:orientation val="minMax"/>
        </c:scaling>
        <c:delete val="0"/>
        <c:axPos val="b"/>
        <c:numFmt formatCode="yyyy" sourceLinked="0"/>
        <c:majorTickMark val="none"/>
        <c:minorTickMark val="none"/>
        <c:tickLblPos val="low"/>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24918383"/>
        <c:crosses val="autoZero"/>
        <c:auto val="0"/>
        <c:lblOffset val="100"/>
        <c:baseTimeUnit val="days"/>
        <c:majorUnit val="1"/>
        <c:majorTimeUnit val="years"/>
      </c:dateAx>
      <c:valAx>
        <c:axId val="1724918383"/>
        <c:scaling>
          <c:orientation val="minMax"/>
          <c:min val="8"/>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24917967"/>
        <c:crosses val="autoZero"/>
        <c:crossBetween val="midCat"/>
        <c:majorUnit val="4"/>
      </c:valAx>
      <c:spPr>
        <a:solidFill>
          <a:srgbClr val="FFFFFF"/>
        </a:solidFill>
        <a:ln>
          <a:noFill/>
        </a:ln>
        <a:effectLst/>
      </c:spPr>
    </c:plotArea>
    <c:legend>
      <c:legendPos val="r"/>
      <c:legendEntry>
        <c:idx val="0"/>
        <c:delete val="1"/>
      </c:legendEntry>
      <c:layout>
        <c:manualLayout>
          <c:xMode val="edge"/>
          <c:yMode val="edge"/>
          <c:x val="2.7361111111111097E-3"/>
          <c:y val="0.9247718722659668"/>
          <c:w val="0.99726388888888873"/>
          <c:h val="7.522812773403324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chemeClr val="tx1">
              <a:lumMod val="65000"/>
              <a:lumOff val="35000"/>
            </a:schemeClr>
          </a:solidFill>
          <a:latin typeface="Frutiger 45 Light" panose="020B0603020202020204" pitchFamily="34" charset="0"/>
          <a:ea typeface="+mn-ea"/>
        </a:defRPr>
      </a:pPr>
      <a:endParaRPr lang="en-US"/>
    </a:p>
  </c:txPr>
  <c:externalData r:id="rId4">
    <c:autoUpdate val="0"/>
  </c:externalData>
  <c:userShapes r:id="rId5"/>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8403105861767277E-2"/>
          <c:y val="4.6120541000976463E-2"/>
          <c:w val="0.87333311461067364"/>
          <c:h val="0.56973780621172354"/>
        </c:manualLayout>
      </c:layout>
      <c:barChart>
        <c:barDir val="col"/>
        <c:grouping val="clustered"/>
        <c:varyColors val="0"/>
        <c:ser>
          <c:idx val="0"/>
          <c:order val="0"/>
          <c:tx>
            <c:strRef>
              <c:f>'hstech vs eps'!$C$7</c:f>
              <c:strCache>
                <c:ptCount val="1"/>
                <c:pt idx="0">
                  <c:v>12-month trailing EPS (lhs)</c:v>
                </c:pt>
              </c:strCache>
            </c:strRef>
          </c:tx>
          <c:spPr>
            <a:solidFill>
              <a:srgbClr val="8E8D83"/>
            </a:solidFill>
            <a:ln>
              <a:noFill/>
            </a:ln>
            <a:effectLst/>
          </c:spPr>
          <c:invertIfNegative val="0"/>
          <c:dPt>
            <c:idx val="20"/>
            <c:invertIfNegative val="0"/>
            <c:bubble3D val="0"/>
            <c:spPr>
              <a:solidFill>
                <a:srgbClr val="B98E2C"/>
              </a:solidFill>
              <a:ln>
                <a:noFill/>
              </a:ln>
              <a:effectLst/>
            </c:spPr>
            <c:extLst>
              <c:ext xmlns:c16="http://schemas.microsoft.com/office/drawing/2014/chart" uri="{C3380CC4-5D6E-409C-BE32-E72D297353CC}">
                <c16:uniqueId val="{00000001-38CB-45C1-AA9C-6F28A81E0254}"/>
              </c:ext>
            </c:extLst>
          </c:dPt>
          <c:dPt>
            <c:idx val="22"/>
            <c:invertIfNegative val="0"/>
            <c:bubble3D val="0"/>
            <c:spPr>
              <a:solidFill>
                <a:srgbClr val="B98E2C"/>
              </a:solidFill>
              <a:ln>
                <a:noFill/>
              </a:ln>
              <a:effectLst/>
            </c:spPr>
            <c:extLst>
              <c:ext xmlns:c16="http://schemas.microsoft.com/office/drawing/2014/chart" uri="{C3380CC4-5D6E-409C-BE32-E72D297353CC}">
                <c16:uniqueId val="{00000003-38CB-45C1-AA9C-6F28A81E0254}"/>
              </c:ext>
            </c:extLst>
          </c:dPt>
          <c:cat>
            <c:strRef>
              <c:f>'hstech vs eps'!$B$11:$B$33</c:f>
              <c:strCache>
                <c:ptCount val="23"/>
                <c:pt idx="0">
                  <c:v>Q2 2021</c:v>
                </c:pt>
                <c:pt idx="1">
                  <c:v>Q3 2021</c:v>
                </c:pt>
                <c:pt idx="2">
                  <c:v>Q4 2021</c:v>
                </c:pt>
                <c:pt idx="3">
                  <c:v>Q1 2022</c:v>
                </c:pt>
                <c:pt idx="4">
                  <c:v>Q2 2022</c:v>
                </c:pt>
                <c:pt idx="5">
                  <c:v>Q3 2022</c:v>
                </c:pt>
                <c:pt idx="6">
                  <c:v>Q4 2022</c:v>
                </c:pt>
                <c:pt idx="7">
                  <c:v>Q1 2023</c:v>
                </c:pt>
                <c:pt idx="8">
                  <c:v>Q2 2023</c:v>
                </c:pt>
                <c:pt idx="9">
                  <c:v>Q3 2023</c:v>
                </c:pt>
                <c:pt idx="10">
                  <c:v>Q4 2023</c:v>
                </c:pt>
                <c:pt idx="11">
                  <c:v>Q1 2024</c:v>
                </c:pt>
                <c:pt idx="12">
                  <c:v>Q2 2024</c:v>
                </c:pt>
                <c:pt idx="13">
                  <c:v>Q3 2024</c:v>
                </c:pt>
                <c:pt idx="14">
                  <c:v>Q4 2024</c:v>
                </c:pt>
                <c:pt idx="15">
                  <c:v>Q1 2025</c:v>
                </c:pt>
                <c:pt idx="16">
                  <c:v>Q2 2025</c:v>
                </c:pt>
                <c:pt idx="17">
                  <c:v>Q3 2025</c:v>
                </c:pt>
                <c:pt idx="18">
                  <c:v>Q4 2025</c:v>
                </c:pt>
                <c:pt idx="20">
                  <c:v>Q4 2026E</c:v>
                </c:pt>
                <c:pt idx="22">
                  <c:v>Q4 2027E</c:v>
                </c:pt>
              </c:strCache>
            </c:strRef>
          </c:cat>
          <c:val>
            <c:numRef>
              <c:f>'hstech vs eps'!$C$11:$C$33</c:f>
              <c:numCache>
                <c:formatCode>General</c:formatCode>
                <c:ptCount val="23"/>
                <c:pt idx="0">
                  <c:v>205.04750000000001</c:v>
                </c:pt>
                <c:pt idx="1">
                  <c:v>176.73429999999999</c:v>
                </c:pt>
                <c:pt idx="2">
                  <c:v>179.27449999999999</c:v>
                </c:pt>
                <c:pt idx="3">
                  <c:v>155.03880000000001</c:v>
                </c:pt>
                <c:pt idx="4">
                  <c:v>159.68639999999999</c:v>
                </c:pt>
                <c:pt idx="5">
                  <c:v>148.5412</c:v>
                </c:pt>
                <c:pt idx="6">
                  <c:v>131.98609999999999</c:v>
                </c:pt>
                <c:pt idx="7">
                  <c:v>120.28</c:v>
                </c:pt>
                <c:pt idx="8">
                  <c:v>120.6202</c:v>
                </c:pt>
                <c:pt idx="9">
                  <c:v>141.2619</c:v>
                </c:pt>
                <c:pt idx="10">
                  <c:v>173.89670000000001</c:v>
                </c:pt>
                <c:pt idx="11">
                  <c:v>200.02449999999999</c:v>
                </c:pt>
                <c:pt idx="12">
                  <c:v>212.57140000000001</c:v>
                </c:pt>
                <c:pt idx="13">
                  <c:v>222.79480000000001</c:v>
                </c:pt>
                <c:pt idx="14">
                  <c:v>239.9794</c:v>
                </c:pt>
                <c:pt idx="15">
                  <c:v>246.1337</c:v>
                </c:pt>
                <c:pt idx="16">
                  <c:v>267.71949999999998</c:v>
                </c:pt>
                <c:pt idx="17">
                  <c:v>295.36950000000002</c:v>
                </c:pt>
                <c:pt idx="18">
                  <c:v>250.6404</c:v>
                </c:pt>
                <c:pt idx="20">
                  <c:v>378.88199400000002</c:v>
                </c:pt>
                <c:pt idx="22">
                  <c:v>469.81367256000004</c:v>
                </c:pt>
              </c:numCache>
            </c:numRef>
          </c:val>
          <c:extLst>
            <c:ext xmlns:c16="http://schemas.microsoft.com/office/drawing/2014/chart" uri="{C3380CC4-5D6E-409C-BE32-E72D297353CC}">
              <c16:uniqueId val="{00000004-38CB-45C1-AA9C-6F28A81E0254}"/>
            </c:ext>
          </c:extLst>
        </c:ser>
        <c:dLbls>
          <c:showLegendKey val="0"/>
          <c:showVal val="0"/>
          <c:showCatName val="0"/>
          <c:showSerName val="0"/>
          <c:showPercent val="0"/>
          <c:showBubbleSize val="0"/>
        </c:dLbls>
        <c:gapWidth val="30"/>
        <c:axId val="1724917967"/>
        <c:axId val="1724918383"/>
      </c:barChart>
      <c:lineChart>
        <c:grouping val="standard"/>
        <c:varyColors val="0"/>
        <c:ser>
          <c:idx val="1"/>
          <c:order val="1"/>
          <c:tx>
            <c:strRef>
              <c:f>'hstech vs eps'!$D$7</c:f>
              <c:strCache>
                <c:ptCount val="1"/>
                <c:pt idx="0">
                  <c:v>Hang Seng Tech Index (rhs)</c:v>
                </c:pt>
              </c:strCache>
            </c:strRef>
          </c:tx>
          <c:spPr>
            <a:ln w="28575" cap="rnd" cmpd="sng" algn="ctr">
              <a:solidFill>
                <a:srgbClr val="BD000C"/>
              </a:solidFill>
              <a:prstDash val="solid"/>
              <a:round/>
              <a:headEnd type="none" w="med" len="med"/>
              <a:tailEnd type="none" w="med" len="med"/>
            </a:ln>
            <a:effectLst/>
          </c:spPr>
          <c:marker>
            <c:symbol val="none"/>
          </c:marker>
          <c:dPt>
            <c:idx val="19"/>
            <c:marker>
              <c:symbol val="diamond"/>
              <c:size val="13"/>
              <c:spPr>
                <a:solidFill>
                  <a:srgbClr val="ED7D31"/>
                </a:solidFill>
                <a:ln w="28575" cap="rnd" cmpd="sng" algn="ctr">
                  <a:solidFill>
                    <a:srgbClr val="BD000C"/>
                  </a:solidFill>
                  <a:prstDash val="solid"/>
                  <a:round/>
                  <a:headEnd type="none" w="med" len="med"/>
                  <a:tailEnd type="none" w="med" len="med"/>
                </a:ln>
                <a:effectLst/>
              </c:spPr>
            </c:marker>
            <c:bubble3D val="0"/>
            <c:extLst>
              <c:ext xmlns:c16="http://schemas.microsoft.com/office/drawing/2014/chart" uri="{C3380CC4-5D6E-409C-BE32-E72D297353CC}">
                <c16:uniqueId val="{00000005-38CB-45C1-AA9C-6F28A81E0254}"/>
              </c:ext>
            </c:extLst>
          </c:dPt>
          <c:dPt>
            <c:idx val="20"/>
            <c:marker>
              <c:symbol val="none"/>
            </c:marker>
            <c:bubble3D val="0"/>
            <c:extLst>
              <c:ext xmlns:c16="http://schemas.microsoft.com/office/drawing/2014/chart" uri="{C3380CC4-5D6E-409C-BE32-E72D297353CC}">
                <c16:uniqueId val="{00000006-38CB-45C1-AA9C-6F28A81E0254}"/>
              </c:ext>
            </c:extLst>
          </c:dPt>
          <c:dLbls>
            <c:dLbl>
              <c:idx val="19"/>
              <c:layout>
                <c:manualLayout>
                  <c:x val="-0.1548034230096238"/>
                  <c:y val="-0.13130960192475941"/>
                </c:manualLayout>
              </c:layout>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r>
                      <a:rPr lang="en-US"/>
                      <a:t>CIO end-26 </a:t>
                    </a:r>
                  </a:p>
                  <a:p>
                    <a:pPr>
                      <a:defRPr/>
                    </a:pPr>
                    <a:r>
                      <a:rPr lang="en-US"/>
                      <a:t>target</a:t>
                    </a:r>
                  </a:p>
                  <a:p>
                    <a:pPr>
                      <a:defRPr/>
                    </a:pPr>
                    <a:fld id="{FB333B96-AFF7-42FB-B419-CCED79AD355A}" type="VALUE">
                      <a:rPr lang="en-US"/>
                      <a:pPr>
                        <a:defRPr/>
                      </a:pPr>
                      <a:t>[VALUE]</a:t>
                    </a:fld>
                    <a:endParaRPr lang="en-US"/>
                  </a:p>
                </c:rich>
              </c:tx>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0.2465799978127734"/>
                      <c:h val="0.16006944444444443"/>
                    </c:manualLayout>
                  </c15:layout>
                  <c15:dlblFieldTable/>
                  <c15:showDataLabelsRange val="0"/>
                </c:ext>
                <c:ext xmlns:c16="http://schemas.microsoft.com/office/drawing/2014/chart" uri="{C3380CC4-5D6E-409C-BE32-E72D297353CC}">
                  <c16:uniqueId val="{00000005-38CB-45C1-AA9C-6F28A81E0254}"/>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stech vs eps'!$B$11:$B$33</c:f>
              <c:strCache>
                <c:ptCount val="23"/>
                <c:pt idx="0">
                  <c:v>Q2 2021</c:v>
                </c:pt>
                <c:pt idx="1">
                  <c:v>Q3 2021</c:v>
                </c:pt>
                <c:pt idx="2">
                  <c:v>Q4 2021</c:v>
                </c:pt>
                <c:pt idx="3">
                  <c:v>Q1 2022</c:v>
                </c:pt>
                <c:pt idx="4">
                  <c:v>Q2 2022</c:v>
                </c:pt>
                <c:pt idx="5">
                  <c:v>Q3 2022</c:v>
                </c:pt>
                <c:pt idx="6">
                  <c:v>Q4 2022</c:v>
                </c:pt>
                <c:pt idx="7">
                  <c:v>Q1 2023</c:v>
                </c:pt>
                <c:pt idx="8">
                  <c:v>Q2 2023</c:v>
                </c:pt>
                <c:pt idx="9">
                  <c:v>Q3 2023</c:v>
                </c:pt>
                <c:pt idx="10">
                  <c:v>Q4 2023</c:v>
                </c:pt>
                <c:pt idx="11">
                  <c:v>Q1 2024</c:v>
                </c:pt>
                <c:pt idx="12">
                  <c:v>Q2 2024</c:v>
                </c:pt>
                <c:pt idx="13">
                  <c:v>Q3 2024</c:v>
                </c:pt>
                <c:pt idx="14">
                  <c:v>Q4 2024</c:v>
                </c:pt>
                <c:pt idx="15">
                  <c:v>Q1 2025</c:v>
                </c:pt>
                <c:pt idx="16">
                  <c:v>Q2 2025</c:v>
                </c:pt>
                <c:pt idx="17">
                  <c:v>Q3 2025</c:v>
                </c:pt>
                <c:pt idx="18">
                  <c:v>Q4 2025</c:v>
                </c:pt>
                <c:pt idx="20">
                  <c:v>Q4 2026E</c:v>
                </c:pt>
                <c:pt idx="22">
                  <c:v>Q4 2027E</c:v>
                </c:pt>
              </c:strCache>
            </c:strRef>
          </c:cat>
          <c:val>
            <c:numRef>
              <c:f>'hstech vs eps'!$D$11:$D$33</c:f>
              <c:numCache>
                <c:formatCode>General</c:formatCode>
                <c:ptCount val="23"/>
                <c:pt idx="0">
                  <c:v>8155.37</c:v>
                </c:pt>
                <c:pt idx="1">
                  <c:v>6101.52</c:v>
                </c:pt>
                <c:pt idx="2">
                  <c:v>5670.96</c:v>
                </c:pt>
                <c:pt idx="3">
                  <c:v>4557.99</c:v>
                </c:pt>
                <c:pt idx="4">
                  <c:v>4870.3</c:v>
                </c:pt>
                <c:pt idx="5">
                  <c:v>3450.12</c:v>
                </c:pt>
                <c:pt idx="6">
                  <c:v>4128.79</c:v>
                </c:pt>
                <c:pt idx="7">
                  <c:v>4303.71</c:v>
                </c:pt>
                <c:pt idx="8">
                  <c:v>3911.31</c:v>
                </c:pt>
                <c:pt idx="9">
                  <c:v>3920.59</c:v>
                </c:pt>
                <c:pt idx="10">
                  <c:v>3764.29</c:v>
                </c:pt>
                <c:pt idx="11">
                  <c:v>3477.55</c:v>
                </c:pt>
                <c:pt idx="12">
                  <c:v>3554.45</c:v>
                </c:pt>
                <c:pt idx="13">
                  <c:v>4751.8100000000004</c:v>
                </c:pt>
                <c:pt idx="14">
                  <c:v>4468.1099999999997</c:v>
                </c:pt>
                <c:pt idx="15">
                  <c:v>5394.72</c:v>
                </c:pt>
                <c:pt idx="16">
                  <c:v>5302.82</c:v>
                </c:pt>
                <c:pt idx="17">
                  <c:v>6465.66</c:v>
                </c:pt>
                <c:pt idx="18">
                  <c:v>5515.98</c:v>
                </c:pt>
              </c:numCache>
            </c:numRef>
          </c:val>
          <c:smooth val="0"/>
          <c:extLst>
            <c:ext xmlns:c16="http://schemas.microsoft.com/office/drawing/2014/chart" uri="{C3380CC4-5D6E-409C-BE32-E72D297353CC}">
              <c16:uniqueId val="{00000007-38CB-45C1-AA9C-6F28A81E0254}"/>
            </c:ext>
          </c:extLst>
        </c:ser>
        <c:dLbls>
          <c:showLegendKey val="0"/>
          <c:showVal val="0"/>
          <c:showCatName val="0"/>
          <c:showSerName val="0"/>
          <c:showPercent val="0"/>
          <c:showBubbleSize val="0"/>
        </c:dLbls>
        <c:marker val="1"/>
        <c:smooth val="0"/>
        <c:axId val="1600407360"/>
        <c:axId val="1600419840"/>
      </c:lineChart>
      <c:catAx>
        <c:axId val="1724917967"/>
        <c:scaling>
          <c:orientation val="minMax"/>
        </c:scaling>
        <c:delete val="0"/>
        <c:axPos val="b"/>
        <c:numFmt formatCode="yyyy" sourceLinked="0"/>
        <c:majorTickMark val="none"/>
        <c:minorTickMark val="none"/>
        <c:tickLblPos val="low"/>
        <c:spPr>
          <a:noFill/>
          <a:ln w="9525" cap="flat" cmpd="sng" algn="ctr">
            <a:solidFill>
              <a:sysClr val="windowText" lastClr="000000"/>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24918383"/>
        <c:crosses val="autoZero"/>
        <c:auto val="1"/>
        <c:lblAlgn val="ctr"/>
        <c:lblOffset val="100"/>
        <c:noMultiLvlLbl val="0"/>
      </c:catAx>
      <c:valAx>
        <c:axId val="1724918383"/>
        <c:scaling>
          <c:orientation val="minMax"/>
          <c:max val="600"/>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24917967"/>
        <c:crosses val="autoZero"/>
        <c:crossBetween val="between"/>
      </c:valAx>
      <c:valAx>
        <c:axId val="1600419840"/>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600407360"/>
        <c:crosses val="max"/>
        <c:crossBetween val="between"/>
        <c:majorUnit val="2000"/>
      </c:valAx>
      <c:catAx>
        <c:axId val="1600407360"/>
        <c:scaling>
          <c:orientation val="minMax"/>
        </c:scaling>
        <c:delete val="1"/>
        <c:axPos val="b"/>
        <c:numFmt formatCode="General" sourceLinked="1"/>
        <c:majorTickMark val="out"/>
        <c:minorTickMark val="none"/>
        <c:tickLblPos val="nextTo"/>
        <c:crossAx val="1600419840"/>
        <c:crosses val="autoZero"/>
        <c:auto val="1"/>
        <c:lblAlgn val="ctr"/>
        <c:lblOffset val="100"/>
        <c:noMultiLvlLbl val="0"/>
      </c:catAx>
      <c:spPr>
        <a:solidFill>
          <a:srgbClr val="FFFFFF"/>
        </a:solidFill>
        <a:ln>
          <a:noFill/>
        </a:ln>
        <a:effectLst/>
      </c:spPr>
    </c:plotArea>
    <c:legend>
      <c:legendPos val="r"/>
      <c:layout>
        <c:manualLayout>
          <c:xMode val="edge"/>
          <c:yMode val="edge"/>
          <c:x val="0"/>
          <c:y val="0.87253718285214343"/>
          <c:w val="1"/>
          <c:h val="0.1264534120734908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chemeClr val="tx1">
              <a:lumMod val="65000"/>
              <a:lumOff val="35000"/>
            </a:schemeClr>
          </a:solidFill>
          <a:latin typeface="Frutiger 45 Light" panose="020B0603020202020204" pitchFamily="34" charset="0"/>
          <a:ea typeface="+mn-ea"/>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124176082862532E-2"/>
          <c:y val="9.0421698872785825E-2"/>
          <c:w val="0.87999246704331435"/>
          <c:h val="0.72859138486312414"/>
        </c:manualLayout>
      </c:layout>
      <c:lineChart>
        <c:grouping val="standard"/>
        <c:varyColors val="0"/>
        <c:ser>
          <c:idx val="0"/>
          <c:order val="0"/>
          <c:tx>
            <c:strRef>
              <c:f>'Multiple (2)'!$N$8</c:f>
              <c:strCache>
                <c:ptCount val="1"/>
                <c:pt idx="0">
                  <c:v>Fed</c:v>
                </c:pt>
              </c:strCache>
            </c:strRef>
          </c:tx>
          <c:spPr>
            <a:ln w="25400">
              <a:solidFill>
                <a:srgbClr val="000000"/>
              </a:solidFill>
              <a:prstDash val="solid"/>
            </a:ln>
          </c:spPr>
          <c:marker>
            <c:symbol val="none"/>
          </c:marker>
          <c:cat>
            <c:numRef>
              <c:f>'Multiple (2)'!$M$9:$M$2000</c:f>
              <c:numCache>
                <c:formatCode>m/d/yyyy</c:formatCode>
                <c:ptCount val="1992"/>
                <c:pt idx="0">
                  <c:v>42429</c:v>
                </c:pt>
                <c:pt idx="1">
                  <c:v>42460</c:v>
                </c:pt>
                <c:pt idx="2">
                  <c:v>42489</c:v>
                </c:pt>
                <c:pt idx="3">
                  <c:v>42521</c:v>
                </c:pt>
                <c:pt idx="4">
                  <c:v>42551</c:v>
                </c:pt>
                <c:pt idx="5">
                  <c:v>42580</c:v>
                </c:pt>
                <c:pt idx="6">
                  <c:v>42613</c:v>
                </c:pt>
                <c:pt idx="7">
                  <c:v>42643</c:v>
                </c:pt>
                <c:pt idx="8">
                  <c:v>42674</c:v>
                </c:pt>
                <c:pt idx="9">
                  <c:v>42704</c:v>
                </c:pt>
                <c:pt idx="10">
                  <c:v>42734</c:v>
                </c:pt>
                <c:pt idx="11">
                  <c:v>42766</c:v>
                </c:pt>
                <c:pt idx="12">
                  <c:v>42794</c:v>
                </c:pt>
                <c:pt idx="13">
                  <c:v>42825</c:v>
                </c:pt>
                <c:pt idx="14">
                  <c:v>42853</c:v>
                </c:pt>
                <c:pt idx="15">
                  <c:v>42886</c:v>
                </c:pt>
                <c:pt idx="16">
                  <c:v>42916</c:v>
                </c:pt>
                <c:pt idx="17">
                  <c:v>42947</c:v>
                </c:pt>
                <c:pt idx="18">
                  <c:v>42978</c:v>
                </c:pt>
                <c:pt idx="19">
                  <c:v>43007</c:v>
                </c:pt>
                <c:pt idx="20">
                  <c:v>43039</c:v>
                </c:pt>
                <c:pt idx="21">
                  <c:v>43069</c:v>
                </c:pt>
                <c:pt idx="22">
                  <c:v>43098</c:v>
                </c:pt>
                <c:pt idx="23">
                  <c:v>43131</c:v>
                </c:pt>
                <c:pt idx="24">
                  <c:v>43159</c:v>
                </c:pt>
                <c:pt idx="25">
                  <c:v>43189</c:v>
                </c:pt>
                <c:pt idx="26">
                  <c:v>43220</c:v>
                </c:pt>
                <c:pt idx="27">
                  <c:v>43251</c:v>
                </c:pt>
                <c:pt idx="28">
                  <c:v>43280</c:v>
                </c:pt>
                <c:pt idx="29">
                  <c:v>43312</c:v>
                </c:pt>
                <c:pt idx="30">
                  <c:v>43343</c:v>
                </c:pt>
                <c:pt idx="31">
                  <c:v>43371</c:v>
                </c:pt>
                <c:pt idx="32">
                  <c:v>43404</c:v>
                </c:pt>
                <c:pt idx="33">
                  <c:v>43434</c:v>
                </c:pt>
                <c:pt idx="34">
                  <c:v>43465</c:v>
                </c:pt>
                <c:pt idx="35">
                  <c:v>43496</c:v>
                </c:pt>
                <c:pt idx="36">
                  <c:v>43524</c:v>
                </c:pt>
                <c:pt idx="37">
                  <c:v>43553</c:v>
                </c:pt>
                <c:pt idx="38">
                  <c:v>43585</c:v>
                </c:pt>
                <c:pt idx="39">
                  <c:v>43616</c:v>
                </c:pt>
                <c:pt idx="40">
                  <c:v>43644</c:v>
                </c:pt>
                <c:pt idx="41">
                  <c:v>43677</c:v>
                </c:pt>
                <c:pt idx="42">
                  <c:v>43707</c:v>
                </c:pt>
                <c:pt idx="43">
                  <c:v>43738</c:v>
                </c:pt>
                <c:pt idx="44">
                  <c:v>43769</c:v>
                </c:pt>
                <c:pt idx="45">
                  <c:v>43798</c:v>
                </c:pt>
                <c:pt idx="46">
                  <c:v>43830</c:v>
                </c:pt>
                <c:pt idx="47">
                  <c:v>43861</c:v>
                </c:pt>
                <c:pt idx="48">
                  <c:v>43889</c:v>
                </c:pt>
                <c:pt idx="49">
                  <c:v>43921</c:v>
                </c:pt>
                <c:pt idx="50">
                  <c:v>43951</c:v>
                </c:pt>
                <c:pt idx="51">
                  <c:v>43980</c:v>
                </c:pt>
                <c:pt idx="52">
                  <c:v>44012</c:v>
                </c:pt>
                <c:pt idx="53">
                  <c:v>44043</c:v>
                </c:pt>
                <c:pt idx="54">
                  <c:v>44074</c:v>
                </c:pt>
                <c:pt idx="55">
                  <c:v>44104</c:v>
                </c:pt>
                <c:pt idx="56">
                  <c:v>44134</c:v>
                </c:pt>
                <c:pt idx="57">
                  <c:v>44165</c:v>
                </c:pt>
                <c:pt idx="58">
                  <c:v>44196</c:v>
                </c:pt>
                <c:pt idx="59">
                  <c:v>44225</c:v>
                </c:pt>
                <c:pt idx="60">
                  <c:v>44253</c:v>
                </c:pt>
                <c:pt idx="61">
                  <c:v>44286</c:v>
                </c:pt>
                <c:pt idx="62">
                  <c:v>44316</c:v>
                </c:pt>
                <c:pt idx="63">
                  <c:v>44347</c:v>
                </c:pt>
                <c:pt idx="64">
                  <c:v>44377</c:v>
                </c:pt>
                <c:pt idx="65">
                  <c:v>44407</c:v>
                </c:pt>
                <c:pt idx="66">
                  <c:v>44439</c:v>
                </c:pt>
                <c:pt idx="67">
                  <c:v>44469</c:v>
                </c:pt>
                <c:pt idx="68">
                  <c:v>44498</c:v>
                </c:pt>
                <c:pt idx="69">
                  <c:v>44530</c:v>
                </c:pt>
                <c:pt idx="70">
                  <c:v>44561</c:v>
                </c:pt>
                <c:pt idx="71">
                  <c:v>44592</c:v>
                </c:pt>
                <c:pt idx="72">
                  <c:v>44620</c:v>
                </c:pt>
                <c:pt idx="73">
                  <c:v>44651</c:v>
                </c:pt>
                <c:pt idx="74">
                  <c:v>44680</c:v>
                </c:pt>
                <c:pt idx="75">
                  <c:v>44712</c:v>
                </c:pt>
                <c:pt idx="76">
                  <c:v>44742</c:v>
                </c:pt>
                <c:pt idx="77">
                  <c:v>44771</c:v>
                </c:pt>
                <c:pt idx="78">
                  <c:v>44804</c:v>
                </c:pt>
                <c:pt idx="79">
                  <c:v>44834</c:v>
                </c:pt>
                <c:pt idx="80">
                  <c:v>44865</c:v>
                </c:pt>
                <c:pt idx="81">
                  <c:v>44895</c:v>
                </c:pt>
                <c:pt idx="82">
                  <c:v>44925</c:v>
                </c:pt>
                <c:pt idx="83">
                  <c:v>44957</c:v>
                </c:pt>
                <c:pt idx="84">
                  <c:v>44985</c:v>
                </c:pt>
                <c:pt idx="85">
                  <c:v>45016</c:v>
                </c:pt>
                <c:pt idx="86">
                  <c:v>45044</c:v>
                </c:pt>
                <c:pt idx="87">
                  <c:v>45077</c:v>
                </c:pt>
                <c:pt idx="88">
                  <c:v>45107</c:v>
                </c:pt>
                <c:pt idx="89">
                  <c:v>45138</c:v>
                </c:pt>
                <c:pt idx="90">
                  <c:v>45169</c:v>
                </c:pt>
                <c:pt idx="91">
                  <c:v>45198</c:v>
                </c:pt>
                <c:pt idx="92">
                  <c:v>45230</c:v>
                </c:pt>
                <c:pt idx="93">
                  <c:v>45260</c:v>
                </c:pt>
                <c:pt idx="94">
                  <c:v>45289</c:v>
                </c:pt>
                <c:pt idx="95">
                  <c:v>45322</c:v>
                </c:pt>
                <c:pt idx="96">
                  <c:v>45351</c:v>
                </c:pt>
                <c:pt idx="97">
                  <c:v>45380</c:v>
                </c:pt>
                <c:pt idx="98">
                  <c:v>45412</c:v>
                </c:pt>
                <c:pt idx="99">
                  <c:v>45443</c:v>
                </c:pt>
                <c:pt idx="100">
                  <c:v>45471</c:v>
                </c:pt>
                <c:pt idx="101">
                  <c:v>45504</c:v>
                </c:pt>
                <c:pt idx="102">
                  <c:v>45534</c:v>
                </c:pt>
                <c:pt idx="103">
                  <c:v>45565</c:v>
                </c:pt>
                <c:pt idx="104">
                  <c:v>45596</c:v>
                </c:pt>
                <c:pt idx="105">
                  <c:v>45625</c:v>
                </c:pt>
                <c:pt idx="106">
                  <c:v>45657</c:v>
                </c:pt>
                <c:pt idx="107">
                  <c:v>45688</c:v>
                </c:pt>
                <c:pt idx="108">
                  <c:v>45716</c:v>
                </c:pt>
                <c:pt idx="109">
                  <c:v>45747</c:v>
                </c:pt>
                <c:pt idx="110">
                  <c:v>45777</c:v>
                </c:pt>
                <c:pt idx="111">
                  <c:v>45807</c:v>
                </c:pt>
                <c:pt idx="112">
                  <c:v>45838</c:v>
                </c:pt>
                <c:pt idx="113">
                  <c:v>45869</c:v>
                </c:pt>
                <c:pt idx="114">
                  <c:v>45898</c:v>
                </c:pt>
                <c:pt idx="115">
                  <c:v>45930</c:v>
                </c:pt>
                <c:pt idx="116">
                  <c:v>45961</c:v>
                </c:pt>
                <c:pt idx="117">
                  <c:v>45989</c:v>
                </c:pt>
                <c:pt idx="118">
                  <c:v>46022</c:v>
                </c:pt>
                <c:pt idx="119">
                  <c:v>46052</c:v>
                </c:pt>
                <c:pt idx="120">
                  <c:v>46081</c:v>
                </c:pt>
                <c:pt idx="121">
                  <c:v>46112</c:v>
                </c:pt>
                <c:pt idx="122">
                  <c:v>46142</c:v>
                </c:pt>
                <c:pt idx="123">
                  <c:v>46173</c:v>
                </c:pt>
                <c:pt idx="124">
                  <c:v>46203</c:v>
                </c:pt>
                <c:pt idx="125">
                  <c:v>46234</c:v>
                </c:pt>
                <c:pt idx="126">
                  <c:v>46265</c:v>
                </c:pt>
                <c:pt idx="127">
                  <c:v>46295</c:v>
                </c:pt>
                <c:pt idx="128">
                  <c:v>46326</c:v>
                </c:pt>
                <c:pt idx="129">
                  <c:v>46356</c:v>
                </c:pt>
                <c:pt idx="130">
                  <c:v>46387</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cat>
          <c:val>
            <c:numRef>
              <c:f>'Multiple (2)'!$N$9:$N$2000</c:f>
              <c:numCache>
                <c:formatCode>General</c:formatCode>
                <c:ptCount val="1992"/>
                <c:pt idx="0">
                  <c:v>0.5</c:v>
                </c:pt>
                <c:pt idx="1">
                  <c:v>0.5</c:v>
                </c:pt>
                <c:pt idx="2">
                  <c:v>0.5</c:v>
                </c:pt>
                <c:pt idx="3">
                  <c:v>0.5</c:v>
                </c:pt>
                <c:pt idx="4">
                  <c:v>0.5</c:v>
                </c:pt>
                <c:pt idx="5">
                  <c:v>0.5</c:v>
                </c:pt>
                <c:pt idx="6">
                  <c:v>0.5</c:v>
                </c:pt>
                <c:pt idx="7">
                  <c:v>0.5</c:v>
                </c:pt>
                <c:pt idx="8">
                  <c:v>0.5</c:v>
                </c:pt>
                <c:pt idx="9">
                  <c:v>0.5</c:v>
                </c:pt>
                <c:pt idx="10">
                  <c:v>0.75</c:v>
                </c:pt>
                <c:pt idx="11">
                  <c:v>0.75</c:v>
                </c:pt>
                <c:pt idx="12">
                  <c:v>0.75</c:v>
                </c:pt>
                <c:pt idx="13">
                  <c:v>1</c:v>
                </c:pt>
                <c:pt idx="14">
                  <c:v>1</c:v>
                </c:pt>
                <c:pt idx="15">
                  <c:v>1</c:v>
                </c:pt>
                <c:pt idx="16">
                  <c:v>1.25</c:v>
                </c:pt>
                <c:pt idx="17">
                  <c:v>1.25</c:v>
                </c:pt>
                <c:pt idx="18">
                  <c:v>1.25</c:v>
                </c:pt>
                <c:pt idx="19">
                  <c:v>1.25</c:v>
                </c:pt>
                <c:pt idx="20">
                  <c:v>1.25</c:v>
                </c:pt>
                <c:pt idx="21">
                  <c:v>1.25</c:v>
                </c:pt>
                <c:pt idx="22">
                  <c:v>1.5</c:v>
                </c:pt>
                <c:pt idx="23">
                  <c:v>1.5</c:v>
                </c:pt>
                <c:pt idx="24">
                  <c:v>1.5</c:v>
                </c:pt>
                <c:pt idx="25">
                  <c:v>1.75</c:v>
                </c:pt>
                <c:pt idx="26">
                  <c:v>1.75</c:v>
                </c:pt>
                <c:pt idx="27">
                  <c:v>1.75</c:v>
                </c:pt>
                <c:pt idx="28">
                  <c:v>2</c:v>
                </c:pt>
                <c:pt idx="29">
                  <c:v>2</c:v>
                </c:pt>
                <c:pt idx="30">
                  <c:v>2</c:v>
                </c:pt>
                <c:pt idx="31">
                  <c:v>2.25</c:v>
                </c:pt>
                <c:pt idx="32">
                  <c:v>2.25</c:v>
                </c:pt>
                <c:pt idx="33">
                  <c:v>2.25</c:v>
                </c:pt>
                <c:pt idx="34">
                  <c:v>2.5</c:v>
                </c:pt>
                <c:pt idx="35">
                  <c:v>2.5</c:v>
                </c:pt>
                <c:pt idx="36">
                  <c:v>2.5</c:v>
                </c:pt>
                <c:pt idx="37">
                  <c:v>2.5</c:v>
                </c:pt>
                <c:pt idx="38">
                  <c:v>2.5</c:v>
                </c:pt>
                <c:pt idx="39">
                  <c:v>2.5</c:v>
                </c:pt>
                <c:pt idx="40">
                  <c:v>2.5</c:v>
                </c:pt>
                <c:pt idx="41">
                  <c:v>2.25</c:v>
                </c:pt>
                <c:pt idx="42">
                  <c:v>2.25</c:v>
                </c:pt>
                <c:pt idx="43">
                  <c:v>2</c:v>
                </c:pt>
                <c:pt idx="44">
                  <c:v>1.75</c:v>
                </c:pt>
                <c:pt idx="45">
                  <c:v>1.75</c:v>
                </c:pt>
                <c:pt idx="46">
                  <c:v>1.75</c:v>
                </c:pt>
                <c:pt idx="47">
                  <c:v>1.75</c:v>
                </c:pt>
                <c:pt idx="48">
                  <c:v>1.75</c:v>
                </c:pt>
                <c:pt idx="49">
                  <c:v>0.25</c:v>
                </c:pt>
                <c:pt idx="50">
                  <c:v>0.25</c:v>
                </c:pt>
                <c:pt idx="51">
                  <c:v>0.25</c:v>
                </c:pt>
                <c:pt idx="52">
                  <c:v>0.25</c:v>
                </c:pt>
                <c:pt idx="53">
                  <c:v>0.25</c:v>
                </c:pt>
                <c:pt idx="54">
                  <c:v>0.25</c:v>
                </c:pt>
                <c:pt idx="55">
                  <c:v>0.25</c:v>
                </c:pt>
                <c:pt idx="56">
                  <c:v>0.25</c:v>
                </c:pt>
                <c:pt idx="57">
                  <c:v>0.25</c:v>
                </c:pt>
                <c:pt idx="58">
                  <c:v>0.25</c:v>
                </c:pt>
                <c:pt idx="59">
                  <c:v>0.25</c:v>
                </c:pt>
                <c:pt idx="60">
                  <c:v>0.25</c:v>
                </c:pt>
                <c:pt idx="61">
                  <c:v>0.25</c:v>
                </c:pt>
                <c:pt idx="62">
                  <c:v>0.25</c:v>
                </c:pt>
                <c:pt idx="63">
                  <c:v>0.25</c:v>
                </c:pt>
                <c:pt idx="64">
                  <c:v>0.25</c:v>
                </c:pt>
                <c:pt idx="65">
                  <c:v>0.25</c:v>
                </c:pt>
                <c:pt idx="66">
                  <c:v>0.25</c:v>
                </c:pt>
                <c:pt idx="67">
                  <c:v>0.25</c:v>
                </c:pt>
                <c:pt idx="68">
                  <c:v>0.25</c:v>
                </c:pt>
                <c:pt idx="69">
                  <c:v>0.25</c:v>
                </c:pt>
                <c:pt idx="70">
                  <c:v>0.25</c:v>
                </c:pt>
                <c:pt idx="71">
                  <c:v>0.25</c:v>
                </c:pt>
                <c:pt idx="72">
                  <c:v>0.25</c:v>
                </c:pt>
                <c:pt idx="73">
                  <c:v>0.5</c:v>
                </c:pt>
                <c:pt idx="74">
                  <c:v>0.5</c:v>
                </c:pt>
                <c:pt idx="75">
                  <c:v>1</c:v>
                </c:pt>
                <c:pt idx="76">
                  <c:v>1.75</c:v>
                </c:pt>
                <c:pt idx="77">
                  <c:v>2.5</c:v>
                </c:pt>
                <c:pt idx="78">
                  <c:v>2.5</c:v>
                </c:pt>
                <c:pt idx="79">
                  <c:v>3.25</c:v>
                </c:pt>
                <c:pt idx="80">
                  <c:v>3.25</c:v>
                </c:pt>
                <c:pt idx="81">
                  <c:v>4</c:v>
                </c:pt>
                <c:pt idx="82">
                  <c:v>4.5</c:v>
                </c:pt>
                <c:pt idx="83">
                  <c:v>4.5</c:v>
                </c:pt>
                <c:pt idx="84">
                  <c:v>4.75</c:v>
                </c:pt>
                <c:pt idx="85">
                  <c:v>5</c:v>
                </c:pt>
                <c:pt idx="86">
                  <c:v>5</c:v>
                </c:pt>
                <c:pt idx="87">
                  <c:v>5.25</c:v>
                </c:pt>
                <c:pt idx="88">
                  <c:v>5.25</c:v>
                </c:pt>
                <c:pt idx="89">
                  <c:v>5.5</c:v>
                </c:pt>
                <c:pt idx="90">
                  <c:v>5.5</c:v>
                </c:pt>
                <c:pt idx="91">
                  <c:v>5.5</c:v>
                </c:pt>
                <c:pt idx="92">
                  <c:v>5.5</c:v>
                </c:pt>
                <c:pt idx="93">
                  <c:v>5.5</c:v>
                </c:pt>
                <c:pt idx="94">
                  <c:v>5.5</c:v>
                </c:pt>
                <c:pt idx="95">
                  <c:v>5.5</c:v>
                </c:pt>
                <c:pt idx="96">
                  <c:v>5.5</c:v>
                </c:pt>
                <c:pt idx="97">
                  <c:v>5.5</c:v>
                </c:pt>
                <c:pt idx="98">
                  <c:v>5.5</c:v>
                </c:pt>
                <c:pt idx="99">
                  <c:v>5.5</c:v>
                </c:pt>
                <c:pt idx="100">
                  <c:v>5.5</c:v>
                </c:pt>
                <c:pt idx="101">
                  <c:v>5.5</c:v>
                </c:pt>
                <c:pt idx="102">
                  <c:v>5.5</c:v>
                </c:pt>
                <c:pt idx="103">
                  <c:v>5</c:v>
                </c:pt>
                <c:pt idx="104">
                  <c:v>5</c:v>
                </c:pt>
                <c:pt idx="105">
                  <c:v>4.75</c:v>
                </c:pt>
                <c:pt idx="106">
                  <c:v>4.5</c:v>
                </c:pt>
                <c:pt idx="107">
                  <c:v>4.5</c:v>
                </c:pt>
                <c:pt idx="108">
                  <c:v>4.5</c:v>
                </c:pt>
                <c:pt idx="109">
                  <c:v>4.5</c:v>
                </c:pt>
                <c:pt idx="110">
                  <c:v>4.5</c:v>
                </c:pt>
                <c:pt idx="111">
                  <c:v>4.5</c:v>
                </c:pt>
                <c:pt idx="112">
                  <c:v>4.5</c:v>
                </c:pt>
                <c:pt idx="113">
                  <c:v>4.5</c:v>
                </c:pt>
                <c:pt idx="114">
                  <c:v>4.5</c:v>
                </c:pt>
                <c:pt idx="115">
                  <c:v>4.25</c:v>
                </c:pt>
                <c:pt idx="116">
                  <c:v>4</c:v>
                </c:pt>
                <c:pt idx="117">
                  <c:v>4</c:v>
                </c:pt>
                <c:pt idx="118">
                  <c:v>3.75</c:v>
                </c:pt>
                <c:pt idx="119">
                  <c:v>3.75</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0-91AB-4A1C-97D8-F3C1AA49E133}"/>
            </c:ext>
          </c:extLst>
        </c:ser>
        <c:ser>
          <c:idx val="1"/>
          <c:order val="1"/>
          <c:tx>
            <c:strRef>
              <c:f>'Multiple (2)'!$O$8</c:f>
              <c:strCache>
                <c:ptCount val="1"/>
                <c:pt idx="0">
                  <c:v>BoE</c:v>
                </c:pt>
              </c:strCache>
            </c:strRef>
          </c:tx>
          <c:spPr>
            <a:ln w="25400">
              <a:solidFill>
                <a:srgbClr val="C00000"/>
              </a:solidFill>
            </a:ln>
          </c:spPr>
          <c:marker>
            <c:symbol val="none"/>
          </c:marker>
          <c:cat>
            <c:numRef>
              <c:f>'Multiple (2)'!$M$9:$M$5000</c:f>
              <c:numCache>
                <c:formatCode>m/d/yyyy</c:formatCode>
                <c:ptCount val="4992"/>
                <c:pt idx="0">
                  <c:v>42429</c:v>
                </c:pt>
                <c:pt idx="1">
                  <c:v>42460</c:v>
                </c:pt>
                <c:pt idx="2">
                  <c:v>42489</c:v>
                </c:pt>
                <c:pt idx="3">
                  <c:v>42521</c:v>
                </c:pt>
                <c:pt idx="4">
                  <c:v>42551</c:v>
                </c:pt>
                <c:pt idx="5">
                  <c:v>42580</c:v>
                </c:pt>
                <c:pt idx="6">
                  <c:v>42613</c:v>
                </c:pt>
                <c:pt idx="7">
                  <c:v>42643</c:v>
                </c:pt>
                <c:pt idx="8">
                  <c:v>42674</c:v>
                </c:pt>
                <c:pt idx="9">
                  <c:v>42704</c:v>
                </c:pt>
                <c:pt idx="10">
                  <c:v>42734</c:v>
                </c:pt>
                <c:pt idx="11">
                  <c:v>42766</c:v>
                </c:pt>
                <c:pt idx="12">
                  <c:v>42794</c:v>
                </c:pt>
                <c:pt idx="13">
                  <c:v>42825</c:v>
                </c:pt>
                <c:pt idx="14">
                  <c:v>42853</c:v>
                </c:pt>
                <c:pt idx="15">
                  <c:v>42886</c:v>
                </c:pt>
                <c:pt idx="16">
                  <c:v>42916</c:v>
                </c:pt>
                <c:pt idx="17">
                  <c:v>42947</c:v>
                </c:pt>
                <c:pt idx="18">
                  <c:v>42978</c:v>
                </c:pt>
                <c:pt idx="19">
                  <c:v>43007</c:v>
                </c:pt>
                <c:pt idx="20">
                  <c:v>43039</c:v>
                </c:pt>
                <c:pt idx="21">
                  <c:v>43069</c:v>
                </c:pt>
                <c:pt idx="22">
                  <c:v>43098</c:v>
                </c:pt>
                <c:pt idx="23">
                  <c:v>43131</c:v>
                </c:pt>
                <c:pt idx="24">
                  <c:v>43159</c:v>
                </c:pt>
                <c:pt idx="25">
                  <c:v>43189</c:v>
                </c:pt>
                <c:pt idx="26">
                  <c:v>43220</c:v>
                </c:pt>
                <c:pt idx="27">
                  <c:v>43251</c:v>
                </c:pt>
                <c:pt idx="28">
                  <c:v>43280</c:v>
                </c:pt>
                <c:pt idx="29">
                  <c:v>43312</c:v>
                </c:pt>
                <c:pt idx="30">
                  <c:v>43343</c:v>
                </c:pt>
                <c:pt idx="31">
                  <c:v>43371</c:v>
                </c:pt>
                <c:pt idx="32">
                  <c:v>43404</c:v>
                </c:pt>
                <c:pt idx="33">
                  <c:v>43434</c:v>
                </c:pt>
                <c:pt idx="34">
                  <c:v>43465</c:v>
                </c:pt>
                <c:pt idx="35">
                  <c:v>43496</c:v>
                </c:pt>
                <c:pt idx="36">
                  <c:v>43524</c:v>
                </c:pt>
                <c:pt idx="37">
                  <c:v>43553</c:v>
                </c:pt>
                <c:pt idx="38">
                  <c:v>43585</c:v>
                </c:pt>
                <c:pt idx="39">
                  <c:v>43616</c:v>
                </c:pt>
                <c:pt idx="40">
                  <c:v>43644</c:v>
                </c:pt>
                <c:pt idx="41">
                  <c:v>43677</c:v>
                </c:pt>
                <c:pt idx="42">
                  <c:v>43707</c:v>
                </c:pt>
                <c:pt idx="43">
                  <c:v>43738</c:v>
                </c:pt>
                <c:pt idx="44">
                  <c:v>43769</c:v>
                </c:pt>
                <c:pt idx="45">
                  <c:v>43798</c:v>
                </c:pt>
                <c:pt idx="46">
                  <c:v>43830</c:v>
                </c:pt>
                <c:pt idx="47">
                  <c:v>43861</c:v>
                </c:pt>
                <c:pt idx="48">
                  <c:v>43889</c:v>
                </c:pt>
                <c:pt idx="49">
                  <c:v>43921</c:v>
                </c:pt>
                <c:pt idx="50">
                  <c:v>43951</c:v>
                </c:pt>
                <c:pt idx="51">
                  <c:v>43980</c:v>
                </c:pt>
                <c:pt idx="52">
                  <c:v>44012</c:v>
                </c:pt>
                <c:pt idx="53">
                  <c:v>44043</c:v>
                </c:pt>
                <c:pt idx="54">
                  <c:v>44074</c:v>
                </c:pt>
                <c:pt idx="55">
                  <c:v>44104</c:v>
                </c:pt>
                <c:pt idx="56">
                  <c:v>44134</c:v>
                </c:pt>
                <c:pt idx="57">
                  <c:v>44165</c:v>
                </c:pt>
                <c:pt idx="58">
                  <c:v>44196</c:v>
                </c:pt>
                <c:pt idx="59">
                  <c:v>44225</c:v>
                </c:pt>
                <c:pt idx="60">
                  <c:v>44253</c:v>
                </c:pt>
                <c:pt idx="61">
                  <c:v>44286</c:v>
                </c:pt>
                <c:pt idx="62">
                  <c:v>44316</c:v>
                </c:pt>
                <c:pt idx="63">
                  <c:v>44347</c:v>
                </c:pt>
                <c:pt idx="64">
                  <c:v>44377</c:v>
                </c:pt>
                <c:pt idx="65">
                  <c:v>44407</c:v>
                </c:pt>
                <c:pt idx="66">
                  <c:v>44439</c:v>
                </c:pt>
                <c:pt idx="67">
                  <c:v>44469</c:v>
                </c:pt>
                <c:pt idx="68">
                  <c:v>44498</c:v>
                </c:pt>
                <c:pt idx="69">
                  <c:v>44530</c:v>
                </c:pt>
                <c:pt idx="70">
                  <c:v>44561</c:v>
                </c:pt>
                <c:pt idx="71">
                  <c:v>44592</c:v>
                </c:pt>
                <c:pt idx="72">
                  <c:v>44620</c:v>
                </c:pt>
                <c:pt idx="73">
                  <c:v>44651</c:v>
                </c:pt>
                <c:pt idx="74">
                  <c:v>44680</c:v>
                </c:pt>
                <c:pt idx="75">
                  <c:v>44712</c:v>
                </c:pt>
                <c:pt idx="76">
                  <c:v>44742</c:v>
                </c:pt>
                <c:pt idx="77">
                  <c:v>44771</c:v>
                </c:pt>
                <c:pt idx="78">
                  <c:v>44804</c:v>
                </c:pt>
                <c:pt idx="79">
                  <c:v>44834</c:v>
                </c:pt>
                <c:pt idx="80">
                  <c:v>44865</c:v>
                </c:pt>
                <c:pt idx="81">
                  <c:v>44895</c:v>
                </c:pt>
                <c:pt idx="82">
                  <c:v>44925</c:v>
                </c:pt>
                <c:pt idx="83">
                  <c:v>44957</c:v>
                </c:pt>
                <c:pt idx="84">
                  <c:v>44985</c:v>
                </c:pt>
                <c:pt idx="85">
                  <c:v>45016</c:v>
                </c:pt>
                <c:pt idx="86">
                  <c:v>45044</c:v>
                </c:pt>
                <c:pt idx="87">
                  <c:v>45077</c:v>
                </c:pt>
                <c:pt idx="88">
                  <c:v>45107</c:v>
                </c:pt>
                <c:pt idx="89">
                  <c:v>45138</c:v>
                </c:pt>
                <c:pt idx="90">
                  <c:v>45169</c:v>
                </c:pt>
                <c:pt idx="91">
                  <c:v>45198</c:v>
                </c:pt>
                <c:pt idx="92">
                  <c:v>45230</c:v>
                </c:pt>
                <c:pt idx="93">
                  <c:v>45260</c:v>
                </c:pt>
                <c:pt idx="94">
                  <c:v>45289</c:v>
                </c:pt>
                <c:pt idx="95">
                  <c:v>45322</c:v>
                </c:pt>
                <c:pt idx="96">
                  <c:v>45351</c:v>
                </c:pt>
                <c:pt idx="97">
                  <c:v>45380</c:v>
                </c:pt>
                <c:pt idx="98">
                  <c:v>45412</c:v>
                </c:pt>
                <c:pt idx="99">
                  <c:v>45443</c:v>
                </c:pt>
                <c:pt idx="100">
                  <c:v>45471</c:v>
                </c:pt>
                <c:pt idx="101">
                  <c:v>45504</c:v>
                </c:pt>
                <c:pt idx="102">
                  <c:v>45534</c:v>
                </c:pt>
                <c:pt idx="103">
                  <c:v>45565</c:v>
                </c:pt>
                <c:pt idx="104">
                  <c:v>45596</c:v>
                </c:pt>
                <c:pt idx="105">
                  <c:v>45625</c:v>
                </c:pt>
                <c:pt idx="106">
                  <c:v>45657</c:v>
                </c:pt>
                <c:pt idx="107">
                  <c:v>45688</c:v>
                </c:pt>
                <c:pt idx="108">
                  <c:v>45716</c:v>
                </c:pt>
                <c:pt idx="109">
                  <c:v>45747</c:v>
                </c:pt>
                <c:pt idx="110">
                  <c:v>45777</c:v>
                </c:pt>
                <c:pt idx="111">
                  <c:v>45807</c:v>
                </c:pt>
                <c:pt idx="112">
                  <c:v>45838</c:v>
                </c:pt>
                <c:pt idx="113">
                  <c:v>45869</c:v>
                </c:pt>
                <c:pt idx="114">
                  <c:v>45898</c:v>
                </c:pt>
                <c:pt idx="115">
                  <c:v>45930</c:v>
                </c:pt>
                <c:pt idx="116">
                  <c:v>45961</c:v>
                </c:pt>
                <c:pt idx="117">
                  <c:v>45989</c:v>
                </c:pt>
                <c:pt idx="118">
                  <c:v>46022</c:v>
                </c:pt>
                <c:pt idx="119">
                  <c:v>46052</c:v>
                </c:pt>
                <c:pt idx="120">
                  <c:v>46081</c:v>
                </c:pt>
                <c:pt idx="121">
                  <c:v>46112</c:v>
                </c:pt>
                <c:pt idx="122">
                  <c:v>46142</c:v>
                </c:pt>
                <c:pt idx="123">
                  <c:v>46173</c:v>
                </c:pt>
                <c:pt idx="124">
                  <c:v>46203</c:v>
                </c:pt>
                <c:pt idx="125">
                  <c:v>46234</c:v>
                </c:pt>
                <c:pt idx="126">
                  <c:v>46265</c:v>
                </c:pt>
                <c:pt idx="127">
                  <c:v>46295</c:v>
                </c:pt>
                <c:pt idx="128">
                  <c:v>46326</c:v>
                </c:pt>
                <c:pt idx="129">
                  <c:v>46356</c:v>
                </c:pt>
                <c:pt idx="130">
                  <c:v>46387</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cat>
          <c:val>
            <c:numRef>
              <c:f>'Multiple (2)'!$O$9:$O$2000</c:f>
              <c:numCache>
                <c:formatCode>General</c:formatCode>
                <c:ptCount val="1992"/>
                <c:pt idx="0">
                  <c:v>0.5</c:v>
                </c:pt>
                <c:pt idx="1">
                  <c:v>0.5</c:v>
                </c:pt>
                <c:pt idx="2">
                  <c:v>0.5</c:v>
                </c:pt>
                <c:pt idx="3">
                  <c:v>0.5</c:v>
                </c:pt>
                <c:pt idx="4">
                  <c:v>0.5</c:v>
                </c:pt>
                <c:pt idx="5">
                  <c:v>0.5</c:v>
                </c:pt>
                <c:pt idx="6">
                  <c:v>0.25</c:v>
                </c:pt>
                <c:pt idx="7">
                  <c:v>0.25</c:v>
                </c:pt>
                <c:pt idx="8">
                  <c:v>0.25</c:v>
                </c:pt>
                <c:pt idx="9">
                  <c:v>0.25</c:v>
                </c:pt>
                <c:pt idx="10">
                  <c:v>0.25</c:v>
                </c:pt>
                <c:pt idx="11">
                  <c:v>0.25</c:v>
                </c:pt>
                <c:pt idx="12">
                  <c:v>0.25</c:v>
                </c:pt>
                <c:pt idx="13">
                  <c:v>0.25</c:v>
                </c:pt>
                <c:pt idx="14">
                  <c:v>0.25</c:v>
                </c:pt>
                <c:pt idx="15">
                  <c:v>0.25</c:v>
                </c:pt>
                <c:pt idx="16">
                  <c:v>0.25</c:v>
                </c:pt>
                <c:pt idx="17">
                  <c:v>0.25</c:v>
                </c:pt>
                <c:pt idx="18">
                  <c:v>0.25</c:v>
                </c:pt>
                <c:pt idx="19">
                  <c:v>0.25</c:v>
                </c:pt>
                <c:pt idx="20">
                  <c:v>0.25</c:v>
                </c:pt>
                <c:pt idx="21">
                  <c:v>0.5</c:v>
                </c:pt>
                <c:pt idx="22">
                  <c:v>0.5</c:v>
                </c:pt>
                <c:pt idx="23">
                  <c:v>0.5</c:v>
                </c:pt>
                <c:pt idx="24">
                  <c:v>0.5</c:v>
                </c:pt>
                <c:pt idx="25">
                  <c:v>0.5</c:v>
                </c:pt>
                <c:pt idx="26">
                  <c:v>0.5</c:v>
                </c:pt>
                <c:pt idx="27">
                  <c:v>0.5</c:v>
                </c:pt>
                <c:pt idx="28">
                  <c:v>0.5</c:v>
                </c:pt>
                <c:pt idx="29">
                  <c:v>0.5</c:v>
                </c:pt>
                <c:pt idx="30">
                  <c:v>0.75</c:v>
                </c:pt>
                <c:pt idx="31">
                  <c:v>0.75</c:v>
                </c:pt>
                <c:pt idx="32">
                  <c:v>0.75</c:v>
                </c:pt>
                <c:pt idx="33">
                  <c:v>0.75</c:v>
                </c:pt>
                <c:pt idx="34">
                  <c:v>0.75</c:v>
                </c:pt>
                <c:pt idx="35">
                  <c:v>0.75</c:v>
                </c:pt>
                <c:pt idx="36">
                  <c:v>0.75</c:v>
                </c:pt>
                <c:pt idx="37">
                  <c:v>0.75</c:v>
                </c:pt>
                <c:pt idx="38">
                  <c:v>0.75</c:v>
                </c:pt>
                <c:pt idx="39">
                  <c:v>0.75</c:v>
                </c:pt>
                <c:pt idx="40">
                  <c:v>0.75</c:v>
                </c:pt>
                <c:pt idx="41">
                  <c:v>0.75</c:v>
                </c:pt>
                <c:pt idx="42">
                  <c:v>0.75</c:v>
                </c:pt>
                <c:pt idx="43">
                  <c:v>0.75</c:v>
                </c:pt>
                <c:pt idx="44">
                  <c:v>0.75</c:v>
                </c:pt>
                <c:pt idx="45">
                  <c:v>0.75</c:v>
                </c:pt>
                <c:pt idx="46">
                  <c:v>0.75</c:v>
                </c:pt>
                <c:pt idx="47">
                  <c:v>0.75</c:v>
                </c:pt>
                <c:pt idx="48">
                  <c:v>0.75</c:v>
                </c:pt>
                <c:pt idx="49">
                  <c:v>0.1</c:v>
                </c:pt>
                <c:pt idx="50">
                  <c:v>0.1</c:v>
                </c:pt>
                <c:pt idx="51">
                  <c:v>0.1</c:v>
                </c:pt>
                <c:pt idx="52">
                  <c:v>0.1</c:v>
                </c:pt>
                <c:pt idx="53">
                  <c:v>0.1</c:v>
                </c:pt>
                <c:pt idx="54">
                  <c:v>0.1</c:v>
                </c:pt>
                <c:pt idx="55">
                  <c:v>0.1</c:v>
                </c:pt>
                <c:pt idx="56">
                  <c:v>0.1</c:v>
                </c:pt>
                <c:pt idx="57">
                  <c:v>0.1</c:v>
                </c:pt>
                <c:pt idx="58">
                  <c:v>0.1</c:v>
                </c:pt>
                <c:pt idx="59">
                  <c:v>0.1</c:v>
                </c:pt>
                <c:pt idx="60">
                  <c:v>0.1</c:v>
                </c:pt>
                <c:pt idx="61">
                  <c:v>0.1</c:v>
                </c:pt>
                <c:pt idx="62">
                  <c:v>0.1</c:v>
                </c:pt>
                <c:pt idx="63">
                  <c:v>0.1</c:v>
                </c:pt>
                <c:pt idx="64">
                  <c:v>0.1</c:v>
                </c:pt>
                <c:pt idx="65">
                  <c:v>0.1</c:v>
                </c:pt>
                <c:pt idx="66">
                  <c:v>0.1</c:v>
                </c:pt>
                <c:pt idx="67">
                  <c:v>0.1</c:v>
                </c:pt>
                <c:pt idx="68">
                  <c:v>0.1</c:v>
                </c:pt>
                <c:pt idx="69">
                  <c:v>0.1</c:v>
                </c:pt>
                <c:pt idx="70">
                  <c:v>0.25</c:v>
                </c:pt>
                <c:pt idx="71">
                  <c:v>0.25</c:v>
                </c:pt>
                <c:pt idx="72">
                  <c:v>0.5</c:v>
                </c:pt>
                <c:pt idx="73">
                  <c:v>0.75</c:v>
                </c:pt>
                <c:pt idx="74">
                  <c:v>0.75</c:v>
                </c:pt>
                <c:pt idx="75">
                  <c:v>1</c:v>
                </c:pt>
                <c:pt idx="76">
                  <c:v>1.25</c:v>
                </c:pt>
                <c:pt idx="77">
                  <c:v>1.25</c:v>
                </c:pt>
                <c:pt idx="78">
                  <c:v>1.75</c:v>
                </c:pt>
                <c:pt idx="79">
                  <c:v>2.25</c:v>
                </c:pt>
                <c:pt idx="80">
                  <c:v>2.25</c:v>
                </c:pt>
                <c:pt idx="81">
                  <c:v>3</c:v>
                </c:pt>
                <c:pt idx="82">
                  <c:v>3.5</c:v>
                </c:pt>
                <c:pt idx="83">
                  <c:v>3.5</c:v>
                </c:pt>
                <c:pt idx="84">
                  <c:v>4</c:v>
                </c:pt>
                <c:pt idx="85">
                  <c:v>4.25</c:v>
                </c:pt>
                <c:pt idx="86">
                  <c:v>4.25</c:v>
                </c:pt>
                <c:pt idx="87">
                  <c:v>4.5</c:v>
                </c:pt>
                <c:pt idx="88">
                  <c:v>5</c:v>
                </c:pt>
                <c:pt idx="89">
                  <c:v>5</c:v>
                </c:pt>
                <c:pt idx="90">
                  <c:v>5.25</c:v>
                </c:pt>
                <c:pt idx="91">
                  <c:v>5.25</c:v>
                </c:pt>
                <c:pt idx="92">
                  <c:v>5.25</c:v>
                </c:pt>
                <c:pt idx="93">
                  <c:v>5.25</c:v>
                </c:pt>
                <c:pt idx="94">
                  <c:v>5.25</c:v>
                </c:pt>
                <c:pt idx="95">
                  <c:v>5.25</c:v>
                </c:pt>
                <c:pt idx="96">
                  <c:v>5.25</c:v>
                </c:pt>
                <c:pt idx="97">
                  <c:v>5.25</c:v>
                </c:pt>
                <c:pt idx="98">
                  <c:v>5.25</c:v>
                </c:pt>
                <c:pt idx="99">
                  <c:v>5.25</c:v>
                </c:pt>
                <c:pt idx="100">
                  <c:v>5.25</c:v>
                </c:pt>
                <c:pt idx="101">
                  <c:v>5.25</c:v>
                </c:pt>
                <c:pt idx="102">
                  <c:v>5</c:v>
                </c:pt>
                <c:pt idx="103">
                  <c:v>5</c:v>
                </c:pt>
                <c:pt idx="104">
                  <c:v>5</c:v>
                </c:pt>
                <c:pt idx="105">
                  <c:v>4.75</c:v>
                </c:pt>
                <c:pt idx="106">
                  <c:v>4.75</c:v>
                </c:pt>
                <c:pt idx="107">
                  <c:v>4.75</c:v>
                </c:pt>
                <c:pt idx="108">
                  <c:v>4.5</c:v>
                </c:pt>
                <c:pt idx="109">
                  <c:v>4.5</c:v>
                </c:pt>
                <c:pt idx="110">
                  <c:v>4.5</c:v>
                </c:pt>
                <c:pt idx="111">
                  <c:v>4.25</c:v>
                </c:pt>
                <c:pt idx="112">
                  <c:v>4.25</c:v>
                </c:pt>
                <c:pt idx="113">
                  <c:v>4.25</c:v>
                </c:pt>
                <c:pt idx="114">
                  <c:v>4</c:v>
                </c:pt>
                <c:pt idx="115">
                  <c:v>4</c:v>
                </c:pt>
                <c:pt idx="116">
                  <c:v>4</c:v>
                </c:pt>
                <c:pt idx="117">
                  <c:v>4</c:v>
                </c:pt>
                <c:pt idx="118">
                  <c:v>3.75</c:v>
                </c:pt>
                <c:pt idx="119">
                  <c:v>3.75</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1-91AB-4A1C-97D8-F3C1AA49E133}"/>
            </c:ext>
          </c:extLst>
        </c:ser>
        <c:ser>
          <c:idx val="2"/>
          <c:order val="2"/>
          <c:tx>
            <c:strRef>
              <c:f>'Multiple (2)'!$P$8</c:f>
              <c:strCache>
                <c:ptCount val="1"/>
                <c:pt idx="0">
                  <c:v>ECB</c:v>
                </c:pt>
              </c:strCache>
            </c:strRef>
          </c:tx>
          <c:spPr>
            <a:ln w="25400">
              <a:solidFill>
                <a:schemeClr val="bg1">
                  <a:lumMod val="65000"/>
                </a:schemeClr>
              </a:solidFill>
              <a:prstDash val="solid"/>
            </a:ln>
          </c:spPr>
          <c:marker>
            <c:symbol val="none"/>
          </c:marker>
          <c:dPt>
            <c:idx val="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004-27DC-4977-B1A3-355F0827A33F}"/>
              </c:ext>
            </c:extLst>
          </c:dPt>
          <c:dPt>
            <c:idx val="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C-27DC-4977-B1A3-355F0827A33F}"/>
              </c:ext>
            </c:extLst>
          </c:dPt>
          <c:dPt>
            <c:idx val="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D-27DC-4977-B1A3-355F0827A33F}"/>
              </c:ext>
            </c:extLst>
          </c:dPt>
          <c:dPt>
            <c:idx val="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E-27DC-4977-B1A3-355F0827A33F}"/>
              </c:ext>
            </c:extLst>
          </c:dPt>
          <c:dPt>
            <c:idx val="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F-27DC-4977-B1A3-355F0827A33F}"/>
              </c:ext>
            </c:extLst>
          </c:dPt>
          <c:dPt>
            <c:idx val="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0-27DC-4977-B1A3-355F0827A33F}"/>
              </c:ext>
            </c:extLst>
          </c:dPt>
          <c:dPt>
            <c:idx val="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1-27DC-4977-B1A3-355F0827A33F}"/>
              </c:ext>
            </c:extLst>
          </c:dPt>
          <c:dPt>
            <c:idx val="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2-27DC-4977-B1A3-355F0827A33F}"/>
              </c:ext>
            </c:extLst>
          </c:dPt>
          <c:dPt>
            <c:idx val="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3-27DC-4977-B1A3-355F0827A33F}"/>
              </c:ext>
            </c:extLst>
          </c:dPt>
          <c:dPt>
            <c:idx val="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4-27DC-4977-B1A3-355F0827A33F}"/>
              </c:ext>
            </c:extLst>
          </c:dPt>
          <c:dPt>
            <c:idx val="1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5-27DC-4977-B1A3-355F0827A33F}"/>
              </c:ext>
            </c:extLst>
          </c:dPt>
          <c:dPt>
            <c:idx val="1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6-27DC-4977-B1A3-355F0827A33F}"/>
              </c:ext>
            </c:extLst>
          </c:dPt>
          <c:dPt>
            <c:idx val="1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7-27DC-4977-B1A3-355F0827A33F}"/>
              </c:ext>
            </c:extLst>
          </c:dPt>
          <c:dPt>
            <c:idx val="1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8-27DC-4977-B1A3-355F0827A33F}"/>
              </c:ext>
            </c:extLst>
          </c:dPt>
          <c:dPt>
            <c:idx val="1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9-27DC-4977-B1A3-355F0827A33F}"/>
              </c:ext>
            </c:extLst>
          </c:dPt>
          <c:dPt>
            <c:idx val="1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A-27DC-4977-B1A3-355F0827A33F}"/>
              </c:ext>
            </c:extLst>
          </c:dPt>
          <c:dPt>
            <c:idx val="1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B-27DC-4977-B1A3-355F0827A33F}"/>
              </c:ext>
            </c:extLst>
          </c:dPt>
          <c:dPt>
            <c:idx val="1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C-27DC-4977-B1A3-355F0827A33F}"/>
              </c:ext>
            </c:extLst>
          </c:dPt>
          <c:dPt>
            <c:idx val="1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D-27DC-4977-B1A3-355F0827A33F}"/>
              </c:ext>
            </c:extLst>
          </c:dPt>
          <c:dPt>
            <c:idx val="1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E-27DC-4977-B1A3-355F0827A33F}"/>
              </c:ext>
            </c:extLst>
          </c:dPt>
          <c:dPt>
            <c:idx val="2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DF-27DC-4977-B1A3-355F0827A33F}"/>
              </c:ext>
            </c:extLst>
          </c:dPt>
          <c:dPt>
            <c:idx val="2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0-27DC-4977-B1A3-355F0827A33F}"/>
              </c:ext>
            </c:extLst>
          </c:dPt>
          <c:dPt>
            <c:idx val="2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1-27DC-4977-B1A3-355F0827A33F}"/>
              </c:ext>
            </c:extLst>
          </c:dPt>
          <c:dPt>
            <c:idx val="2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2-27DC-4977-B1A3-355F0827A33F}"/>
              </c:ext>
            </c:extLst>
          </c:dPt>
          <c:dPt>
            <c:idx val="2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3-27DC-4977-B1A3-355F0827A33F}"/>
              </c:ext>
            </c:extLst>
          </c:dPt>
          <c:dPt>
            <c:idx val="2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4-27DC-4977-B1A3-355F0827A33F}"/>
              </c:ext>
            </c:extLst>
          </c:dPt>
          <c:dPt>
            <c:idx val="2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5-27DC-4977-B1A3-355F0827A33F}"/>
              </c:ext>
            </c:extLst>
          </c:dPt>
          <c:dPt>
            <c:idx val="2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6-27DC-4977-B1A3-355F0827A33F}"/>
              </c:ext>
            </c:extLst>
          </c:dPt>
          <c:dPt>
            <c:idx val="2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7-27DC-4977-B1A3-355F0827A33F}"/>
              </c:ext>
            </c:extLst>
          </c:dPt>
          <c:dPt>
            <c:idx val="2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8-27DC-4977-B1A3-355F0827A33F}"/>
              </c:ext>
            </c:extLst>
          </c:dPt>
          <c:dPt>
            <c:idx val="3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9-27DC-4977-B1A3-355F0827A33F}"/>
              </c:ext>
            </c:extLst>
          </c:dPt>
          <c:dPt>
            <c:idx val="3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A-27DC-4977-B1A3-355F0827A33F}"/>
              </c:ext>
            </c:extLst>
          </c:dPt>
          <c:dPt>
            <c:idx val="3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B-27DC-4977-B1A3-355F0827A33F}"/>
              </c:ext>
            </c:extLst>
          </c:dPt>
          <c:dPt>
            <c:idx val="3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C-27DC-4977-B1A3-355F0827A33F}"/>
              </c:ext>
            </c:extLst>
          </c:dPt>
          <c:dPt>
            <c:idx val="3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D-27DC-4977-B1A3-355F0827A33F}"/>
              </c:ext>
            </c:extLst>
          </c:dPt>
          <c:dPt>
            <c:idx val="3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E-27DC-4977-B1A3-355F0827A33F}"/>
              </c:ext>
            </c:extLst>
          </c:dPt>
          <c:dPt>
            <c:idx val="3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EF-27DC-4977-B1A3-355F0827A33F}"/>
              </c:ext>
            </c:extLst>
          </c:dPt>
          <c:dPt>
            <c:idx val="3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0-27DC-4977-B1A3-355F0827A33F}"/>
              </c:ext>
            </c:extLst>
          </c:dPt>
          <c:dPt>
            <c:idx val="3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1-27DC-4977-B1A3-355F0827A33F}"/>
              </c:ext>
            </c:extLst>
          </c:dPt>
          <c:dPt>
            <c:idx val="3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2-27DC-4977-B1A3-355F0827A33F}"/>
              </c:ext>
            </c:extLst>
          </c:dPt>
          <c:dPt>
            <c:idx val="4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3-27DC-4977-B1A3-355F0827A33F}"/>
              </c:ext>
            </c:extLst>
          </c:dPt>
          <c:dPt>
            <c:idx val="4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4-27DC-4977-B1A3-355F0827A33F}"/>
              </c:ext>
            </c:extLst>
          </c:dPt>
          <c:dPt>
            <c:idx val="4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5-27DC-4977-B1A3-355F0827A33F}"/>
              </c:ext>
            </c:extLst>
          </c:dPt>
          <c:dPt>
            <c:idx val="4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6-27DC-4977-B1A3-355F0827A33F}"/>
              </c:ext>
            </c:extLst>
          </c:dPt>
          <c:dPt>
            <c:idx val="4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7-27DC-4977-B1A3-355F0827A33F}"/>
              </c:ext>
            </c:extLst>
          </c:dPt>
          <c:dPt>
            <c:idx val="4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8-27DC-4977-B1A3-355F0827A33F}"/>
              </c:ext>
            </c:extLst>
          </c:dPt>
          <c:dPt>
            <c:idx val="4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9-27DC-4977-B1A3-355F0827A33F}"/>
              </c:ext>
            </c:extLst>
          </c:dPt>
          <c:dPt>
            <c:idx val="4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A-27DC-4977-B1A3-355F0827A33F}"/>
              </c:ext>
            </c:extLst>
          </c:dPt>
          <c:dPt>
            <c:idx val="4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B-27DC-4977-B1A3-355F0827A33F}"/>
              </c:ext>
            </c:extLst>
          </c:dPt>
          <c:dPt>
            <c:idx val="4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C-27DC-4977-B1A3-355F0827A33F}"/>
              </c:ext>
            </c:extLst>
          </c:dPt>
          <c:dPt>
            <c:idx val="5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D-27DC-4977-B1A3-355F0827A33F}"/>
              </c:ext>
            </c:extLst>
          </c:dPt>
          <c:dPt>
            <c:idx val="5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E-27DC-4977-B1A3-355F0827A33F}"/>
              </c:ext>
            </c:extLst>
          </c:dPt>
          <c:dPt>
            <c:idx val="5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FF-27DC-4977-B1A3-355F0827A33F}"/>
              </c:ext>
            </c:extLst>
          </c:dPt>
          <c:dPt>
            <c:idx val="5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0-27DC-4977-B1A3-355F0827A33F}"/>
              </c:ext>
            </c:extLst>
          </c:dPt>
          <c:dPt>
            <c:idx val="5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1-27DC-4977-B1A3-355F0827A33F}"/>
              </c:ext>
            </c:extLst>
          </c:dPt>
          <c:dPt>
            <c:idx val="5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2-27DC-4977-B1A3-355F0827A33F}"/>
              </c:ext>
            </c:extLst>
          </c:dPt>
          <c:dPt>
            <c:idx val="5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3-27DC-4977-B1A3-355F0827A33F}"/>
              </c:ext>
            </c:extLst>
          </c:dPt>
          <c:dPt>
            <c:idx val="5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4-27DC-4977-B1A3-355F0827A33F}"/>
              </c:ext>
            </c:extLst>
          </c:dPt>
          <c:dPt>
            <c:idx val="5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5-27DC-4977-B1A3-355F0827A33F}"/>
              </c:ext>
            </c:extLst>
          </c:dPt>
          <c:dPt>
            <c:idx val="5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6-27DC-4977-B1A3-355F0827A33F}"/>
              </c:ext>
            </c:extLst>
          </c:dPt>
          <c:dPt>
            <c:idx val="6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7-27DC-4977-B1A3-355F0827A33F}"/>
              </c:ext>
            </c:extLst>
          </c:dPt>
          <c:dPt>
            <c:idx val="6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8-27DC-4977-B1A3-355F0827A33F}"/>
              </c:ext>
            </c:extLst>
          </c:dPt>
          <c:dPt>
            <c:idx val="6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9-27DC-4977-B1A3-355F0827A33F}"/>
              </c:ext>
            </c:extLst>
          </c:dPt>
          <c:dPt>
            <c:idx val="6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A-27DC-4977-B1A3-355F0827A33F}"/>
              </c:ext>
            </c:extLst>
          </c:dPt>
          <c:dPt>
            <c:idx val="6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B-27DC-4977-B1A3-355F0827A33F}"/>
              </c:ext>
            </c:extLst>
          </c:dPt>
          <c:dPt>
            <c:idx val="6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C-27DC-4977-B1A3-355F0827A33F}"/>
              </c:ext>
            </c:extLst>
          </c:dPt>
          <c:dPt>
            <c:idx val="6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D-27DC-4977-B1A3-355F0827A33F}"/>
              </c:ext>
            </c:extLst>
          </c:dPt>
          <c:dPt>
            <c:idx val="6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E-27DC-4977-B1A3-355F0827A33F}"/>
              </c:ext>
            </c:extLst>
          </c:dPt>
          <c:dPt>
            <c:idx val="6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0F-27DC-4977-B1A3-355F0827A33F}"/>
              </c:ext>
            </c:extLst>
          </c:dPt>
          <c:dPt>
            <c:idx val="6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0-27DC-4977-B1A3-355F0827A33F}"/>
              </c:ext>
            </c:extLst>
          </c:dPt>
          <c:dPt>
            <c:idx val="7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1-27DC-4977-B1A3-355F0827A33F}"/>
              </c:ext>
            </c:extLst>
          </c:dPt>
          <c:dPt>
            <c:idx val="7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2-27DC-4977-B1A3-355F0827A33F}"/>
              </c:ext>
            </c:extLst>
          </c:dPt>
          <c:dPt>
            <c:idx val="7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3-27DC-4977-B1A3-355F0827A33F}"/>
              </c:ext>
            </c:extLst>
          </c:dPt>
          <c:dPt>
            <c:idx val="7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4-27DC-4977-B1A3-355F0827A33F}"/>
              </c:ext>
            </c:extLst>
          </c:dPt>
          <c:dPt>
            <c:idx val="7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5-27DC-4977-B1A3-355F0827A33F}"/>
              </c:ext>
            </c:extLst>
          </c:dPt>
          <c:dPt>
            <c:idx val="7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6-27DC-4977-B1A3-355F0827A33F}"/>
              </c:ext>
            </c:extLst>
          </c:dPt>
          <c:dPt>
            <c:idx val="7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7-27DC-4977-B1A3-355F0827A33F}"/>
              </c:ext>
            </c:extLst>
          </c:dPt>
          <c:dPt>
            <c:idx val="7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8-27DC-4977-B1A3-355F0827A33F}"/>
              </c:ext>
            </c:extLst>
          </c:dPt>
          <c:dPt>
            <c:idx val="7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9-27DC-4977-B1A3-355F0827A33F}"/>
              </c:ext>
            </c:extLst>
          </c:dPt>
          <c:dPt>
            <c:idx val="7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A-27DC-4977-B1A3-355F0827A33F}"/>
              </c:ext>
            </c:extLst>
          </c:dPt>
          <c:dPt>
            <c:idx val="8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B-27DC-4977-B1A3-355F0827A33F}"/>
              </c:ext>
            </c:extLst>
          </c:dPt>
          <c:dPt>
            <c:idx val="8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C-27DC-4977-B1A3-355F0827A33F}"/>
              </c:ext>
            </c:extLst>
          </c:dPt>
          <c:dPt>
            <c:idx val="8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D-27DC-4977-B1A3-355F0827A33F}"/>
              </c:ext>
            </c:extLst>
          </c:dPt>
          <c:dPt>
            <c:idx val="8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E-27DC-4977-B1A3-355F0827A33F}"/>
              </c:ext>
            </c:extLst>
          </c:dPt>
          <c:dPt>
            <c:idx val="8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1F-27DC-4977-B1A3-355F0827A33F}"/>
              </c:ext>
            </c:extLst>
          </c:dPt>
          <c:dPt>
            <c:idx val="8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0-27DC-4977-B1A3-355F0827A33F}"/>
              </c:ext>
            </c:extLst>
          </c:dPt>
          <c:dPt>
            <c:idx val="8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1-27DC-4977-B1A3-355F0827A33F}"/>
              </c:ext>
            </c:extLst>
          </c:dPt>
          <c:dPt>
            <c:idx val="8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2-27DC-4977-B1A3-355F0827A33F}"/>
              </c:ext>
            </c:extLst>
          </c:dPt>
          <c:dPt>
            <c:idx val="8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3-27DC-4977-B1A3-355F0827A33F}"/>
              </c:ext>
            </c:extLst>
          </c:dPt>
          <c:dPt>
            <c:idx val="8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4-27DC-4977-B1A3-355F0827A33F}"/>
              </c:ext>
            </c:extLst>
          </c:dPt>
          <c:dPt>
            <c:idx val="9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5-27DC-4977-B1A3-355F0827A33F}"/>
              </c:ext>
            </c:extLst>
          </c:dPt>
          <c:dPt>
            <c:idx val="9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6-27DC-4977-B1A3-355F0827A33F}"/>
              </c:ext>
            </c:extLst>
          </c:dPt>
          <c:dPt>
            <c:idx val="9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7-27DC-4977-B1A3-355F0827A33F}"/>
              </c:ext>
            </c:extLst>
          </c:dPt>
          <c:dPt>
            <c:idx val="9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8-27DC-4977-B1A3-355F0827A33F}"/>
              </c:ext>
            </c:extLst>
          </c:dPt>
          <c:dPt>
            <c:idx val="9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9-27DC-4977-B1A3-355F0827A33F}"/>
              </c:ext>
            </c:extLst>
          </c:dPt>
          <c:dPt>
            <c:idx val="9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A-27DC-4977-B1A3-355F0827A33F}"/>
              </c:ext>
            </c:extLst>
          </c:dPt>
          <c:dPt>
            <c:idx val="9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B-27DC-4977-B1A3-355F0827A33F}"/>
              </c:ext>
            </c:extLst>
          </c:dPt>
          <c:dPt>
            <c:idx val="9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C-27DC-4977-B1A3-355F0827A33F}"/>
              </c:ext>
            </c:extLst>
          </c:dPt>
          <c:dPt>
            <c:idx val="9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D-27DC-4977-B1A3-355F0827A33F}"/>
              </c:ext>
            </c:extLst>
          </c:dPt>
          <c:dPt>
            <c:idx val="9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E-27DC-4977-B1A3-355F0827A33F}"/>
              </c:ext>
            </c:extLst>
          </c:dPt>
          <c:dPt>
            <c:idx val="10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2F-27DC-4977-B1A3-355F0827A33F}"/>
              </c:ext>
            </c:extLst>
          </c:dPt>
          <c:dPt>
            <c:idx val="10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0-27DC-4977-B1A3-355F0827A33F}"/>
              </c:ext>
            </c:extLst>
          </c:dPt>
          <c:dPt>
            <c:idx val="10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1-27DC-4977-B1A3-355F0827A33F}"/>
              </c:ext>
            </c:extLst>
          </c:dPt>
          <c:dPt>
            <c:idx val="10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2-27DC-4977-B1A3-355F0827A33F}"/>
              </c:ext>
            </c:extLst>
          </c:dPt>
          <c:dPt>
            <c:idx val="10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3-27DC-4977-B1A3-355F0827A33F}"/>
              </c:ext>
            </c:extLst>
          </c:dPt>
          <c:dPt>
            <c:idx val="10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4-27DC-4977-B1A3-355F0827A33F}"/>
              </c:ext>
            </c:extLst>
          </c:dPt>
          <c:dPt>
            <c:idx val="10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5-27DC-4977-B1A3-355F0827A33F}"/>
              </c:ext>
            </c:extLst>
          </c:dPt>
          <c:dPt>
            <c:idx val="10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6-27DC-4977-B1A3-355F0827A33F}"/>
              </c:ext>
            </c:extLst>
          </c:dPt>
          <c:dPt>
            <c:idx val="10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7-27DC-4977-B1A3-355F0827A33F}"/>
              </c:ext>
            </c:extLst>
          </c:dPt>
          <c:dPt>
            <c:idx val="10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8-27DC-4977-B1A3-355F0827A33F}"/>
              </c:ext>
            </c:extLst>
          </c:dPt>
          <c:dPt>
            <c:idx val="11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9-27DC-4977-B1A3-355F0827A33F}"/>
              </c:ext>
            </c:extLst>
          </c:dPt>
          <c:dPt>
            <c:idx val="11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A-27DC-4977-B1A3-355F0827A33F}"/>
              </c:ext>
            </c:extLst>
          </c:dPt>
          <c:dPt>
            <c:idx val="11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B-27DC-4977-B1A3-355F0827A33F}"/>
              </c:ext>
            </c:extLst>
          </c:dPt>
          <c:dPt>
            <c:idx val="11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C-27DC-4977-B1A3-355F0827A33F}"/>
              </c:ext>
            </c:extLst>
          </c:dPt>
          <c:dPt>
            <c:idx val="11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D-27DC-4977-B1A3-355F0827A33F}"/>
              </c:ext>
            </c:extLst>
          </c:dPt>
          <c:dPt>
            <c:idx val="11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E-27DC-4977-B1A3-355F0827A33F}"/>
              </c:ext>
            </c:extLst>
          </c:dPt>
          <c:dPt>
            <c:idx val="11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3F-27DC-4977-B1A3-355F0827A33F}"/>
              </c:ext>
            </c:extLst>
          </c:dPt>
          <c:dPt>
            <c:idx val="11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0-27DC-4977-B1A3-355F0827A33F}"/>
              </c:ext>
            </c:extLst>
          </c:dPt>
          <c:dPt>
            <c:idx val="11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1-27DC-4977-B1A3-355F0827A33F}"/>
              </c:ext>
            </c:extLst>
          </c:dPt>
          <c:dPt>
            <c:idx val="11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2-27DC-4977-B1A3-355F0827A33F}"/>
              </c:ext>
            </c:extLst>
          </c:dPt>
          <c:dPt>
            <c:idx val="12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3-27DC-4977-B1A3-355F0827A33F}"/>
              </c:ext>
            </c:extLst>
          </c:dPt>
          <c:dPt>
            <c:idx val="12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4-27DC-4977-B1A3-355F0827A33F}"/>
              </c:ext>
            </c:extLst>
          </c:dPt>
          <c:dPt>
            <c:idx val="12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5-27DC-4977-B1A3-355F0827A33F}"/>
              </c:ext>
            </c:extLst>
          </c:dPt>
          <c:dPt>
            <c:idx val="12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6-27DC-4977-B1A3-355F0827A33F}"/>
              </c:ext>
            </c:extLst>
          </c:dPt>
          <c:dPt>
            <c:idx val="12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7-27DC-4977-B1A3-355F0827A33F}"/>
              </c:ext>
            </c:extLst>
          </c:dPt>
          <c:dPt>
            <c:idx val="12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8-27DC-4977-B1A3-355F0827A33F}"/>
              </c:ext>
            </c:extLst>
          </c:dPt>
          <c:dPt>
            <c:idx val="12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9-27DC-4977-B1A3-355F0827A33F}"/>
              </c:ext>
            </c:extLst>
          </c:dPt>
          <c:dPt>
            <c:idx val="12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A-27DC-4977-B1A3-355F0827A33F}"/>
              </c:ext>
            </c:extLst>
          </c:dPt>
          <c:dPt>
            <c:idx val="12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B-27DC-4977-B1A3-355F0827A33F}"/>
              </c:ext>
            </c:extLst>
          </c:dPt>
          <c:dPt>
            <c:idx val="12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C-27DC-4977-B1A3-355F0827A33F}"/>
              </c:ext>
            </c:extLst>
          </c:dPt>
          <c:dPt>
            <c:idx val="13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D-27DC-4977-B1A3-355F0827A33F}"/>
              </c:ext>
            </c:extLst>
          </c:dPt>
          <c:dPt>
            <c:idx val="13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E-27DC-4977-B1A3-355F0827A33F}"/>
              </c:ext>
            </c:extLst>
          </c:dPt>
          <c:dPt>
            <c:idx val="13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4F-27DC-4977-B1A3-355F0827A33F}"/>
              </c:ext>
            </c:extLst>
          </c:dPt>
          <c:dPt>
            <c:idx val="13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0-27DC-4977-B1A3-355F0827A33F}"/>
              </c:ext>
            </c:extLst>
          </c:dPt>
          <c:dPt>
            <c:idx val="13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1-27DC-4977-B1A3-355F0827A33F}"/>
              </c:ext>
            </c:extLst>
          </c:dPt>
          <c:dPt>
            <c:idx val="13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2-27DC-4977-B1A3-355F0827A33F}"/>
              </c:ext>
            </c:extLst>
          </c:dPt>
          <c:dPt>
            <c:idx val="13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3-27DC-4977-B1A3-355F0827A33F}"/>
              </c:ext>
            </c:extLst>
          </c:dPt>
          <c:dPt>
            <c:idx val="13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4-27DC-4977-B1A3-355F0827A33F}"/>
              </c:ext>
            </c:extLst>
          </c:dPt>
          <c:dPt>
            <c:idx val="13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5-27DC-4977-B1A3-355F0827A33F}"/>
              </c:ext>
            </c:extLst>
          </c:dPt>
          <c:dPt>
            <c:idx val="13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6-27DC-4977-B1A3-355F0827A33F}"/>
              </c:ext>
            </c:extLst>
          </c:dPt>
          <c:dPt>
            <c:idx val="14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7-27DC-4977-B1A3-355F0827A33F}"/>
              </c:ext>
            </c:extLst>
          </c:dPt>
          <c:dPt>
            <c:idx val="14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8-27DC-4977-B1A3-355F0827A33F}"/>
              </c:ext>
            </c:extLst>
          </c:dPt>
          <c:dPt>
            <c:idx val="14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9-27DC-4977-B1A3-355F0827A33F}"/>
              </c:ext>
            </c:extLst>
          </c:dPt>
          <c:dPt>
            <c:idx val="14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A-27DC-4977-B1A3-355F0827A33F}"/>
              </c:ext>
            </c:extLst>
          </c:dPt>
          <c:dPt>
            <c:idx val="14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B-27DC-4977-B1A3-355F0827A33F}"/>
              </c:ext>
            </c:extLst>
          </c:dPt>
          <c:dPt>
            <c:idx val="14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C-27DC-4977-B1A3-355F0827A33F}"/>
              </c:ext>
            </c:extLst>
          </c:dPt>
          <c:dPt>
            <c:idx val="14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D-27DC-4977-B1A3-355F0827A33F}"/>
              </c:ext>
            </c:extLst>
          </c:dPt>
          <c:dPt>
            <c:idx val="14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E-27DC-4977-B1A3-355F0827A33F}"/>
              </c:ext>
            </c:extLst>
          </c:dPt>
          <c:dPt>
            <c:idx val="14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5F-27DC-4977-B1A3-355F0827A33F}"/>
              </c:ext>
            </c:extLst>
          </c:dPt>
          <c:dPt>
            <c:idx val="14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0-27DC-4977-B1A3-355F0827A33F}"/>
              </c:ext>
            </c:extLst>
          </c:dPt>
          <c:dPt>
            <c:idx val="15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1-27DC-4977-B1A3-355F0827A33F}"/>
              </c:ext>
            </c:extLst>
          </c:dPt>
          <c:dPt>
            <c:idx val="15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2-27DC-4977-B1A3-355F0827A33F}"/>
              </c:ext>
            </c:extLst>
          </c:dPt>
          <c:dPt>
            <c:idx val="15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3-27DC-4977-B1A3-355F0827A33F}"/>
              </c:ext>
            </c:extLst>
          </c:dPt>
          <c:dPt>
            <c:idx val="15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4-27DC-4977-B1A3-355F0827A33F}"/>
              </c:ext>
            </c:extLst>
          </c:dPt>
          <c:dPt>
            <c:idx val="15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5-27DC-4977-B1A3-355F0827A33F}"/>
              </c:ext>
            </c:extLst>
          </c:dPt>
          <c:dPt>
            <c:idx val="15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6-27DC-4977-B1A3-355F0827A33F}"/>
              </c:ext>
            </c:extLst>
          </c:dPt>
          <c:dPt>
            <c:idx val="15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7-27DC-4977-B1A3-355F0827A33F}"/>
              </c:ext>
            </c:extLst>
          </c:dPt>
          <c:dPt>
            <c:idx val="15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8-27DC-4977-B1A3-355F0827A33F}"/>
              </c:ext>
            </c:extLst>
          </c:dPt>
          <c:dPt>
            <c:idx val="15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9-27DC-4977-B1A3-355F0827A33F}"/>
              </c:ext>
            </c:extLst>
          </c:dPt>
          <c:dPt>
            <c:idx val="15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A-27DC-4977-B1A3-355F0827A33F}"/>
              </c:ext>
            </c:extLst>
          </c:dPt>
          <c:dPt>
            <c:idx val="16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B-27DC-4977-B1A3-355F0827A33F}"/>
              </c:ext>
            </c:extLst>
          </c:dPt>
          <c:dPt>
            <c:idx val="16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C-27DC-4977-B1A3-355F0827A33F}"/>
              </c:ext>
            </c:extLst>
          </c:dPt>
          <c:dPt>
            <c:idx val="16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D-27DC-4977-B1A3-355F0827A33F}"/>
              </c:ext>
            </c:extLst>
          </c:dPt>
          <c:dPt>
            <c:idx val="16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E-27DC-4977-B1A3-355F0827A33F}"/>
              </c:ext>
            </c:extLst>
          </c:dPt>
          <c:dPt>
            <c:idx val="16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6F-27DC-4977-B1A3-355F0827A33F}"/>
              </c:ext>
            </c:extLst>
          </c:dPt>
          <c:dPt>
            <c:idx val="16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0-27DC-4977-B1A3-355F0827A33F}"/>
              </c:ext>
            </c:extLst>
          </c:dPt>
          <c:dPt>
            <c:idx val="16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1-27DC-4977-B1A3-355F0827A33F}"/>
              </c:ext>
            </c:extLst>
          </c:dPt>
          <c:dPt>
            <c:idx val="16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2-27DC-4977-B1A3-355F0827A33F}"/>
              </c:ext>
            </c:extLst>
          </c:dPt>
          <c:dPt>
            <c:idx val="16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3-27DC-4977-B1A3-355F0827A33F}"/>
              </c:ext>
            </c:extLst>
          </c:dPt>
          <c:dPt>
            <c:idx val="16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4-27DC-4977-B1A3-355F0827A33F}"/>
              </c:ext>
            </c:extLst>
          </c:dPt>
          <c:dPt>
            <c:idx val="17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5-27DC-4977-B1A3-355F0827A33F}"/>
              </c:ext>
            </c:extLst>
          </c:dPt>
          <c:dPt>
            <c:idx val="17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6-27DC-4977-B1A3-355F0827A33F}"/>
              </c:ext>
            </c:extLst>
          </c:dPt>
          <c:dPt>
            <c:idx val="17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7-27DC-4977-B1A3-355F0827A33F}"/>
              </c:ext>
            </c:extLst>
          </c:dPt>
          <c:dPt>
            <c:idx val="17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8-27DC-4977-B1A3-355F0827A33F}"/>
              </c:ext>
            </c:extLst>
          </c:dPt>
          <c:dPt>
            <c:idx val="17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9-27DC-4977-B1A3-355F0827A33F}"/>
              </c:ext>
            </c:extLst>
          </c:dPt>
          <c:dPt>
            <c:idx val="17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A-27DC-4977-B1A3-355F0827A33F}"/>
              </c:ext>
            </c:extLst>
          </c:dPt>
          <c:dPt>
            <c:idx val="17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B-27DC-4977-B1A3-355F0827A33F}"/>
              </c:ext>
            </c:extLst>
          </c:dPt>
          <c:dPt>
            <c:idx val="17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C-27DC-4977-B1A3-355F0827A33F}"/>
              </c:ext>
            </c:extLst>
          </c:dPt>
          <c:dPt>
            <c:idx val="17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D-27DC-4977-B1A3-355F0827A33F}"/>
              </c:ext>
            </c:extLst>
          </c:dPt>
          <c:dPt>
            <c:idx val="17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E-27DC-4977-B1A3-355F0827A33F}"/>
              </c:ext>
            </c:extLst>
          </c:dPt>
          <c:dPt>
            <c:idx val="18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7F-27DC-4977-B1A3-355F0827A33F}"/>
              </c:ext>
            </c:extLst>
          </c:dPt>
          <c:dPt>
            <c:idx val="18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0-27DC-4977-B1A3-355F0827A33F}"/>
              </c:ext>
            </c:extLst>
          </c:dPt>
          <c:dPt>
            <c:idx val="18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1-27DC-4977-B1A3-355F0827A33F}"/>
              </c:ext>
            </c:extLst>
          </c:dPt>
          <c:dPt>
            <c:idx val="18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2-27DC-4977-B1A3-355F0827A33F}"/>
              </c:ext>
            </c:extLst>
          </c:dPt>
          <c:dPt>
            <c:idx val="18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3-27DC-4977-B1A3-355F0827A33F}"/>
              </c:ext>
            </c:extLst>
          </c:dPt>
          <c:dPt>
            <c:idx val="18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4-27DC-4977-B1A3-355F0827A33F}"/>
              </c:ext>
            </c:extLst>
          </c:dPt>
          <c:dPt>
            <c:idx val="18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5-27DC-4977-B1A3-355F0827A33F}"/>
              </c:ext>
            </c:extLst>
          </c:dPt>
          <c:dPt>
            <c:idx val="18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6-27DC-4977-B1A3-355F0827A33F}"/>
              </c:ext>
            </c:extLst>
          </c:dPt>
          <c:dPt>
            <c:idx val="18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7-27DC-4977-B1A3-355F0827A33F}"/>
              </c:ext>
            </c:extLst>
          </c:dPt>
          <c:dPt>
            <c:idx val="18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8-27DC-4977-B1A3-355F0827A33F}"/>
              </c:ext>
            </c:extLst>
          </c:dPt>
          <c:dPt>
            <c:idx val="19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9-27DC-4977-B1A3-355F0827A33F}"/>
              </c:ext>
            </c:extLst>
          </c:dPt>
          <c:dPt>
            <c:idx val="19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A-27DC-4977-B1A3-355F0827A33F}"/>
              </c:ext>
            </c:extLst>
          </c:dPt>
          <c:dPt>
            <c:idx val="19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B-27DC-4977-B1A3-355F0827A33F}"/>
              </c:ext>
            </c:extLst>
          </c:dPt>
          <c:dPt>
            <c:idx val="19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C-27DC-4977-B1A3-355F0827A33F}"/>
              </c:ext>
            </c:extLst>
          </c:dPt>
          <c:dPt>
            <c:idx val="19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D-27DC-4977-B1A3-355F0827A33F}"/>
              </c:ext>
            </c:extLst>
          </c:dPt>
          <c:dPt>
            <c:idx val="19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E-27DC-4977-B1A3-355F0827A33F}"/>
              </c:ext>
            </c:extLst>
          </c:dPt>
          <c:dPt>
            <c:idx val="19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8F-27DC-4977-B1A3-355F0827A33F}"/>
              </c:ext>
            </c:extLst>
          </c:dPt>
          <c:dPt>
            <c:idx val="19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0-27DC-4977-B1A3-355F0827A33F}"/>
              </c:ext>
            </c:extLst>
          </c:dPt>
          <c:dPt>
            <c:idx val="19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1-27DC-4977-B1A3-355F0827A33F}"/>
              </c:ext>
            </c:extLst>
          </c:dPt>
          <c:dPt>
            <c:idx val="19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2-27DC-4977-B1A3-355F0827A33F}"/>
              </c:ext>
            </c:extLst>
          </c:dPt>
          <c:dPt>
            <c:idx val="20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3-27DC-4977-B1A3-355F0827A33F}"/>
              </c:ext>
            </c:extLst>
          </c:dPt>
          <c:dPt>
            <c:idx val="20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4-27DC-4977-B1A3-355F0827A33F}"/>
              </c:ext>
            </c:extLst>
          </c:dPt>
          <c:dPt>
            <c:idx val="20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5-27DC-4977-B1A3-355F0827A33F}"/>
              </c:ext>
            </c:extLst>
          </c:dPt>
          <c:dPt>
            <c:idx val="20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6-27DC-4977-B1A3-355F0827A33F}"/>
              </c:ext>
            </c:extLst>
          </c:dPt>
          <c:dPt>
            <c:idx val="20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7-27DC-4977-B1A3-355F0827A33F}"/>
              </c:ext>
            </c:extLst>
          </c:dPt>
          <c:dPt>
            <c:idx val="20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8-27DC-4977-B1A3-355F0827A33F}"/>
              </c:ext>
            </c:extLst>
          </c:dPt>
          <c:dPt>
            <c:idx val="20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9-27DC-4977-B1A3-355F0827A33F}"/>
              </c:ext>
            </c:extLst>
          </c:dPt>
          <c:dPt>
            <c:idx val="20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A-27DC-4977-B1A3-355F0827A33F}"/>
              </c:ext>
            </c:extLst>
          </c:dPt>
          <c:dPt>
            <c:idx val="20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B-27DC-4977-B1A3-355F0827A33F}"/>
              </c:ext>
            </c:extLst>
          </c:dPt>
          <c:dPt>
            <c:idx val="20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C-27DC-4977-B1A3-355F0827A33F}"/>
              </c:ext>
            </c:extLst>
          </c:dPt>
          <c:dPt>
            <c:idx val="21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D-27DC-4977-B1A3-355F0827A33F}"/>
              </c:ext>
            </c:extLst>
          </c:dPt>
          <c:dPt>
            <c:idx val="21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E-27DC-4977-B1A3-355F0827A33F}"/>
              </c:ext>
            </c:extLst>
          </c:dPt>
          <c:dPt>
            <c:idx val="21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9F-27DC-4977-B1A3-355F0827A33F}"/>
              </c:ext>
            </c:extLst>
          </c:dPt>
          <c:dPt>
            <c:idx val="21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0-27DC-4977-B1A3-355F0827A33F}"/>
              </c:ext>
            </c:extLst>
          </c:dPt>
          <c:dPt>
            <c:idx val="21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1-27DC-4977-B1A3-355F0827A33F}"/>
              </c:ext>
            </c:extLst>
          </c:dPt>
          <c:dPt>
            <c:idx val="21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2-27DC-4977-B1A3-355F0827A33F}"/>
              </c:ext>
            </c:extLst>
          </c:dPt>
          <c:dPt>
            <c:idx val="21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3-27DC-4977-B1A3-355F0827A33F}"/>
              </c:ext>
            </c:extLst>
          </c:dPt>
          <c:dPt>
            <c:idx val="21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4-27DC-4977-B1A3-355F0827A33F}"/>
              </c:ext>
            </c:extLst>
          </c:dPt>
          <c:dPt>
            <c:idx val="21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5-27DC-4977-B1A3-355F0827A33F}"/>
              </c:ext>
            </c:extLst>
          </c:dPt>
          <c:dPt>
            <c:idx val="21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6-27DC-4977-B1A3-355F0827A33F}"/>
              </c:ext>
            </c:extLst>
          </c:dPt>
          <c:dPt>
            <c:idx val="22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7-27DC-4977-B1A3-355F0827A33F}"/>
              </c:ext>
            </c:extLst>
          </c:dPt>
          <c:dPt>
            <c:idx val="22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8-27DC-4977-B1A3-355F0827A33F}"/>
              </c:ext>
            </c:extLst>
          </c:dPt>
          <c:dPt>
            <c:idx val="22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9-27DC-4977-B1A3-355F0827A33F}"/>
              </c:ext>
            </c:extLst>
          </c:dPt>
          <c:dPt>
            <c:idx val="22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A-27DC-4977-B1A3-355F0827A33F}"/>
              </c:ext>
            </c:extLst>
          </c:dPt>
          <c:dPt>
            <c:idx val="22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B-27DC-4977-B1A3-355F0827A33F}"/>
              </c:ext>
            </c:extLst>
          </c:dPt>
          <c:dPt>
            <c:idx val="22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C-27DC-4977-B1A3-355F0827A33F}"/>
              </c:ext>
            </c:extLst>
          </c:dPt>
          <c:dPt>
            <c:idx val="22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D-27DC-4977-B1A3-355F0827A33F}"/>
              </c:ext>
            </c:extLst>
          </c:dPt>
          <c:dPt>
            <c:idx val="22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E-27DC-4977-B1A3-355F0827A33F}"/>
              </c:ext>
            </c:extLst>
          </c:dPt>
          <c:dPt>
            <c:idx val="22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AF-27DC-4977-B1A3-355F0827A33F}"/>
              </c:ext>
            </c:extLst>
          </c:dPt>
          <c:dPt>
            <c:idx val="22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0-27DC-4977-B1A3-355F0827A33F}"/>
              </c:ext>
            </c:extLst>
          </c:dPt>
          <c:dPt>
            <c:idx val="23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1-27DC-4977-B1A3-355F0827A33F}"/>
              </c:ext>
            </c:extLst>
          </c:dPt>
          <c:dPt>
            <c:idx val="23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2-27DC-4977-B1A3-355F0827A33F}"/>
              </c:ext>
            </c:extLst>
          </c:dPt>
          <c:dPt>
            <c:idx val="23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3-27DC-4977-B1A3-355F0827A33F}"/>
              </c:ext>
            </c:extLst>
          </c:dPt>
          <c:dPt>
            <c:idx val="23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4-27DC-4977-B1A3-355F0827A33F}"/>
              </c:ext>
            </c:extLst>
          </c:dPt>
          <c:dPt>
            <c:idx val="23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5-27DC-4977-B1A3-355F0827A33F}"/>
              </c:ext>
            </c:extLst>
          </c:dPt>
          <c:dPt>
            <c:idx val="23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6-27DC-4977-B1A3-355F0827A33F}"/>
              </c:ext>
            </c:extLst>
          </c:dPt>
          <c:dPt>
            <c:idx val="23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7-27DC-4977-B1A3-355F0827A33F}"/>
              </c:ext>
            </c:extLst>
          </c:dPt>
          <c:dPt>
            <c:idx val="23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8-27DC-4977-B1A3-355F0827A33F}"/>
              </c:ext>
            </c:extLst>
          </c:dPt>
          <c:dPt>
            <c:idx val="23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9-27DC-4977-B1A3-355F0827A33F}"/>
              </c:ext>
            </c:extLst>
          </c:dPt>
          <c:dPt>
            <c:idx val="23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A-27DC-4977-B1A3-355F0827A33F}"/>
              </c:ext>
            </c:extLst>
          </c:dPt>
          <c:dPt>
            <c:idx val="24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B-27DC-4977-B1A3-355F0827A33F}"/>
              </c:ext>
            </c:extLst>
          </c:dPt>
          <c:dPt>
            <c:idx val="24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C-27DC-4977-B1A3-355F0827A33F}"/>
              </c:ext>
            </c:extLst>
          </c:dPt>
          <c:dPt>
            <c:idx val="24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D-27DC-4977-B1A3-355F0827A33F}"/>
              </c:ext>
            </c:extLst>
          </c:dPt>
          <c:dPt>
            <c:idx val="24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E-27DC-4977-B1A3-355F0827A33F}"/>
              </c:ext>
            </c:extLst>
          </c:dPt>
          <c:dPt>
            <c:idx val="24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BF-27DC-4977-B1A3-355F0827A33F}"/>
              </c:ext>
            </c:extLst>
          </c:dPt>
          <c:dPt>
            <c:idx val="24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0-27DC-4977-B1A3-355F0827A33F}"/>
              </c:ext>
            </c:extLst>
          </c:dPt>
          <c:dPt>
            <c:idx val="24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1-27DC-4977-B1A3-355F0827A33F}"/>
              </c:ext>
            </c:extLst>
          </c:dPt>
          <c:dPt>
            <c:idx val="24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2-27DC-4977-B1A3-355F0827A33F}"/>
              </c:ext>
            </c:extLst>
          </c:dPt>
          <c:dPt>
            <c:idx val="24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3-27DC-4977-B1A3-355F0827A33F}"/>
              </c:ext>
            </c:extLst>
          </c:dPt>
          <c:dPt>
            <c:idx val="24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4-27DC-4977-B1A3-355F0827A33F}"/>
              </c:ext>
            </c:extLst>
          </c:dPt>
          <c:dPt>
            <c:idx val="25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5-27DC-4977-B1A3-355F0827A33F}"/>
              </c:ext>
            </c:extLst>
          </c:dPt>
          <c:dPt>
            <c:idx val="25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6-27DC-4977-B1A3-355F0827A33F}"/>
              </c:ext>
            </c:extLst>
          </c:dPt>
          <c:dPt>
            <c:idx val="25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7-27DC-4977-B1A3-355F0827A33F}"/>
              </c:ext>
            </c:extLst>
          </c:dPt>
          <c:dPt>
            <c:idx val="25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8-27DC-4977-B1A3-355F0827A33F}"/>
              </c:ext>
            </c:extLst>
          </c:dPt>
          <c:dPt>
            <c:idx val="25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9-27DC-4977-B1A3-355F0827A33F}"/>
              </c:ext>
            </c:extLst>
          </c:dPt>
          <c:dPt>
            <c:idx val="25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A-27DC-4977-B1A3-355F0827A33F}"/>
              </c:ext>
            </c:extLst>
          </c:dPt>
          <c:dPt>
            <c:idx val="25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B-27DC-4977-B1A3-355F0827A33F}"/>
              </c:ext>
            </c:extLst>
          </c:dPt>
          <c:dPt>
            <c:idx val="25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C-27DC-4977-B1A3-355F0827A33F}"/>
              </c:ext>
            </c:extLst>
          </c:dPt>
          <c:dPt>
            <c:idx val="25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D-27DC-4977-B1A3-355F0827A33F}"/>
              </c:ext>
            </c:extLst>
          </c:dPt>
          <c:dPt>
            <c:idx val="25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E-27DC-4977-B1A3-355F0827A33F}"/>
              </c:ext>
            </c:extLst>
          </c:dPt>
          <c:dPt>
            <c:idx val="26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CF-27DC-4977-B1A3-355F0827A33F}"/>
              </c:ext>
            </c:extLst>
          </c:dPt>
          <c:dPt>
            <c:idx val="26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0-27DC-4977-B1A3-355F0827A33F}"/>
              </c:ext>
            </c:extLst>
          </c:dPt>
          <c:dPt>
            <c:idx val="26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1-27DC-4977-B1A3-355F0827A33F}"/>
              </c:ext>
            </c:extLst>
          </c:dPt>
          <c:dPt>
            <c:idx val="26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2-27DC-4977-B1A3-355F0827A33F}"/>
              </c:ext>
            </c:extLst>
          </c:dPt>
          <c:dPt>
            <c:idx val="26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3-27DC-4977-B1A3-355F0827A33F}"/>
              </c:ext>
            </c:extLst>
          </c:dPt>
          <c:dPt>
            <c:idx val="26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4-27DC-4977-B1A3-355F0827A33F}"/>
              </c:ext>
            </c:extLst>
          </c:dPt>
          <c:dPt>
            <c:idx val="26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5-27DC-4977-B1A3-355F0827A33F}"/>
              </c:ext>
            </c:extLst>
          </c:dPt>
          <c:dPt>
            <c:idx val="26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6-27DC-4977-B1A3-355F0827A33F}"/>
              </c:ext>
            </c:extLst>
          </c:dPt>
          <c:dPt>
            <c:idx val="26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7-27DC-4977-B1A3-355F0827A33F}"/>
              </c:ext>
            </c:extLst>
          </c:dPt>
          <c:dPt>
            <c:idx val="26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8-27DC-4977-B1A3-355F0827A33F}"/>
              </c:ext>
            </c:extLst>
          </c:dPt>
          <c:dPt>
            <c:idx val="27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9-27DC-4977-B1A3-355F0827A33F}"/>
              </c:ext>
            </c:extLst>
          </c:dPt>
          <c:dPt>
            <c:idx val="27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A-27DC-4977-B1A3-355F0827A33F}"/>
              </c:ext>
            </c:extLst>
          </c:dPt>
          <c:dPt>
            <c:idx val="27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B-27DC-4977-B1A3-355F0827A33F}"/>
              </c:ext>
            </c:extLst>
          </c:dPt>
          <c:dPt>
            <c:idx val="27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C-27DC-4977-B1A3-355F0827A33F}"/>
              </c:ext>
            </c:extLst>
          </c:dPt>
          <c:dPt>
            <c:idx val="27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D-27DC-4977-B1A3-355F0827A33F}"/>
              </c:ext>
            </c:extLst>
          </c:dPt>
          <c:dPt>
            <c:idx val="27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E-27DC-4977-B1A3-355F0827A33F}"/>
              </c:ext>
            </c:extLst>
          </c:dPt>
          <c:dPt>
            <c:idx val="27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DF-27DC-4977-B1A3-355F0827A33F}"/>
              </c:ext>
            </c:extLst>
          </c:dPt>
          <c:dPt>
            <c:idx val="27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0-27DC-4977-B1A3-355F0827A33F}"/>
              </c:ext>
            </c:extLst>
          </c:dPt>
          <c:dPt>
            <c:idx val="27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1-27DC-4977-B1A3-355F0827A33F}"/>
              </c:ext>
            </c:extLst>
          </c:dPt>
          <c:dPt>
            <c:idx val="27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2-27DC-4977-B1A3-355F0827A33F}"/>
              </c:ext>
            </c:extLst>
          </c:dPt>
          <c:dPt>
            <c:idx val="28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3-27DC-4977-B1A3-355F0827A33F}"/>
              </c:ext>
            </c:extLst>
          </c:dPt>
          <c:dPt>
            <c:idx val="28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4-27DC-4977-B1A3-355F0827A33F}"/>
              </c:ext>
            </c:extLst>
          </c:dPt>
          <c:dPt>
            <c:idx val="28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5-27DC-4977-B1A3-355F0827A33F}"/>
              </c:ext>
            </c:extLst>
          </c:dPt>
          <c:dPt>
            <c:idx val="28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6-27DC-4977-B1A3-355F0827A33F}"/>
              </c:ext>
            </c:extLst>
          </c:dPt>
          <c:dPt>
            <c:idx val="28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7-27DC-4977-B1A3-355F0827A33F}"/>
              </c:ext>
            </c:extLst>
          </c:dPt>
          <c:dPt>
            <c:idx val="28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8-27DC-4977-B1A3-355F0827A33F}"/>
              </c:ext>
            </c:extLst>
          </c:dPt>
          <c:dPt>
            <c:idx val="28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9-27DC-4977-B1A3-355F0827A33F}"/>
              </c:ext>
            </c:extLst>
          </c:dPt>
          <c:dPt>
            <c:idx val="28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A-27DC-4977-B1A3-355F0827A33F}"/>
              </c:ext>
            </c:extLst>
          </c:dPt>
          <c:dPt>
            <c:idx val="28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B-27DC-4977-B1A3-355F0827A33F}"/>
              </c:ext>
            </c:extLst>
          </c:dPt>
          <c:dPt>
            <c:idx val="28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C-27DC-4977-B1A3-355F0827A33F}"/>
              </c:ext>
            </c:extLst>
          </c:dPt>
          <c:dPt>
            <c:idx val="29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D-27DC-4977-B1A3-355F0827A33F}"/>
              </c:ext>
            </c:extLst>
          </c:dPt>
          <c:dPt>
            <c:idx val="29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E-27DC-4977-B1A3-355F0827A33F}"/>
              </c:ext>
            </c:extLst>
          </c:dPt>
          <c:dPt>
            <c:idx val="29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EF-27DC-4977-B1A3-355F0827A33F}"/>
              </c:ext>
            </c:extLst>
          </c:dPt>
          <c:dPt>
            <c:idx val="29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0-27DC-4977-B1A3-355F0827A33F}"/>
              </c:ext>
            </c:extLst>
          </c:dPt>
          <c:dPt>
            <c:idx val="29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1-27DC-4977-B1A3-355F0827A33F}"/>
              </c:ext>
            </c:extLst>
          </c:dPt>
          <c:dPt>
            <c:idx val="29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2-27DC-4977-B1A3-355F0827A33F}"/>
              </c:ext>
            </c:extLst>
          </c:dPt>
          <c:dPt>
            <c:idx val="29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3-27DC-4977-B1A3-355F0827A33F}"/>
              </c:ext>
            </c:extLst>
          </c:dPt>
          <c:dPt>
            <c:idx val="29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4-27DC-4977-B1A3-355F0827A33F}"/>
              </c:ext>
            </c:extLst>
          </c:dPt>
          <c:dPt>
            <c:idx val="29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5-27DC-4977-B1A3-355F0827A33F}"/>
              </c:ext>
            </c:extLst>
          </c:dPt>
          <c:dPt>
            <c:idx val="29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6-27DC-4977-B1A3-355F0827A33F}"/>
              </c:ext>
            </c:extLst>
          </c:dPt>
          <c:dPt>
            <c:idx val="30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7-27DC-4977-B1A3-355F0827A33F}"/>
              </c:ext>
            </c:extLst>
          </c:dPt>
          <c:dPt>
            <c:idx val="30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8-27DC-4977-B1A3-355F0827A33F}"/>
              </c:ext>
            </c:extLst>
          </c:dPt>
          <c:dPt>
            <c:idx val="30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9-27DC-4977-B1A3-355F0827A33F}"/>
              </c:ext>
            </c:extLst>
          </c:dPt>
          <c:dPt>
            <c:idx val="30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A-27DC-4977-B1A3-355F0827A33F}"/>
              </c:ext>
            </c:extLst>
          </c:dPt>
          <c:dPt>
            <c:idx val="30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B-27DC-4977-B1A3-355F0827A33F}"/>
              </c:ext>
            </c:extLst>
          </c:dPt>
          <c:dPt>
            <c:idx val="30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C-27DC-4977-B1A3-355F0827A33F}"/>
              </c:ext>
            </c:extLst>
          </c:dPt>
          <c:dPt>
            <c:idx val="30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D-27DC-4977-B1A3-355F0827A33F}"/>
              </c:ext>
            </c:extLst>
          </c:dPt>
          <c:dPt>
            <c:idx val="30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E-27DC-4977-B1A3-355F0827A33F}"/>
              </c:ext>
            </c:extLst>
          </c:dPt>
          <c:dPt>
            <c:idx val="30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8FF-27DC-4977-B1A3-355F0827A33F}"/>
              </c:ext>
            </c:extLst>
          </c:dPt>
          <c:dPt>
            <c:idx val="30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0-27DC-4977-B1A3-355F0827A33F}"/>
              </c:ext>
            </c:extLst>
          </c:dPt>
          <c:dPt>
            <c:idx val="31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1-27DC-4977-B1A3-355F0827A33F}"/>
              </c:ext>
            </c:extLst>
          </c:dPt>
          <c:dPt>
            <c:idx val="31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2-27DC-4977-B1A3-355F0827A33F}"/>
              </c:ext>
            </c:extLst>
          </c:dPt>
          <c:dPt>
            <c:idx val="31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3-27DC-4977-B1A3-355F0827A33F}"/>
              </c:ext>
            </c:extLst>
          </c:dPt>
          <c:dPt>
            <c:idx val="31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4-27DC-4977-B1A3-355F0827A33F}"/>
              </c:ext>
            </c:extLst>
          </c:dPt>
          <c:dPt>
            <c:idx val="31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5-27DC-4977-B1A3-355F0827A33F}"/>
              </c:ext>
            </c:extLst>
          </c:dPt>
          <c:dPt>
            <c:idx val="31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6-27DC-4977-B1A3-355F0827A33F}"/>
              </c:ext>
            </c:extLst>
          </c:dPt>
          <c:dPt>
            <c:idx val="31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7-27DC-4977-B1A3-355F0827A33F}"/>
              </c:ext>
            </c:extLst>
          </c:dPt>
          <c:dPt>
            <c:idx val="31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8-27DC-4977-B1A3-355F0827A33F}"/>
              </c:ext>
            </c:extLst>
          </c:dPt>
          <c:dPt>
            <c:idx val="31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9-27DC-4977-B1A3-355F0827A33F}"/>
              </c:ext>
            </c:extLst>
          </c:dPt>
          <c:dPt>
            <c:idx val="31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A-27DC-4977-B1A3-355F0827A33F}"/>
              </c:ext>
            </c:extLst>
          </c:dPt>
          <c:dPt>
            <c:idx val="32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B-27DC-4977-B1A3-355F0827A33F}"/>
              </c:ext>
            </c:extLst>
          </c:dPt>
          <c:dPt>
            <c:idx val="32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C-27DC-4977-B1A3-355F0827A33F}"/>
              </c:ext>
            </c:extLst>
          </c:dPt>
          <c:dPt>
            <c:idx val="32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D-27DC-4977-B1A3-355F0827A33F}"/>
              </c:ext>
            </c:extLst>
          </c:dPt>
          <c:dPt>
            <c:idx val="32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E-27DC-4977-B1A3-355F0827A33F}"/>
              </c:ext>
            </c:extLst>
          </c:dPt>
          <c:dPt>
            <c:idx val="32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0F-27DC-4977-B1A3-355F0827A33F}"/>
              </c:ext>
            </c:extLst>
          </c:dPt>
          <c:dPt>
            <c:idx val="32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0-27DC-4977-B1A3-355F0827A33F}"/>
              </c:ext>
            </c:extLst>
          </c:dPt>
          <c:dPt>
            <c:idx val="32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1-27DC-4977-B1A3-355F0827A33F}"/>
              </c:ext>
            </c:extLst>
          </c:dPt>
          <c:dPt>
            <c:idx val="32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2-27DC-4977-B1A3-355F0827A33F}"/>
              </c:ext>
            </c:extLst>
          </c:dPt>
          <c:dPt>
            <c:idx val="32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3-27DC-4977-B1A3-355F0827A33F}"/>
              </c:ext>
            </c:extLst>
          </c:dPt>
          <c:dPt>
            <c:idx val="32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4-27DC-4977-B1A3-355F0827A33F}"/>
              </c:ext>
            </c:extLst>
          </c:dPt>
          <c:dPt>
            <c:idx val="33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5-27DC-4977-B1A3-355F0827A33F}"/>
              </c:ext>
            </c:extLst>
          </c:dPt>
          <c:dPt>
            <c:idx val="33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6-27DC-4977-B1A3-355F0827A33F}"/>
              </c:ext>
            </c:extLst>
          </c:dPt>
          <c:dPt>
            <c:idx val="33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7-27DC-4977-B1A3-355F0827A33F}"/>
              </c:ext>
            </c:extLst>
          </c:dPt>
          <c:dPt>
            <c:idx val="33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8-27DC-4977-B1A3-355F0827A33F}"/>
              </c:ext>
            </c:extLst>
          </c:dPt>
          <c:dPt>
            <c:idx val="33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9-27DC-4977-B1A3-355F0827A33F}"/>
              </c:ext>
            </c:extLst>
          </c:dPt>
          <c:dPt>
            <c:idx val="33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A-27DC-4977-B1A3-355F0827A33F}"/>
              </c:ext>
            </c:extLst>
          </c:dPt>
          <c:dPt>
            <c:idx val="33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B-27DC-4977-B1A3-355F0827A33F}"/>
              </c:ext>
            </c:extLst>
          </c:dPt>
          <c:dPt>
            <c:idx val="33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C-27DC-4977-B1A3-355F0827A33F}"/>
              </c:ext>
            </c:extLst>
          </c:dPt>
          <c:dPt>
            <c:idx val="33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D-27DC-4977-B1A3-355F0827A33F}"/>
              </c:ext>
            </c:extLst>
          </c:dPt>
          <c:dPt>
            <c:idx val="33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E-27DC-4977-B1A3-355F0827A33F}"/>
              </c:ext>
            </c:extLst>
          </c:dPt>
          <c:dPt>
            <c:idx val="34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1F-27DC-4977-B1A3-355F0827A33F}"/>
              </c:ext>
            </c:extLst>
          </c:dPt>
          <c:dPt>
            <c:idx val="34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0-27DC-4977-B1A3-355F0827A33F}"/>
              </c:ext>
            </c:extLst>
          </c:dPt>
          <c:dPt>
            <c:idx val="34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1-27DC-4977-B1A3-355F0827A33F}"/>
              </c:ext>
            </c:extLst>
          </c:dPt>
          <c:dPt>
            <c:idx val="34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2-27DC-4977-B1A3-355F0827A33F}"/>
              </c:ext>
            </c:extLst>
          </c:dPt>
          <c:dPt>
            <c:idx val="34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3-27DC-4977-B1A3-355F0827A33F}"/>
              </c:ext>
            </c:extLst>
          </c:dPt>
          <c:dPt>
            <c:idx val="34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4-27DC-4977-B1A3-355F0827A33F}"/>
              </c:ext>
            </c:extLst>
          </c:dPt>
          <c:dPt>
            <c:idx val="34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5-27DC-4977-B1A3-355F0827A33F}"/>
              </c:ext>
            </c:extLst>
          </c:dPt>
          <c:dPt>
            <c:idx val="34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6-27DC-4977-B1A3-355F0827A33F}"/>
              </c:ext>
            </c:extLst>
          </c:dPt>
          <c:dPt>
            <c:idx val="34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7-27DC-4977-B1A3-355F0827A33F}"/>
              </c:ext>
            </c:extLst>
          </c:dPt>
          <c:dPt>
            <c:idx val="34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8-27DC-4977-B1A3-355F0827A33F}"/>
              </c:ext>
            </c:extLst>
          </c:dPt>
          <c:dPt>
            <c:idx val="35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9-27DC-4977-B1A3-355F0827A33F}"/>
              </c:ext>
            </c:extLst>
          </c:dPt>
          <c:dPt>
            <c:idx val="35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A-27DC-4977-B1A3-355F0827A33F}"/>
              </c:ext>
            </c:extLst>
          </c:dPt>
          <c:dPt>
            <c:idx val="35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B-27DC-4977-B1A3-355F0827A33F}"/>
              </c:ext>
            </c:extLst>
          </c:dPt>
          <c:dPt>
            <c:idx val="35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C-27DC-4977-B1A3-355F0827A33F}"/>
              </c:ext>
            </c:extLst>
          </c:dPt>
          <c:dPt>
            <c:idx val="35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D-27DC-4977-B1A3-355F0827A33F}"/>
              </c:ext>
            </c:extLst>
          </c:dPt>
          <c:dPt>
            <c:idx val="35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E-27DC-4977-B1A3-355F0827A33F}"/>
              </c:ext>
            </c:extLst>
          </c:dPt>
          <c:dPt>
            <c:idx val="35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2F-27DC-4977-B1A3-355F0827A33F}"/>
              </c:ext>
            </c:extLst>
          </c:dPt>
          <c:dPt>
            <c:idx val="35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0-27DC-4977-B1A3-355F0827A33F}"/>
              </c:ext>
            </c:extLst>
          </c:dPt>
          <c:dPt>
            <c:idx val="35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1-27DC-4977-B1A3-355F0827A33F}"/>
              </c:ext>
            </c:extLst>
          </c:dPt>
          <c:dPt>
            <c:idx val="35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2-27DC-4977-B1A3-355F0827A33F}"/>
              </c:ext>
            </c:extLst>
          </c:dPt>
          <c:dPt>
            <c:idx val="36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3-27DC-4977-B1A3-355F0827A33F}"/>
              </c:ext>
            </c:extLst>
          </c:dPt>
          <c:dPt>
            <c:idx val="36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4-27DC-4977-B1A3-355F0827A33F}"/>
              </c:ext>
            </c:extLst>
          </c:dPt>
          <c:dPt>
            <c:idx val="36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5-27DC-4977-B1A3-355F0827A33F}"/>
              </c:ext>
            </c:extLst>
          </c:dPt>
          <c:dPt>
            <c:idx val="36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6-27DC-4977-B1A3-355F0827A33F}"/>
              </c:ext>
            </c:extLst>
          </c:dPt>
          <c:dPt>
            <c:idx val="36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7-27DC-4977-B1A3-355F0827A33F}"/>
              </c:ext>
            </c:extLst>
          </c:dPt>
          <c:dPt>
            <c:idx val="36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8-27DC-4977-B1A3-355F0827A33F}"/>
              </c:ext>
            </c:extLst>
          </c:dPt>
          <c:dPt>
            <c:idx val="36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9-27DC-4977-B1A3-355F0827A33F}"/>
              </c:ext>
            </c:extLst>
          </c:dPt>
          <c:dPt>
            <c:idx val="36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A-27DC-4977-B1A3-355F0827A33F}"/>
              </c:ext>
            </c:extLst>
          </c:dPt>
          <c:dPt>
            <c:idx val="36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B-27DC-4977-B1A3-355F0827A33F}"/>
              </c:ext>
            </c:extLst>
          </c:dPt>
          <c:dPt>
            <c:idx val="36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C-27DC-4977-B1A3-355F0827A33F}"/>
              </c:ext>
            </c:extLst>
          </c:dPt>
          <c:dPt>
            <c:idx val="37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D-27DC-4977-B1A3-355F0827A33F}"/>
              </c:ext>
            </c:extLst>
          </c:dPt>
          <c:dPt>
            <c:idx val="37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E-27DC-4977-B1A3-355F0827A33F}"/>
              </c:ext>
            </c:extLst>
          </c:dPt>
          <c:dPt>
            <c:idx val="37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3F-27DC-4977-B1A3-355F0827A33F}"/>
              </c:ext>
            </c:extLst>
          </c:dPt>
          <c:dPt>
            <c:idx val="37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0-27DC-4977-B1A3-355F0827A33F}"/>
              </c:ext>
            </c:extLst>
          </c:dPt>
          <c:dPt>
            <c:idx val="37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1-27DC-4977-B1A3-355F0827A33F}"/>
              </c:ext>
            </c:extLst>
          </c:dPt>
          <c:dPt>
            <c:idx val="37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2-27DC-4977-B1A3-355F0827A33F}"/>
              </c:ext>
            </c:extLst>
          </c:dPt>
          <c:dPt>
            <c:idx val="37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3-27DC-4977-B1A3-355F0827A33F}"/>
              </c:ext>
            </c:extLst>
          </c:dPt>
          <c:dPt>
            <c:idx val="37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4-27DC-4977-B1A3-355F0827A33F}"/>
              </c:ext>
            </c:extLst>
          </c:dPt>
          <c:dPt>
            <c:idx val="37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5-27DC-4977-B1A3-355F0827A33F}"/>
              </c:ext>
            </c:extLst>
          </c:dPt>
          <c:dPt>
            <c:idx val="37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6-27DC-4977-B1A3-355F0827A33F}"/>
              </c:ext>
            </c:extLst>
          </c:dPt>
          <c:dPt>
            <c:idx val="38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7-27DC-4977-B1A3-355F0827A33F}"/>
              </c:ext>
            </c:extLst>
          </c:dPt>
          <c:dPt>
            <c:idx val="38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8-27DC-4977-B1A3-355F0827A33F}"/>
              </c:ext>
            </c:extLst>
          </c:dPt>
          <c:dPt>
            <c:idx val="38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9-27DC-4977-B1A3-355F0827A33F}"/>
              </c:ext>
            </c:extLst>
          </c:dPt>
          <c:dPt>
            <c:idx val="38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A-27DC-4977-B1A3-355F0827A33F}"/>
              </c:ext>
            </c:extLst>
          </c:dPt>
          <c:dPt>
            <c:idx val="38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B-27DC-4977-B1A3-355F0827A33F}"/>
              </c:ext>
            </c:extLst>
          </c:dPt>
          <c:dPt>
            <c:idx val="38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C-27DC-4977-B1A3-355F0827A33F}"/>
              </c:ext>
            </c:extLst>
          </c:dPt>
          <c:dPt>
            <c:idx val="38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D-27DC-4977-B1A3-355F0827A33F}"/>
              </c:ext>
            </c:extLst>
          </c:dPt>
          <c:dPt>
            <c:idx val="38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E-27DC-4977-B1A3-355F0827A33F}"/>
              </c:ext>
            </c:extLst>
          </c:dPt>
          <c:dPt>
            <c:idx val="38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4F-27DC-4977-B1A3-355F0827A33F}"/>
              </c:ext>
            </c:extLst>
          </c:dPt>
          <c:dPt>
            <c:idx val="38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0-27DC-4977-B1A3-355F0827A33F}"/>
              </c:ext>
            </c:extLst>
          </c:dPt>
          <c:dPt>
            <c:idx val="39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1-27DC-4977-B1A3-355F0827A33F}"/>
              </c:ext>
            </c:extLst>
          </c:dPt>
          <c:dPt>
            <c:idx val="39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2-27DC-4977-B1A3-355F0827A33F}"/>
              </c:ext>
            </c:extLst>
          </c:dPt>
          <c:dPt>
            <c:idx val="39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3-27DC-4977-B1A3-355F0827A33F}"/>
              </c:ext>
            </c:extLst>
          </c:dPt>
          <c:dPt>
            <c:idx val="39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4-27DC-4977-B1A3-355F0827A33F}"/>
              </c:ext>
            </c:extLst>
          </c:dPt>
          <c:dPt>
            <c:idx val="39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5-27DC-4977-B1A3-355F0827A33F}"/>
              </c:ext>
            </c:extLst>
          </c:dPt>
          <c:dPt>
            <c:idx val="39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6-27DC-4977-B1A3-355F0827A33F}"/>
              </c:ext>
            </c:extLst>
          </c:dPt>
          <c:dPt>
            <c:idx val="39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7-27DC-4977-B1A3-355F0827A33F}"/>
              </c:ext>
            </c:extLst>
          </c:dPt>
          <c:dPt>
            <c:idx val="39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8-27DC-4977-B1A3-355F0827A33F}"/>
              </c:ext>
            </c:extLst>
          </c:dPt>
          <c:dPt>
            <c:idx val="39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9-27DC-4977-B1A3-355F0827A33F}"/>
              </c:ext>
            </c:extLst>
          </c:dPt>
          <c:dPt>
            <c:idx val="39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A-27DC-4977-B1A3-355F0827A33F}"/>
              </c:ext>
            </c:extLst>
          </c:dPt>
          <c:dPt>
            <c:idx val="40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B-27DC-4977-B1A3-355F0827A33F}"/>
              </c:ext>
            </c:extLst>
          </c:dPt>
          <c:dPt>
            <c:idx val="40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C-27DC-4977-B1A3-355F0827A33F}"/>
              </c:ext>
            </c:extLst>
          </c:dPt>
          <c:dPt>
            <c:idx val="40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D-27DC-4977-B1A3-355F0827A33F}"/>
              </c:ext>
            </c:extLst>
          </c:dPt>
          <c:dPt>
            <c:idx val="40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E-27DC-4977-B1A3-355F0827A33F}"/>
              </c:ext>
            </c:extLst>
          </c:dPt>
          <c:dPt>
            <c:idx val="40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5F-27DC-4977-B1A3-355F0827A33F}"/>
              </c:ext>
            </c:extLst>
          </c:dPt>
          <c:dPt>
            <c:idx val="40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0-27DC-4977-B1A3-355F0827A33F}"/>
              </c:ext>
            </c:extLst>
          </c:dPt>
          <c:dPt>
            <c:idx val="40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1-27DC-4977-B1A3-355F0827A33F}"/>
              </c:ext>
            </c:extLst>
          </c:dPt>
          <c:dPt>
            <c:idx val="40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2-27DC-4977-B1A3-355F0827A33F}"/>
              </c:ext>
            </c:extLst>
          </c:dPt>
          <c:dPt>
            <c:idx val="40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3-27DC-4977-B1A3-355F0827A33F}"/>
              </c:ext>
            </c:extLst>
          </c:dPt>
          <c:dPt>
            <c:idx val="40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4-27DC-4977-B1A3-355F0827A33F}"/>
              </c:ext>
            </c:extLst>
          </c:dPt>
          <c:dPt>
            <c:idx val="41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5-27DC-4977-B1A3-355F0827A33F}"/>
              </c:ext>
            </c:extLst>
          </c:dPt>
          <c:dPt>
            <c:idx val="41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6-27DC-4977-B1A3-355F0827A33F}"/>
              </c:ext>
            </c:extLst>
          </c:dPt>
          <c:dPt>
            <c:idx val="41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7-27DC-4977-B1A3-355F0827A33F}"/>
              </c:ext>
            </c:extLst>
          </c:dPt>
          <c:dPt>
            <c:idx val="41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8-27DC-4977-B1A3-355F0827A33F}"/>
              </c:ext>
            </c:extLst>
          </c:dPt>
          <c:dPt>
            <c:idx val="41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9-27DC-4977-B1A3-355F0827A33F}"/>
              </c:ext>
            </c:extLst>
          </c:dPt>
          <c:dPt>
            <c:idx val="41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A-27DC-4977-B1A3-355F0827A33F}"/>
              </c:ext>
            </c:extLst>
          </c:dPt>
          <c:dPt>
            <c:idx val="41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B-27DC-4977-B1A3-355F0827A33F}"/>
              </c:ext>
            </c:extLst>
          </c:dPt>
          <c:dPt>
            <c:idx val="41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C-27DC-4977-B1A3-355F0827A33F}"/>
              </c:ext>
            </c:extLst>
          </c:dPt>
          <c:dPt>
            <c:idx val="41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D-27DC-4977-B1A3-355F0827A33F}"/>
              </c:ext>
            </c:extLst>
          </c:dPt>
          <c:dPt>
            <c:idx val="41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E-27DC-4977-B1A3-355F0827A33F}"/>
              </c:ext>
            </c:extLst>
          </c:dPt>
          <c:dPt>
            <c:idx val="42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6F-27DC-4977-B1A3-355F0827A33F}"/>
              </c:ext>
            </c:extLst>
          </c:dPt>
          <c:dPt>
            <c:idx val="42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0-27DC-4977-B1A3-355F0827A33F}"/>
              </c:ext>
            </c:extLst>
          </c:dPt>
          <c:dPt>
            <c:idx val="42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1-27DC-4977-B1A3-355F0827A33F}"/>
              </c:ext>
            </c:extLst>
          </c:dPt>
          <c:dPt>
            <c:idx val="42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2-27DC-4977-B1A3-355F0827A33F}"/>
              </c:ext>
            </c:extLst>
          </c:dPt>
          <c:dPt>
            <c:idx val="42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3-27DC-4977-B1A3-355F0827A33F}"/>
              </c:ext>
            </c:extLst>
          </c:dPt>
          <c:dPt>
            <c:idx val="42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4-27DC-4977-B1A3-355F0827A33F}"/>
              </c:ext>
            </c:extLst>
          </c:dPt>
          <c:dPt>
            <c:idx val="42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5-27DC-4977-B1A3-355F0827A33F}"/>
              </c:ext>
            </c:extLst>
          </c:dPt>
          <c:dPt>
            <c:idx val="42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6-27DC-4977-B1A3-355F0827A33F}"/>
              </c:ext>
            </c:extLst>
          </c:dPt>
          <c:dPt>
            <c:idx val="42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7-27DC-4977-B1A3-355F0827A33F}"/>
              </c:ext>
            </c:extLst>
          </c:dPt>
          <c:dPt>
            <c:idx val="42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8-27DC-4977-B1A3-355F0827A33F}"/>
              </c:ext>
            </c:extLst>
          </c:dPt>
          <c:dPt>
            <c:idx val="43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9-27DC-4977-B1A3-355F0827A33F}"/>
              </c:ext>
            </c:extLst>
          </c:dPt>
          <c:dPt>
            <c:idx val="43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A-27DC-4977-B1A3-355F0827A33F}"/>
              </c:ext>
            </c:extLst>
          </c:dPt>
          <c:dPt>
            <c:idx val="43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B-27DC-4977-B1A3-355F0827A33F}"/>
              </c:ext>
            </c:extLst>
          </c:dPt>
          <c:dPt>
            <c:idx val="43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C-27DC-4977-B1A3-355F0827A33F}"/>
              </c:ext>
            </c:extLst>
          </c:dPt>
          <c:dPt>
            <c:idx val="43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D-27DC-4977-B1A3-355F0827A33F}"/>
              </c:ext>
            </c:extLst>
          </c:dPt>
          <c:dPt>
            <c:idx val="43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E-27DC-4977-B1A3-355F0827A33F}"/>
              </c:ext>
            </c:extLst>
          </c:dPt>
          <c:dPt>
            <c:idx val="43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7F-27DC-4977-B1A3-355F0827A33F}"/>
              </c:ext>
            </c:extLst>
          </c:dPt>
          <c:dPt>
            <c:idx val="43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0-27DC-4977-B1A3-355F0827A33F}"/>
              </c:ext>
            </c:extLst>
          </c:dPt>
          <c:dPt>
            <c:idx val="43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1-27DC-4977-B1A3-355F0827A33F}"/>
              </c:ext>
            </c:extLst>
          </c:dPt>
          <c:dPt>
            <c:idx val="43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2-27DC-4977-B1A3-355F0827A33F}"/>
              </c:ext>
            </c:extLst>
          </c:dPt>
          <c:dPt>
            <c:idx val="44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3-27DC-4977-B1A3-355F0827A33F}"/>
              </c:ext>
            </c:extLst>
          </c:dPt>
          <c:dPt>
            <c:idx val="44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4-27DC-4977-B1A3-355F0827A33F}"/>
              </c:ext>
            </c:extLst>
          </c:dPt>
          <c:dPt>
            <c:idx val="44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5-27DC-4977-B1A3-355F0827A33F}"/>
              </c:ext>
            </c:extLst>
          </c:dPt>
          <c:dPt>
            <c:idx val="44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6-27DC-4977-B1A3-355F0827A33F}"/>
              </c:ext>
            </c:extLst>
          </c:dPt>
          <c:dPt>
            <c:idx val="44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7-27DC-4977-B1A3-355F0827A33F}"/>
              </c:ext>
            </c:extLst>
          </c:dPt>
          <c:dPt>
            <c:idx val="44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8-27DC-4977-B1A3-355F0827A33F}"/>
              </c:ext>
            </c:extLst>
          </c:dPt>
          <c:dPt>
            <c:idx val="44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9-27DC-4977-B1A3-355F0827A33F}"/>
              </c:ext>
            </c:extLst>
          </c:dPt>
          <c:dPt>
            <c:idx val="44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A-27DC-4977-B1A3-355F0827A33F}"/>
              </c:ext>
            </c:extLst>
          </c:dPt>
          <c:dPt>
            <c:idx val="44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B-27DC-4977-B1A3-355F0827A33F}"/>
              </c:ext>
            </c:extLst>
          </c:dPt>
          <c:dPt>
            <c:idx val="44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C-27DC-4977-B1A3-355F0827A33F}"/>
              </c:ext>
            </c:extLst>
          </c:dPt>
          <c:dPt>
            <c:idx val="45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D-27DC-4977-B1A3-355F0827A33F}"/>
              </c:ext>
            </c:extLst>
          </c:dPt>
          <c:dPt>
            <c:idx val="45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E-27DC-4977-B1A3-355F0827A33F}"/>
              </c:ext>
            </c:extLst>
          </c:dPt>
          <c:dPt>
            <c:idx val="45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8F-27DC-4977-B1A3-355F0827A33F}"/>
              </c:ext>
            </c:extLst>
          </c:dPt>
          <c:dPt>
            <c:idx val="45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0-27DC-4977-B1A3-355F0827A33F}"/>
              </c:ext>
            </c:extLst>
          </c:dPt>
          <c:dPt>
            <c:idx val="45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1-27DC-4977-B1A3-355F0827A33F}"/>
              </c:ext>
            </c:extLst>
          </c:dPt>
          <c:dPt>
            <c:idx val="45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2-27DC-4977-B1A3-355F0827A33F}"/>
              </c:ext>
            </c:extLst>
          </c:dPt>
          <c:dPt>
            <c:idx val="45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3-27DC-4977-B1A3-355F0827A33F}"/>
              </c:ext>
            </c:extLst>
          </c:dPt>
          <c:dPt>
            <c:idx val="45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4-27DC-4977-B1A3-355F0827A33F}"/>
              </c:ext>
            </c:extLst>
          </c:dPt>
          <c:dPt>
            <c:idx val="45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5-27DC-4977-B1A3-355F0827A33F}"/>
              </c:ext>
            </c:extLst>
          </c:dPt>
          <c:dPt>
            <c:idx val="45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6-27DC-4977-B1A3-355F0827A33F}"/>
              </c:ext>
            </c:extLst>
          </c:dPt>
          <c:dPt>
            <c:idx val="46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7-27DC-4977-B1A3-355F0827A33F}"/>
              </c:ext>
            </c:extLst>
          </c:dPt>
          <c:dPt>
            <c:idx val="46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8-27DC-4977-B1A3-355F0827A33F}"/>
              </c:ext>
            </c:extLst>
          </c:dPt>
          <c:dPt>
            <c:idx val="46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9-27DC-4977-B1A3-355F0827A33F}"/>
              </c:ext>
            </c:extLst>
          </c:dPt>
          <c:dPt>
            <c:idx val="46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A-27DC-4977-B1A3-355F0827A33F}"/>
              </c:ext>
            </c:extLst>
          </c:dPt>
          <c:dPt>
            <c:idx val="46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B-27DC-4977-B1A3-355F0827A33F}"/>
              </c:ext>
            </c:extLst>
          </c:dPt>
          <c:dPt>
            <c:idx val="46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C-27DC-4977-B1A3-355F0827A33F}"/>
              </c:ext>
            </c:extLst>
          </c:dPt>
          <c:dPt>
            <c:idx val="46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D-27DC-4977-B1A3-355F0827A33F}"/>
              </c:ext>
            </c:extLst>
          </c:dPt>
          <c:dPt>
            <c:idx val="46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E-27DC-4977-B1A3-355F0827A33F}"/>
              </c:ext>
            </c:extLst>
          </c:dPt>
          <c:dPt>
            <c:idx val="46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9F-27DC-4977-B1A3-355F0827A33F}"/>
              </c:ext>
            </c:extLst>
          </c:dPt>
          <c:dPt>
            <c:idx val="46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0-27DC-4977-B1A3-355F0827A33F}"/>
              </c:ext>
            </c:extLst>
          </c:dPt>
          <c:dPt>
            <c:idx val="47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1-27DC-4977-B1A3-355F0827A33F}"/>
              </c:ext>
            </c:extLst>
          </c:dPt>
          <c:dPt>
            <c:idx val="47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2-27DC-4977-B1A3-355F0827A33F}"/>
              </c:ext>
            </c:extLst>
          </c:dPt>
          <c:dPt>
            <c:idx val="47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3-27DC-4977-B1A3-355F0827A33F}"/>
              </c:ext>
            </c:extLst>
          </c:dPt>
          <c:dPt>
            <c:idx val="47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4-27DC-4977-B1A3-355F0827A33F}"/>
              </c:ext>
            </c:extLst>
          </c:dPt>
          <c:dPt>
            <c:idx val="47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5-27DC-4977-B1A3-355F0827A33F}"/>
              </c:ext>
            </c:extLst>
          </c:dPt>
          <c:dPt>
            <c:idx val="47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6-27DC-4977-B1A3-355F0827A33F}"/>
              </c:ext>
            </c:extLst>
          </c:dPt>
          <c:dPt>
            <c:idx val="47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7-27DC-4977-B1A3-355F0827A33F}"/>
              </c:ext>
            </c:extLst>
          </c:dPt>
          <c:dPt>
            <c:idx val="47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8-27DC-4977-B1A3-355F0827A33F}"/>
              </c:ext>
            </c:extLst>
          </c:dPt>
          <c:dPt>
            <c:idx val="47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9-27DC-4977-B1A3-355F0827A33F}"/>
              </c:ext>
            </c:extLst>
          </c:dPt>
          <c:dPt>
            <c:idx val="47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A-27DC-4977-B1A3-355F0827A33F}"/>
              </c:ext>
            </c:extLst>
          </c:dPt>
          <c:dPt>
            <c:idx val="48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B-27DC-4977-B1A3-355F0827A33F}"/>
              </c:ext>
            </c:extLst>
          </c:dPt>
          <c:dPt>
            <c:idx val="48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C-27DC-4977-B1A3-355F0827A33F}"/>
              </c:ext>
            </c:extLst>
          </c:dPt>
          <c:dPt>
            <c:idx val="48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D-27DC-4977-B1A3-355F0827A33F}"/>
              </c:ext>
            </c:extLst>
          </c:dPt>
          <c:dPt>
            <c:idx val="48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E-27DC-4977-B1A3-355F0827A33F}"/>
              </c:ext>
            </c:extLst>
          </c:dPt>
          <c:dPt>
            <c:idx val="48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AF-27DC-4977-B1A3-355F0827A33F}"/>
              </c:ext>
            </c:extLst>
          </c:dPt>
          <c:dPt>
            <c:idx val="48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0-27DC-4977-B1A3-355F0827A33F}"/>
              </c:ext>
            </c:extLst>
          </c:dPt>
          <c:dPt>
            <c:idx val="48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1-27DC-4977-B1A3-355F0827A33F}"/>
              </c:ext>
            </c:extLst>
          </c:dPt>
          <c:dPt>
            <c:idx val="48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2-27DC-4977-B1A3-355F0827A33F}"/>
              </c:ext>
            </c:extLst>
          </c:dPt>
          <c:dPt>
            <c:idx val="48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3-27DC-4977-B1A3-355F0827A33F}"/>
              </c:ext>
            </c:extLst>
          </c:dPt>
          <c:dPt>
            <c:idx val="48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4-27DC-4977-B1A3-355F0827A33F}"/>
              </c:ext>
            </c:extLst>
          </c:dPt>
          <c:dPt>
            <c:idx val="49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5-27DC-4977-B1A3-355F0827A33F}"/>
              </c:ext>
            </c:extLst>
          </c:dPt>
          <c:dPt>
            <c:idx val="49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6-27DC-4977-B1A3-355F0827A33F}"/>
              </c:ext>
            </c:extLst>
          </c:dPt>
          <c:dPt>
            <c:idx val="49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7-27DC-4977-B1A3-355F0827A33F}"/>
              </c:ext>
            </c:extLst>
          </c:dPt>
          <c:dPt>
            <c:idx val="49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8-27DC-4977-B1A3-355F0827A33F}"/>
              </c:ext>
            </c:extLst>
          </c:dPt>
          <c:dPt>
            <c:idx val="49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9-27DC-4977-B1A3-355F0827A33F}"/>
              </c:ext>
            </c:extLst>
          </c:dPt>
          <c:dPt>
            <c:idx val="49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A-27DC-4977-B1A3-355F0827A33F}"/>
              </c:ext>
            </c:extLst>
          </c:dPt>
          <c:dPt>
            <c:idx val="49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B-27DC-4977-B1A3-355F0827A33F}"/>
              </c:ext>
            </c:extLst>
          </c:dPt>
          <c:dPt>
            <c:idx val="49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C-27DC-4977-B1A3-355F0827A33F}"/>
              </c:ext>
            </c:extLst>
          </c:dPt>
          <c:dPt>
            <c:idx val="49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D-27DC-4977-B1A3-355F0827A33F}"/>
              </c:ext>
            </c:extLst>
          </c:dPt>
          <c:dPt>
            <c:idx val="49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E-27DC-4977-B1A3-355F0827A33F}"/>
              </c:ext>
            </c:extLst>
          </c:dPt>
          <c:dPt>
            <c:idx val="50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BF-27DC-4977-B1A3-355F0827A33F}"/>
              </c:ext>
            </c:extLst>
          </c:dPt>
          <c:dPt>
            <c:idx val="50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0-27DC-4977-B1A3-355F0827A33F}"/>
              </c:ext>
            </c:extLst>
          </c:dPt>
          <c:dPt>
            <c:idx val="50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1-27DC-4977-B1A3-355F0827A33F}"/>
              </c:ext>
            </c:extLst>
          </c:dPt>
          <c:dPt>
            <c:idx val="50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2-27DC-4977-B1A3-355F0827A33F}"/>
              </c:ext>
            </c:extLst>
          </c:dPt>
          <c:dPt>
            <c:idx val="50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3-27DC-4977-B1A3-355F0827A33F}"/>
              </c:ext>
            </c:extLst>
          </c:dPt>
          <c:dPt>
            <c:idx val="50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4-27DC-4977-B1A3-355F0827A33F}"/>
              </c:ext>
            </c:extLst>
          </c:dPt>
          <c:dPt>
            <c:idx val="50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5-27DC-4977-B1A3-355F0827A33F}"/>
              </c:ext>
            </c:extLst>
          </c:dPt>
          <c:dPt>
            <c:idx val="50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6-27DC-4977-B1A3-355F0827A33F}"/>
              </c:ext>
            </c:extLst>
          </c:dPt>
          <c:dPt>
            <c:idx val="50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7-27DC-4977-B1A3-355F0827A33F}"/>
              </c:ext>
            </c:extLst>
          </c:dPt>
          <c:dPt>
            <c:idx val="50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8-27DC-4977-B1A3-355F0827A33F}"/>
              </c:ext>
            </c:extLst>
          </c:dPt>
          <c:dPt>
            <c:idx val="51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9-27DC-4977-B1A3-355F0827A33F}"/>
              </c:ext>
            </c:extLst>
          </c:dPt>
          <c:dPt>
            <c:idx val="51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A-27DC-4977-B1A3-355F0827A33F}"/>
              </c:ext>
            </c:extLst>
          </c:dPt>
          <c:dPt>
            <c:idx val="51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B-27DC-4977-B1A3-355F0827A33F}"/>
              </c:ext>
            </c:extLst>
          </c:dPt>
          <c:dPt>
            <c:idx val="51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C-27DC-4977-B1A3-355F0827A33F}"/>
              </c:ext>
            </c:extLst>
          </c:dPt>
          <c:dPt>
            <c:idx val="51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D-27DC-4977-B1A3-355F0827A33F}"/>
              </c:ext>
            </c:extLst>
          </c:dPt>
          <c:dPt>
            <c:idx val="51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E-27DC-4977-B1A3-355F0827A33F}"/>
              </c:ext>
            </c:extLst>
          </c:dPt>
          <c:dPt>
            <c:idx val="51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CF-27DC-4977-B1A3-355F0827A33F}"/>
              </c:ext>
            </c:extLst>
          </c:dPt>
          <c:dPt>
            <c:idx val="51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0-27DC-4977-B1A3-355F0827A33F}"/>
              </c:ext>
            </c:extLst>
          </c:dPt>
          <c:dPt>
            <c:idx val="51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1-27DC-4977-B1A3-355F0827A33F}"/>
              </c:ext>
            </c:extLst>
          </c:dPt>
          <c:dPt>
            <c:idx val="51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2-27DC-4977-B1A3-355F0827A33F}"/>
              </c:ext>
            </c:extLst>
          </c:dPt>
          <c:dPt>
            <c:idx val="52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3-27DC-4977-B1A3-355F0827A33F}"/>
              </c:ext>
            </c:extLst>
          </c:dPt>
          <c:dPt>
            <c:idx val="52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4-27DC-4977-B1A3-355F0827A33F}"/>
              </c:ext>
            </c:extLst>
          </c:dPt>
          <c:dPt>
            <c:idx val="52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5-27DC-4977-B1A3-355F0827A33F}"/>
              </c:ext>
            </c:extLst>
          </c:dPt>
          <c:dPt>
            <c:idx val="52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6-27DC-4977-B1A3-355F0827A33F}"/>
              </c:ext>
            </c:extLst>
          </c:dPt>
          <c:dPt>
            <c:idx val="52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7-27DC-4977-B1A3-355F0827A33F}"/>
              </c:ext>
            </c:extLst>
          </c:dPt>
          <c:dPt>
            <c:idx val="52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8-27DC-4977-B1A3-355F0827A33F}"/>
              </c:ext>
            </c:extLst>
          </c:dPt>
          <c:dPt>
            <c:idx val="52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9-27DC-4977-B1A3-355F0827A33F}"/>
              </c:ext>
            </c:extLst>
          </c:dPt>
          <c:dPt>
            <c:idx val="52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A-27DC-4977-B1A3-355F0827A33F}"/>
              </c:ext>
            </c:extLst>
          </c:dPt>
          <c:dPt>
            <c:idx val="52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B-27DC-4977-B1A3-355F0827A33F}"/>
              </c:ext>
            </c:extLst>
          </c:dPt>
          <c:dPt>
            <c:idx val="52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C-27DC-4977-B1A3-355F0827A33F}"/>
              </c:ext>
            </c:extLst>
          </c:dPt>
          <c:dPt>
            <c:idx val="53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D-27DC-4977-B1A3-355F0827A33F}"/>
              </c:ext>
            </c:extLst>
          </c:dPt>
          <c:dPt>
            <c:idx val="53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E-27DC-4977-B1A3-355F0827A33F}"/>
              </c:ext>
            </c:extLst>
          </c:dPt>
          <c:dPt>
            <c:idx val="53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DF-27DC-4977-B1A3-355F0827A33F}"/>
              </c:ext>
            </c:extLst>
          </c:dPt>
          <c:dPt>
            <c:idx val="53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0-27DC-4977-B1A3-355F0827A33F}"/>
              </c:ext>
            </c:extLst>
          </c:dPt>
          <c:dPt>
            <c:idx val="53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1-27DC-4977-B1A3-355F0827A33F}"/>
              </c:ext>
            </c:extLst>
          </c:dPt>
          <c:dPt>
            <c:idx val="53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2-27DC-4977-B1A3-355F0827A33F}"/>
              </c:ext>
            </c:extLst>
          </c:dPt>
          <c:dPt>
            <c:idx val="53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3-27DC-4977-B1A3-355F0827A33F}"/>
              </c:ext>
            </c:extLst>
          </c:dPt>
          <c:dPt>
            <c:idx val="53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4-27DC-4977-B1A3-355F0827A33F}"/>
              </c:ext>
            </c:extLst>
          </c:dPt>
          <c:dPt>
            <c:idx val="53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5-27DC-4977-B1A3-355F0827A33F}"/>
              </c:ext>
            </c:extLst>
          </c:dPt>
          <c:dPt>
            <c:idx val="53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6-27DC-4977-B1A3-355F0827A33F}"/>
              </c:ext>
            </c:extLst>
          </c:dPt>
          <c:dPt>
            <c:idx val="54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7-27DC-4977-B1A3-355F0827A33F}"/>
              </c:ext>
            </c:extLst>
          </c:dPt>
          <c:dPt>
            <c:idx val="54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8-27DC-4977-B1A3-355F0827A33F}"/>
              </c:ext>
            </c:extLst>
          </c:dPt>
          <c:dPt>
            <c:idx val="54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9-27DC-4977-B1A3-355F0827A33F}"/>
              </c:ext>
            </c:extLst>
          </c:dPt>
          <c:dPt>
            <c:idx val="54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A-27DC-4977-B1A3-355F0827A33F}"/>
              </c:ext>
            </c:extLst>
          </c:dPt>
          <c:dPt>
            <c:idx val="54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B-27DC-4977-B1A3-355F0827A33F}"/>
              </c:ext>
            </c:extLst>
          </c:dPt>
          <c:dPt>
            <c:idx val="54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C-27DC-4977-B1A3-355F0827A33F}"/>
              </c:ext>
            </c:extLst>
          </c:dPt>
          <c:dPt>
            <c:idx val="54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D-27DC-4977-B1A3-355F0827A33F}"/>
              </c:ext>
            </c:extLst>
          </c:dPt>
          <c:dPt>
            <c:idx val="54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E-27DC-4977-B1A3-355F0827A33F}"/>
              </c:ext>
            </c:extLst>
          </c:dPt>
          <c:dPt>
            <c:idx val="54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EF-27DC-4977-B1A3-355F0827A33F}"/>
              </c:ext>
            </c:extLst>
          </c:dPt>
          <c:dPt>
            <c:idx val="54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0-27DC-4977-B1A3-355F0827A33F}"/>
              </c:ext>
            </c:extLst>
          </c:dPt>
          <c:dPt>
            <c:idx val="55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1-27DC-4977-B1A3-355F0827A33F}"/>
              </c:ext>
            </c:extLst>
          </c:dPt>
          <c:dPt>
            <c:idx val="55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2-27DC-4977-B1A3-355F0827A33F}"/>
              </c:ext>
            </c:extLst>
          </c:dPt>
          <c:dPt>
            <c:idx val="55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3-27DC-4977-B1A3-355F0827A33F}"/>
              </c:ext>
            </c:extLst>
          </c:dPt>
          <c:dPt>
            <c:idx val="55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4-27DC-4977-B1A3-355F0827A33F}"/>
              </c:ext>
            </c:extLst>
          </c:dPt>
          <c:dPt>
            <c:idx val="55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5-27DC-4977-B1A3-355F0827A33F}"/>
              </c:ext>
            </c:extLst>
          </c:dPt>
          <c:dPt>
            <c:idx val="55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6-27DC-4977-B1A3-355F0827A33F}"/>
              </c:ext>
            </c:extLst>
          </c:dPt>
          <c:dPt>
            <c:idx val="55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7-27DC-4977-B1A3-355F0827A33F}"/>
              </c:ext>
            </c:extLst>
          </c:dPt>
          <c:dPt>
            <c:idx val="55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8-27DC-4977-B1A3-355F0827A33F}"/>
              </c:ext>
            </c:extLst>
          </c:dPt>
          <c:dPt>
            <c:idx val="55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9-27DC-4977-B1A3-355F0827A33F}"/>
              </c:ext>
            </c:extLst>
          </c:dPt>
          <c:dPt>
            <c:idx val="55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A-27DC-4977-B1A3-355F0827A33F}"/>
              </c:ext>
            </c:extLst>
          </c:dPt>
          <c:dPt>
            <c:idx val="56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B-27DC-4977-B1A3-355F0827A33F}"/>
              </c:ext>
            </c:extLst>
          </c:dPt>
          <c:dPt>
            <c:idx val="56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C-27DC-4977-B1A3-355F0827A33F}"/>
              </c:ext>
            </c:extLst>
          </c:dPt>
          <c:dPt>
            <c:idx val="56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D-27DC-4977-B1A3-355F0827A33F}"/>
              </c:ext>
            </c:extLst>
          </c:dPt>
          <c:dPt>
            <c:idx val="56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E-27DC-4977-B1A3-355F0827A33F}"/>
              </c:ext>
            </c:extLst>
          </c:dPt>
          <c:dPt>
            <c:idx val="56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9FF-27DC-4977-B1A3-355F0827A33F}"/>
              </c:ext>
            </c:extLst>
          </c:dPt>
          <c:dPt>
            <c:idx val="56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0-27DC-4977-B1A3-355F0827A33F}"/>
              </c:ext>
            </c:extLst>
          </c:dPt>
          <c:dPt>
            <c:idx val="56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1-27DC-4977-B1A3-355F0827A33F}"/>
              </c:ext>
            </c:extLst>
          </c:dPt>
          <c:dPt>
            <c:idx val="56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2-27DC-4977-B1A3-355F0827A33F}"/>
              </c:ext>
            </c:extLst>
          </c:dPt>
          <c:dPt>
            <c:idx val="56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3-27DC-4977-B1A3-355F0827A33F}"/>
              </c:ext>
            </c:extLst>
          </c:dPt>
          <c:dPt>
            <c:idx val="56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4-27DC-4977-B1A3-355F0827A33F}"/>
              </c:ext>
            </c:extLst>
          </c:dPt>
          <c:dPt>
            <c:idx val="57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5-27DC-4977-B1A3-355F0827A33F}"/>
              </c:ext>
            </c:extLst>
          </c:dPt>
          <c:dPt>
            <c:idx val="57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6-27DC-4977-B1A3-355F0827A33F}"/>
              </c:ext>
            </c:extLst>
          </c:dPt>
          <c:dPt>
            <c:idx val="57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7-27DC-4977-B1A3-355F0827A33F}"/>
              </c:ext>
            </c:extLst>
          </c:dPt>
          <c:dPt>
            <c:idx val="57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8-27DC-4977-B1A3-355F0827A33F}"/>
              </c:ext>
            </c:extLst>
          </c:dPt>
          <c:dPt>
            <c:idx val="57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9-27DC-4977-B1A3-355F0827A33F}"/>
              </c:ext>
            </c:extLst>
          </c:dPt>
          <c:dPt>
            <c:idx val="57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A-27DC-4977-B1A3-355F0827A33F}"/>
              </c:ext>
            </c:extLst>
          </c:dPt>
          <c:dPt>
            <c:idx val="57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B-27DC-4977-B1A3-355F0827A33F}"/>
              </c:ext>
            </c:extLst>
          </c:dPt>
          <c:dPt>
            <c:idx val="57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C-27DC-4977-B1A3-355F0827A33F}"/>
              </c:ext>
            </c:extLst>
          </c:dPt>
          <c:dPt>
            <c:idx val="57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D-27DC-4977-B1A3-355F0827A33F}"/>
              </c:ext>
            </c:extLst>
          </c:dPt>
          <c:dPt>
            <c:idx val="57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E-27DC-4977-B1A3-355F0827A33F}"/>
              </c:ext>
            </c:extLst>
          </c:dPt>
          <c:dPt>
            <c:idx val="58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0F-27DC-4977-B1A3-355F0827A33F}"/>
              </c:ext>
            </c:extLst>
          </c:dPt>
          <c:dPt>
            <c:idx val="58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0-27DC-4977-B1A3-355F0827A33F}"/>
              </c:ext>
            </c:extLst>
          </c:dPt>
          <c:dPt>
            <c:idx val="58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1-27DC-4977-B1A3-355F0827A33F}"/>
              </c:ext>
            </c:extLst>
          </c:dPt>
          <c:dPt>
            <c:idx val="58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2-27DC-4977-B1A3-355F0827A33F}"/>
              </c:ext>
            </c:extLst>
          </c:dPt>
          <c:dPt>
            <c:idx val="58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3-27DC-4977-B1A3-355F0827A33F}"/>
              </c:ext>
            </c:extLst>
          </c:dPt>
          <c:dPt>
            <c:idx val="58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4-27DC-4977-B1A3-355F0827A33F}"/>
              </c:ext>
            </c:extLst>
          </c:dPt>
          <c:dPt>
            <c:idx val="58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5-27DC-4977-B1A3-355F0827A33F}"/>
              </c:ext>
            </c:extLst>
          </c:dPt>
          <c:dPt>
            <c:idx val="58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6-27DC-4977-B1A3-355F0827A33F}"/>
              </c:ext>
            </c:extLst>
          </c:dPt>
          <c:dPt>
            <c:idx val="58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7-27DC-4977-B1A3-355F0827A33F}"/>
              </c:ext>
            </c:extLst>
          </c:dPt>
          <c:dPt>
            <c:idx val="58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8-27DC-4977-B1A3-355F0827A33F}"/>
              </c:ext>
            </c:extLst>
          </c:dPt>
          <c:dPt>
            <c:idx val="59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9-27DC-4977-B1A3-355F0827A33F}"/>
              </c:ext>
            </c:extLst>
          </c:dPt>
          <c:dPt>
            <c:idx val="59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A-27DC-4977-B1A3-355F0827A33F}"/>
              </c:ext>
            </c:extLst>
          </c:dPt>
          <c:dPt>
            <c:idx val="59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B-27DC-4977-B1A3-355F0827A33F}"/>
              </c:ext>
            </c:extLst>
          </c:dPt>
          <c:dPt>
            <c:idx val="59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C-27DC-4977-B1A3-355F0827A33F}"/>
              </c:ext>
            </c:extLst>
          </c:dPt>
          <c:dPt>
            <c:idx val="59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D-27DC-4977-B1A3-355F0827A33F}"/>
              </c:ext>
            </c:extLst>
          </c:dPt>
          <c:dPt>
            <c:idx val="59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E-27DC-4977-B1A3-355F0827A33F}"/>
              </c:ext>
            </c:extLst>
          </c:dPt>
          <c:dPt>
            <c:idx val="59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1F-27DC-4977-B1A3-355F0827A33F}"/>
              </c:ext>
            </c:extLst>
          </c:dPt>
          <c:dPt>
            <c:idx val="59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0-27DC-4977-B1A3-355F0827A33F}"/>
              </c:ext>
            </c:extLst>
          </c:dPt>
          <c:dPt>
            <c:idx val="59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1-27DC-4977-B1A3-355F0827A33F}"/>
              </c:ext>
            </c:extLst>
          </c:dPt>
          <c:dPt>
            <c:idx val="59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2-27DC-4977-B1A3-355F0827A33F}"/>
              </c:ext>
            </c:extLst>
          </c:dPt>
          <c:dPt>
            <c:idx val="60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3-27DC-4977-B1A3-355F0827A33F}"/>
              </c:ext>
            </c:extLst>
          </c:dPt>
          <c:dPt>
            <c:idx val="60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4-27DC-4977-B1A3-355F0827A33F}"/>
              </c:ext>
            </c:extLst>
          </c:dPt>
          <c:dPt>
            <c:idx val="60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5-27DC-4977-B1A3-355F0827A33F}"/>
              </c:ext>
            </c:extLst>
          </c:dPt>
          <c:dPt>
            <c:idx val="60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6-27DC-4977-B1A3-355F0827A33F}"/>
              </c:ext>
            </c:extLst>
          </c:dPt>
          <c:dPt>
            <c:idx val="60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7-27DC-4977-B1A3-355F0827A33F}"/>
              </c:ext>
            </c:extLst>
          </c:dPt>
          <c:dPt>
            <c:idx val="60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8-27DC-4977-B1A3-355F0827A33F}"/>
              </c:ext>
            </c:extLst>
          </c:dPt>
          <c:dPt>
            <c:idx val="60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9-27DC-4977-B1A3-355F0827A33F}"/>
              </c:ext>
            </c:extLst>
          </c:dPt>
          <c:dPt>
            <c:idx val="60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A-27DC-4977-B1A3-355F0827A33F}"/>
              </c:ext>
            </c:extLst>
          </c:dPt>
          <c:dPt>
            <c:idx val="60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B-27DC-4977-B1A3-355F0827A33F}"/>
              </c:ext>
            </c:extLst>
          </c:dPt>
          <c:dPt>
            <c:idx val="60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C-27DC-4977-B1A3-355F0827A33F}"/>
              </c:ext>
            </c:extLst>
          </c:dPt>
          <c:dPt>
            <c:idx val="61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D-27DC-4977-B1A3-355F0827A33F}"/>
              </c:ext>
            </c:extLst>
          </c:dPt>
          <c:dPt>
            <c:idx val="61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E-27DC-4977-B1A3-355F0827A33F}"/>
              </c:ext>
            </c:extLst>
          </c:dPt>
          <c:dPt>
            <c:idx val="61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2F-27DC-4977-B1A3-355F0827A33F}"/>
              </c:ext>
            </c:extLst>
          </c:dPt>
          <c:dPt>
            <c:idx val="61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0-27DC-4977-B1A3-355F0827A33F}"/>
              </c:ext>
            </c:extLst>
          </c:dPt>
          <c:dPt>
            <c:idx val="61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1-27DC-4977-B1A3-355F0827A33F}"/>
              </c:ext>
            </c:extLst>
          </c:dPt>
          <c:dPt>
            <c:idx val="61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2-27DC-4977-B1A3-355F0827A33F}"/>
              </c:ext>
            </c:extLst>
          </c:dPt>
          <c:dPt>
            <c:idx val="61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3-27DC-4977-B1A3-355F0827A33F}"/>
              </c:ext>
            </c:extLst>
          </c:dPt>
          <c:dPt>
            <c:idx val="61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4-27DC-4977-B1A3-355F0827A33F}"/>
              </c:ext>
            </c:extLst>
          </c:dPt>
          <c:dPt>
            <c:idx val="61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5-27DC-4977-B1A3-355F0827A33F}"/>
              </c:ext>
            </c:extLst>
          </c:dPt>
          <c:dPt>
            <c:idx val="61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6-27DC-4977-B1A3-355F0827A33F}"/>
              </c:ext>
            </c:extLst>
          </c:dPt>
          <c:dPt>
            <c:idx val="62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7-27DC-4977-B1A3-355F0827A33F}"/>
              </c:ext>
            </c:extLst>
          </c:dPt>
          <c:dPt>
            <c:idx val="62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8-27DC-4977-B1A3-355F0827A33F}"/>
              </c:ext>
            </c:extLst>
          </c:dPt>
          <c:dPt>
            <c:idx val="62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9-27DC-4977-B1A3-355F0827A33F}"/>
              </c:ext>
            </c:extLst>
          </c:dPt>
          <c:dPt>
            <c:idx val="62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A-27DC-4977-B1A3-355F0827A33F}"/>
              </c:ext>
            </c:extLst>
          </c:dPt>
          <c:dPt>
            <c:idx val="62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B-27DC-4977-B1A3-355F0827A33F}"/>
              </c:ext>
            </c:extLst>
          </c:dPt>
          <c:dPt>
            <c:idx val="62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C-27DC-4977-B1A3-355F0827A33F}"/>
              </c:ext>
            </c:extLst>
          </c:dPt>
          <c:dPt>
            <c:idx val="62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D-27DC-4977-B1A3-355F0827A33F}"/>
              </c:ext>
            </c:extLst>
          </c:dPt>
          <c:dPt>
            <c:idx val="62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E-27DC-4977-B1A3-355F0827A33F}"/>
              </c:ext>
            </c:extLst>
          </c:dPt>
          <c:dPt>
            <c:idx val="62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3F-27DC-4977-B1A3-355F0827A33F}"/>
              </c:ext>
            </c:extLst>
          </c:dPt>
          <c:dPt>
            <c:idx val="62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0-27DC-4977-B1A3-355F0827A33F}"/>
              </c:ext>
            </c:extLst>
          </c:dPt>
          <c:dPt>
            <c:idx val="63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1-27DC-4977-B1A3-355F0827A33F}"/>
              </c:ext>
            </c:extLst>
          </c:dPt>
          <c:dPt>
            <c:idx val="63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2-27DC-4977-B1A3-355F0827A33F}"/>
              </c:ext>
            </c:extLst>
          </c:dPt>
          <c:dPt>
            <c:idx val="63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3-27DC-4977-B1A3-355F0827A33F}"/>
              </c:ext>
            </c:extLst>
          </c:dPt>
          <c:dPt>
            <c:idx val="63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4-27DC-4977-B1A3-355F0827A33F}"/>
              </c:ext>
            </c:extLst>
          </c:dPt>
          <c:dPt>
            <c:idx val="63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5-27DC-4977-B1A3-355F0827A33F}"/>
              </c:ext>
            </c:extLst>
          </c:dPt>
          <c:dPt>
            <c:idx val="63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6-27DC-4977-B1A3-355F0827A33F}"/>
              </c:ext>
            </c:extLst>
          </c:dPt>
          <c:dPt>
            <c:idx val="63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7-27DC-4977-B1A3-355F0827A33F}"/>
              </c:ext>
            </c:extLst>
          </c:dPt>
          <c:dPt>
            <c:idx val="63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8-27DC-4977-B1A3-355F0827A33F}"/>
              </c:ext>
            </c:extLst>
          </c:dPt>
          <c:dPt>
            <c:idx val="63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9-27DC-4977-B1A3-355F0827A33F}"/>
              </c:ext>
            </c:extLst>
          </c:dPt>
          <c:dPt>
            <c:idx val="63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A-27DC-4977-B1A3-355F0827A33F}"/>
              </c:ext>
            </c:extLst>
          </c:dPt>
          <c:dPt>
            <c:idx val="64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B-27DC-4977-B1A3-355F0827A33F}"/>
              </c:ext>
            </c:extLst>
          </c:dPt>
          <c:dPt>
            <c:idx val="64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C-27DC-4977-B1A3-355F0827A33F}"/>
              </c:ext>
            </c:extLst>
          </c:dPt>
          <c:dPt>
            <c:idx val="64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D-27DC-4977-B1A3-355F0827A33F}"/>
              </c:ext>
            </c:extLst>
          </c:dPt>
          <c:dPt>
            <c:idx val="64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E-27DC-4977-B1A3-355F0827A33F}"/>
              </c:ext>
            </c:extLst>
          </c:dPt>
          <c:dPt>
            <c:idx val="64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4F-27DC-4977-B1A3-355F0827A33F}"/>
              </c:ext>
            </c:extLst>
          </c:dPt>
          <c:dPt>
            <c:idx val="64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0-27DC-4977-B1A3-355F0827A33F}"/>
              </c:ext>
            </c:extLst>
          </c:dPt>
          <c:dPt>
            <c:idx val="64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1-27DC-4977-B1A3-355F0827A33F}"/>
              </c:ext>
            </c:extLst>
          </c:dPt>
          <c:dPt>
            <c:idx val="64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2-27DC-4977-B1A3-355F0827A33F}"/>
              </c:ext>
            </c:extLst>
          </c:dPt>
          <c:dPt>
            <c:idx val="64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3-27DC-4977-B1A3-355F0827A33F}"/>
              </c:ext>
            </c:extLst>
          </c:dPt>
          <c:dPt>
            <c:idx val="64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4-27DC-4977-B1A3-355F0827A33F}"/>
              </c:ext>
            </c:extLst>
          </c:dPt>
          <c:dPt>
            <c:idx val="65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5-27DC-4977-B1A3-355F0827A33F}"/>
              </c:ext>
            </c:extLst>
          </c:dPt>
          <c:dPt>
            <c:idx val="65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6-27DC-4977-B1A3-355F0827A33F}"/>
              </c:ext>
            </c:extLst>
          </c:dPt>
          <c:dPt>
            <c:idx val="65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7-27DC-4977-B1A3-355F0827A33F}"/>
              </c:ext>
            </c:extLst>
          </c:dPt>
          <c:dPt>
            <c:idx val="65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8-27DC-4977-B1A3-355F0827A33F}"/>
              </c:ext>
            </c:extLst>
          </c:dPt>
          <c:dPt>
            <c:idx val="65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9-27DC-4977-B1A3-355F0827A33F}"/>
              </c:ext>
            </c:extLst>
          </c:dPt>
          <c:dPt>
            <c:idx val="65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A-27DC-4977-B1A3-355F0827A33F}"/>
              </c:ext>
            </c:extLst>
          </c:dPt>
          <c:dPt>
            <c:idx val="65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B-27DC-4977-B1A3-355F0827A33F}"/>
              </c:ext>
            </c:extLst>
          </c:dPt>
          <c:dPt>
            <c:idx val="65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C-27DC-4977-B1A3-355F0827A33F}"/>
              </c:ext>
            </c:extLst>
          </c:dPt>
          <c:dPt>
            <c:idx val="65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D-27DC-4977-B1A3-355F0827A33F}"/>
              </c:ext>
            </c:extLst>
          </c:dPt>
          <c:dPt>
            <c:idx val="65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E-27DC-4977-B1A3-355F0827A33F}"/>
              </c:ext>
            </c:extLst>
          </c:dPt>
          <c:dPt>
            <c:idx val="66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5F-27DC-4977-B1A3-355F0827A33F}"/>
              </c:ext>
            </c:extLst>
          </c:dPt>
          <c:dPt>
            <c:idx val="66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0-27DC-4977-B1A3-355F0827A33F}"/>
              </c:ext>
            </c:extLst>
          </c:dPt>
          <c:dPt>
            <c:idx val="66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1-27DC-4977-B1A3-355F0827A33F}"/>
              </c:ext>
            </c:extLst>
          </c:dPt>
          <c:dPt>
            <c:idx val="66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2-27DC-4977-B1A3-355F0827A33F}"/>
              </c:ext>
            </c:extLst>
          </c:dPt>
          <c:dPt>
            <c:idx val="66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3-27DC-4977-B1A3-355F0827A33F}"/>
              </c:ext>
            </c:extLst>
          </c:dPt>
          <c:dPt>
            <c:idx val="66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4-27DC-4977-B1A3-355F0827A33F}"/>
              </c:ext>
            </c:extLst>
          </c:dPt>
          <c:dPt>
            <c:idx val="66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5-27DC-4977-B1A3-355F0827A33F}"/>
              </c:ext>
            </c:extLst>
          </c:dPt>
          <c:dPt>
            <c:idx val="66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6-27DC-4977-B1A3-355F0827A33F}"/>
              </c:ext>
            </c:extLst>
          </c:dPt>
          <c:dPt>
            <c:idx val="66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7-27DC-4977-B1A3-355F0827A33F}"/>
              </c:ext>
            </c:extLst>
          </c:dPt>
          <c:dPt>
            <c:idx val="66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8-27DC-4977-B1A3-355F0827A33F}"/>
              </c:ext>
            </c:extLst>
          </c:dPt>
          <c:dPt>
            <c:idx val="67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9-27DC-4977-B1A3-355F0827A33F}"/>
              </c:ext>
            </c:extLst>
          </c:dPt>
          <c:dPt>
            <c:idx val="67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A-27DC-4977-B1A3-355F0827A33F}"/>
              </c:ext>
            </c:extLst>
          </c:dPt>
          <c:dPt>
            <c:idx val="67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B-27DC-4977-B1A3-355F0827A33F}"/>
              </c:ext>
            </c:extLst>
          </c:dPt>
          <c:dPt>
            <c:idx val="67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C-27DC-4977-B1A3-355F0827A33F}"/>
              </c:ext>
            </c:extLst>
          </c:dPt>
          <c:dPt>
            <c:idx val="67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D-27DC-4977-B1A3-355F0827A33F}"/>
              </c:ext>
            </c:extLst>
          </c:dPt>
          <c:dPt>
            <c:idx val="67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E-27DC-4977-B1A3-355F0827A33F}"/>
              </c:ext>
            </c:extLst>
          </c:dPt>
          <c:dPt>
            <c:idx val="67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6F-27DC-4977-B1A3-355F0827A33F}"/>
              </c:ext>
            </c:extLst>
          </c:dPt>
          <c:dPt>
            <c:idx val="67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0-27DC-4977-B1A3-355F0827A33F}"/>
              </c:ext>
            </c:extLst>
          </c:dPt>
          <c:dPt>
            <c:idx val="67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1-27DC-4977-B1A3-355F0827A33F}"/>
              </c:ext>
            </c:extLst>
          </c:dPt>
          <c:dPt>
            <c:idx val="67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2-27DC-4977-B1A3-355F0827A33F}"/>
              </c:ext>
            </c:extLst>
          </c:dPt>
          <c:dPt>
            <c:idx val="68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3-27DC-4977-B1A3-355F0827A33F}"/>
              </c:ext>
            </c:extLst>
          </c:dPt>
          <c:dPt>
            <c:idx val="68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4-27DC-4977-B1A3-355F0827A33F}"/>
              </c:ext>
            </c:extLst>
          </c:dPt>
          <c:dPt>
            <c:idx val="68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5-27DC-4977-B1A3-355F0827A33F}"/>
              </c:ext>
            </c:extLst>
          </c:dPt>
          <c:dPt>
            <c:idx val="68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6-27DC-4977-B1A3-355F0827A33F}"/>
              </c:ext>
            </c:extLst>
          </c:dPt>
          <c:dPt>
            <c:idx val="68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7-27DC-4977-B1A3-355F0827A33F}"/>
              </c:ext>
            </c:extLst>
          </c:dPt>
          <c:dPt>
            <c:idx val="68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8-27DC-4977-B1A3-355F0827A33F}"/>
              </c:ext>
            </c:extLst>
          </c:dPt>
          <c:dPt>
            <c:idx val="68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9-27DC-4977-B1A3-355F0827A33F}"/>
              </c:ext>
            </c:extLst>
          </c:dPt>
          <c:dPt>
            <c:idx val="68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A-27DC-4977-B1A3-355F0827A33F}"/>
              </c:ext>
            </c:extLst>
          </c:dPt>
          <c:dPt>
            <c:idx val="68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B-27DC-4977-B1A3-355F0827A33F}"/>
              </c:ext>
            </c:extLst>
          </c:dPt>
          <c:dPt>
            <c:idx val="68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C-27DC-4977-B1A3-355F0827A33F}"/>
              </c:ext>
            </c:extLst>
          </c:dPt>
          <c:dPt>
            <c:idx val="69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D-27DC-4977-B1A3-355F0827A33F}"/>
              </c:ext>
            </c:extLst>
          </c:dPt>
          <c:dPt>
            <c:idx val="69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E-27DC-4977-B1A3-355F0827A33F}"/>
              </c:ext>
            </c:extLst>
          </c:dPt>
          <c:dPt>
            <c:idx val="69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7F-27DC-4977-B1A3-355F0827A33F}"/>
              </c:ext>
            </c:extLst>
          </c:dPt>
          <c:dPt>
            <c:idx val="69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0-27DC-4977-B1A3-355F0827A33F}"/>
              </c:ext>
            </c:extLst>
          </c:dPt>
          <c:dPt>
            <c:idx val="69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1-27DC-4977-B1A3-355F0827A33F}"/>
              </c:ext>
            </c:extLst>
          </c:dPt>
          <c:dPt>
            <c:idx val="69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2-27DC-4977-B1A3-355F0827A33F}"/>
              </c:ext>
            </c:extLst>
          </c:dPt>
          <c:dPt>
            <c:idx val="69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3-27DC-4977-B1A3-355F0827A33F}"/>
              </c:ext>
            </c:extLst>
          </c:dPt>
          <c:dPt>
            <c:idx val="69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4-27DC-4977-B1A3-355F0827A33F}"/>
              </c:ext>
            </c:extLst>
          </c:dPt>
          <c:dPt>
            <c:idx val="69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5-27DC-4977-B1A3-355F0827A33F}"/>
              </c:ext>
            </c:extLst>
          </c:dPt>
          <c:dPt>
            <c:idx val="69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6-27DC-4977-B1A3-355F0827A33F}"/>
              </c:ext>
            </c:extLst>
          </c:dPt>
          <c:dPt>
            <c:idx val="70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7-27DC-4977-B1A3-355F0827A33F}"/>
              </c:ext>
            </c:extLst>
          </c:dPt>
          <c:dPt>
            <c:idx val="70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8-27DC-4977-B1A3-355F0827A33F}"/>
              </c:ext>
            </c:extLst>
          </c:dPt>
          <c:dPt>
            <c:idx val="70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9-27DC-4977-B1A3-355F0827A33F}"/>
              </c:ext>
            </c:extLst>
          </c:dPt>
          <c:dPt>
            <c:idx val="70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A-27DC-4977-B1A3-355F0827A33F}"/>
              </c:ext>
            </c:extLst>
          </c:dPt>
          <c:dPt>
            <c:idx val="70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B-27DC-4977-B1A3-355F0827A33F}"/>
              </c:ext>
            </c:extLst>
          </c:dPt>
          <c:dPt>
            <c:idx val="70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C-27DC-4977-B1A3-355F0827A33F}"/>
              </c:ext>
            </c:extLst>
          </c:dPt>
          <c:dPt>
            <c:idx val="70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D-27DC-4977-B1A3-355F0827A33F}"/>
              </c:ext>
            </c:extLst>
          </c:dPt>
          <c:dPt>
            <c:idx val="70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E-27DC-4977-B1A3-355F0827A33F}"/>
              </c:ext>
            </c:extLst>
          </c:dPt>
          <c:dPt>
            <c:idx val="70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8F-27DC-4977-B1A3-355F0827A33F}"/>
              </c:ext>
            </c:extLst>
          </c:dPt>
          <c:dPt>
            <c:idx val="70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0-27DC-4977-B1A3-355F0827A33F}"/>
              </c:ext>
            </c:extLst>
          </c:dPt>
          <c:dPt>
            <c:idx val="71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1-27DC-4977-B1A3-355F0827A33F}"/>
              </c:ext>
            </c:extLst>
          </c:dPt>
          <c:dPt>
            <c:idx val="71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2-27DC-4977-B1A3-355F0827A33F}"/>
              </c:ext>
            </c:extLst>
          </c:dPt>
          <c:dPt>
            <c:idx val="71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3-27DC-4977-B1A3-355F0827A33F}"/>
              </c:ext>
            </c:extLst>
          </c:dPt>
          <c:dPt>
            <c:idx val="71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4-27DC-4977-B1A3-355F0827A33F}"/>
              </c:ext>
            </c:extLst>
          </c:dPt>
          <c:dPt>
            <c:idx val="71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5-27DC-4977-B1A3-355F0827A33F}"/>
              </c:ext>
            </c:extLst>
          </c:dPt>
          <c:dPt>
            <c:idx val="71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6-27DC-4977-B1A3-355F0827A33F}"/>
              </c:ext>
            </c:extLst>
          </c:dPt>
          <c:dPt>
            <c:idx val="71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7-27DC-4977-B1A3-355F0827A33F}"/>
              </c:ext>
            </c:extLst>
          </c:dPt>
          <c:dPt>
            <c:idx val="71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8-27DC-4977-B1A3-355F0827A33F}"/>
              </c:ext>
            </c:extLst>
          </c:dPt>
          <c:dPt>
            <c:idx val="71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9-27DC-4977-B1A3-355F0827A33F}"/>
              </c:ext>
            </c:extLst>
          </c:dPt>
          <c:dPt>
            <c:idx val="71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A-27DC-4977-B1A3-355F0827A33F}"/>
              </c:ext>
            </c:extLst>
          </c:dPt>
          <c:dPt>
            <c:idx val="72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B-27DC-4977-B1A3-355F0827A33F}"/>
              </c:ext>
            </c:extLst>
          </c:dPt>
          <c:dPt>
            <c:idx val="72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C-27DC-4977-B1A3-355F0827A33F}"/>
              </c:ext>
            </c:extLst>
          </c:dPt>
          <c:dPt>
            <c:idx val="72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D-27DC-4977-B1A3-355F0827A33F}"/>
              </c:ext>
            </c:extLst>
          </c:dPt>
          <c:dPt>
            <c:idx val="72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E-27DC-4977-B1A3-355F0827A33F}"/>
              </c:ext>
            </c:extLst>
          </c:dPt>
          <c:dPt>
            <c:idx val="72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9F-27DC-4977-B1A3-355F0827A33F}"/>
              </c:ext>
            </c:extLst>
          </c:dPt>
          <c:dPt>
            <c:idx val="72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0-27DC-4977-B1A3-355F0827A33F}"/>
              </c:ext>
            </c:extLst>
          </c:dPt>
          <c:dPt>
            <c:idx val="72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1-27DC-4977-B1A3-355F0827A33F}"/>
              </c:ext>
            </c:extLst>
          </c:dPt>
          <c:dPt>
            <c:idx val="72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2-27DC-4977-B1A3-355F0827A33F}"/>
              </c:ext>
            </c:extLst>
          </c:dPt>
          <c:dPt>
            <c:idx val="72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3-27DC-4977-B1A3-355F0827A33F}"/>
              </c:ext>
            </c:extLst>
          </c:dPt>
          <c:dPt>
            <c:idx val="72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4-27DC-4977-B1A3-355F0827A33F}"/>
              </c:ext>
            </c:extLst>
          </c:dPt>
          <c:dPt>
            <c:idx val="73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5-27DC-4977-B1A3-355F0827A33F}"/>
              </c:ext>
            </c:extLst>
          </c:dPt>
          <c:dPt>
            <c:idx val="73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6-27DC-4977-B1A3-355F0827A33F}"/>
              </c:ext>
            </c:extLst>
          </c:dPt>
          <c:dPt>
            <c:idx val="73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7-27DC-4977-B1A3-355F0827A33F}"/>
              </c:ext>
            </c:extLst>
          </c:dPt>
          <c:dPt>
            <c:idx val="73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8-27DC-4977-B1A3-355F0827A33F}"/>
              </c:ext>
            </c:extLst>
          </c:dPt>
          <c:dPt>
            <c:idx val="73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9-27DC-4977-B1A3-355F0827A33F}"/>
              </c:ext>
            </c:extLst>
          </c:dPt>
          <c:dPt>
            <c:idx val="73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A-27DC-4977-B1A3-355F0827A33F}"/>
              </c:ext>
            </c:extLst>
          </c:dPt>
          <c:dPt>
            <c:idx val="73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B-27DC-4977-B1A3-355F0827A33F}"/>
              </c:ext>
            </c:extLst>
          </c:dPt>
          <c:dPt>
            <c:idx val="73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C-27DC-4977-B1A3-355F0827A33F}"/>
              </c:ext>
            </c:extLst>
          </c:dPt>
          <c:dPt>
            <c:idx val="73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D-27DC-4977-B1A3-355F0827A33F}"/>
              </c:ext>
            </c:extLst>
          </c:dPt>
          <c:dPt>
            <c:idx val="73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E-27DC-4977-B1A3-355F0827A33F}"/>
              </c:ext>
            </c:extLst>
          </c:dPt>
          <c:dPt>
            <c:idx val="74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AF-27DC-4977-B1A3-355F0827A33F}"/>
              </c:ext>
            </c:extLst>
          </c:dPt>
          <c:dPt>
            <c:idx val="74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0-27DC-4977-B1A3-355F0827A33F}"/>
              </c:ext>
            </c:extLst>
          </c:dPt>
          <c:dPt>
            <c:idx val="74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1-27DC-4977-B1A3-355F0827A33F}"/>
              </c:ext>
            </c:extLst>
          </c:dPt>
          <c:dPt>
            <c:idx val="74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2-27DC-4977-B1A3-355F0827A33F}"/>
              </c:ext>
            </c:extLst>
          </c:dPt>
          <c:dPt>
            <c:idx val="744"/>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3-27DC-4977-B1A3-355F0827A33F}"/>
              </c:ext>
            </c:extLst>
          </c:dPt>
          <c:dPt>
            <c:idx val="745"/>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4-27DC-4977-B1A3-355F0827A33F}"/>
              </c:ext>
            </c:extLst>
          </c:dPt>
          <c:dPt>
            <c:idx val="746"/>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5-27DC-4977-B1A3-355F0827A33F}"/>
              </c:ext>
            </c:extLst>
          </c:dPt>
          <c:dPt>
            <c:idx val="747"/>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6-27DC-4977-B1A3-355F0827A33F}"/>
              </c:ext>
            </c:extLst>
          </c:dPt>
          <c:dPt>
            <c:idx val="748"/>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7-27DC-4977-B1A3-355F0827A33F}"/>
              </c:ext>
            </c:extLst>
          </c:dPt>
          <c:dPt>
            <c:idx val="749"/>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8-27DC-4977-B1A3-355F0827A33F}"/>
              </c:ext>
            </c:extLst>
          </c:dPt>
          <c:dPt>
            <c:idx val="750"/>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9-27DC-4977-B1A3-355F0827A33F}"/>
              </c:ext>
            </c:extLst>
          </c:dPt>
          <c:dPt>
            <c:idx val="751"/>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A-27DC-4977-B1A3-355F0827A33F}"/>
              </c:ext>
            </c:extLst>
          </c:dPt>
          <c:dPt>
            <c:idx val="752"/>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B-27DC-4977-B1A3-355F0827A33F}"/>
              </c:ext>
            </c:extLst>
          </c:dPt>
          <c:dPt>
            <c:idx val="753"/>
            <c:bubble3D val="0"/>
            <c:spPr>
              <a:ln w="127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ABC-27DC-4977-B1A3-355F0827A33F}"/>
              </c:ext>
            </c:extLst>
          </c:dPt>
          <c:dPt>
            <c:idx val="7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2F6-27DC-4977-B1A3-355F0827A33F}"/>
              </c:ext>
            </c:extLst>
          </c:dPt>
          <c:dPt>
            <c:idx val="7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2F7-27DC-4977-B1A3-355F0827A33F}"/>
              </c:ext>
            </c:extLst>
          </c:dPt>
          <c:dPt>
            <c:idx val="7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2F8-27DC-4977-B1A3-355F0827A33F}"/>
              </c:ext>
            </c:extLst>
          </c:dPt>
          <c:dPt>
            <c:idx val="7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2F9-27DC-4977-B1A3-355F0827A33F}"/>
              </c:ext>
            </c:extLst>
          </c:dPt>
          <c:dPt>
            <c:idx val="7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2FA-27DC-4977-B1A3-355F0827A33F}"/>
              </c:ext>
            </c:extLst>
          </c:dPt>
          <c:dPt>
            <c:idx val="7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2FB-27DC-4977-B1A3-355F0827A33F}"/>
              </c:ext>
            </c:extLst>
          </c:dPt>
          <c:dPt>
            <c:idx val="7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2FC-27DC-4977-B1A3-355F0827A33F}"/>
              </c:ext>
            </c:extLst>
          </c:dPt>
          <c:dPt>
            <c:idx val="7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2FD-27DC-4977-B1A3-355F0827A33F}"/>
              </c:ext>
            </c:extLst>
          </c:dPt>
          <c:dPt>
            <c:idx val="7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2FE-27DC-4977-B1A3-355F0827A33F}"/>
              </c:ext>
            </c:extLst>
          </c:dPt>
          <c:dPt>
            <c:idx val="7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2FF-27DC-4977-B1A3-355F0827A33F}"/>
              </c:ext>
            </c:extLst>
          </c:dPt>
          <c:dPt>
            <c:idx val="7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0-27DC-4977-B1A3-355F0827A33F}"/>
              </c:ext>
            </c:extLst>
          </c:dPt>
          <c:dPt>
            <c:idx val="7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1-27DC-4977-B1A3-355F0827A33F}"/>
              </c:ext>
            </c:extLst>
          </c:dPt>
          <c:dPt>
            <c:idx val="7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2-27DC-4977-B1A3-355F0827A33F}"/>
              </c:ext>
            </c:extLst>
          </c:dPt>
          <c:dPt>
            <c:idx val="7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3-27DC-4977-B1A3-355F0827A33F}"/>
              </c:ext>
            </c:extLst>
          </c:dPt>
          <c:dPt>
            <c:idx val="7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4-27DC-4977-B1A3-355F0827A33F}"/>
              </c:ext>
            </c:extLst>
          </c:dPt>
          <c:dPt>
            <c:idx val="7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5-27DC-4977-B1A3-355F0827A33F}"/>
              </c:ext>
            </c:extLst>
          </c:dPt>
          <c:dPt>
            <c:idx val="7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6-27DC-4977-B1A3-355F0827A33F}"/>
              </c:ext>
            </c:extLst>
          </c:dPt>
          <c:dPt>
            <c:idx val="7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7-27DC-4977-B1A3-355F0827A33F}"/>
              </c:ext>
            </c:extLst>
          </c:dPt>
          <c:dPt>
            <c:idx val="7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8-27DC-4977-B1A3-355F0827A33F}"/>
              </c:ext>
            </c:extLst>
          </c:dPt>
          <c:dPt>
            <c:idx val="7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9-27DC-4977-B1A3-355F0827A33F}"/>
              </c:ext>
            </c:extLst>
          </c:dPt>
          <c:dPt>
            <c:idx val="7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A-27DC-4977-B1A3-355F0827A33F}"/>
              </c:ext>
            </c:extLst>
          </c:dPt>
          <c:dPt>
            <c:idx val="7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B-27DC-4977-B1A3-355F0827A33F}"/>
              </c:ext>
            </c:extLst>
          </c:dPt>
          <c:dPt>
            <c:idx val="7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C-27DC-4977-B1A3-355F0827A33F}"/>
              </c:ext>
            </c:extLst>
          </c:dPt>
          <c:dPt>
            <c:idx val="7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D-27DC-4977-B1A3-355F0827A33F}"/>
              </c:ext>
            </c:extLst>
          </c:dPt>
          <c:dPt>
            <c:idx val="7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E-27DC-4977-B1A3-355F0827A33F}"/>
              </c:ext>
            </c:extLst>
          </c:dPt>
          <c:dPt>
            <c:idx val="7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0F-27DC-4977-B1A3-355F0827A33F}"/>
              </c:ext>
            </c:extLst>
          </c:dPt>
          <c:dPt>
            <c:idx val="7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0-27DC-4977-B1A3-355F0827A33F}"/>
              </c:ext>
            </c:extLst>
          </c:dPt>
          <c:dPt>
            <c:idx val="7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1-27DC-4977-B1A3-355F0827A33F}"/>
              </c:ext>
            </c:extLst>
          </c:dPt>
          <c:dPt>
            <c:idx val="7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2-27DC-4977-B1A3-355F0827A33F}"/>
              </c:ext>
            </c:extLst>
          </c:dPt>
          <c:dPt>
            <c:idx val="7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3-27DC-4977-B1A3-355F0827A33F}"/>
              </c:ext>
            </c:extLst>
          </c:dPt>
          <c:dPt>
            <c:idx val="7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4-27DC-4977-B1A3-355F0827A33F}"/>
              </c:ext>
            </c:extLst>
          </c:dPt>
          <c:dPt>
            <c:idx val="7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5-27DC-4977-B1A3-355F0827A33F}"/>
              </c:ext>
            </c:extLst>
          </c:dPt>
          <c:dPt>
            <c:idx val="7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6-27DC-4977-B1A3-355F0827A33F}"/>
              </c:ext>
            </c:extLst>
          </c:dPt>
          <c:dPt>
            <c:idx val="7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7-27DC-4977-B1A3-355F0827A33F}"/>
              </c:ext>
            </c:extLst>
          </c:dPt>
          <c:dPt>
            <c:idx val="7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8-27DC-4977-B1A3-355F0827A33F}"/>
              </c:ext>
            </c:extLst>
          </c:dPt>
          <c:dPt>
            <c:idx val="7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9-27DC-4977-B1A3-355F0827A33F}"/>
              </c:ext>
            </c:extLst>
          </c:dPt>
          <c:dPt>
            <c:idx val="7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A-27DC-4977-B1A3-355F0827A33F}"/>
              </c:ext>
            </c:extLst>
          </c:dPt>
          <c:dPt>
            <c:idx val="7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B-27DC-4977-B1A3-355F0827A33F}"/>
              </c:ext>
            </c:extLst>
          </c:dPt>
          <c:dPt>
            <c:idx val="7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C-27DC-4977-B1A3-355F0827A33F}"/>
              </c:ext>
            </c:extLst>
          </c:dPt>
          <c:dPt>
            <c:idx val="7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D-27DC-4977-B1A3-355F0827A33F}"/>
              </c:ext>
            </c:extLst>
          </c:dPt>
          <c:dPt>
            <c:idx val="7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E-27DC-4977-B1A3-355F0827A33F}"/>
              </c:ext>
            </c:extLst>
          </c:dPt>
          <c:dPt>
            <c:idx val="7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1F-27DC-4977-B1A3-355F0827A33F}"/>
              </c:ext>
            </c:extLst>
          </c:dPt>
          <c:dPt>
            <c:idx val="7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0-27DC-4977-B1A3-355F0827A33F}"/>
              </c:ext>
            </c:extLst>
          </c:dPt>
          <c:dPt>
            <c:idx val="7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1-27DC-4977-B1A3-355F0827A33F}"/>
              </c:ext>
            </c:extLst>
          </c:dPt>
          <c:dPt>
            <c:idx val="7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2-27DC-4977-B1A3-355F0827A33F}"/>
              </c:ext>
            </c:extLst>
          </c:dPt>
          <c:dPt>
            <c:idx val="7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3-27DC-4977-B1A3-355F0827A33F}"/>
              </c:ext>
            </c:extLst>
          </c:dPt>
          <c:dPt>
            <c:idx val="8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4-27DC-4977-B1A3-355F0827A33F}"/>
              </c:ext>
            </c:extLst>
          </c:dPt>
          <c:dPt>
            <c:idx val="8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5-27DC-4977-B1A3-355F0827A33F}"/>
              </c:ext>
            </c:extLst>
          </c:dPt>
          <c:dPt>
            <c:idx val="8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6-27DC-4977-B1A3-355F0827A33F}"/>
              </c:ext>
            </c:extLst>
          </c:dPt>
          <c:dPt>
            <c:idx val="8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7-27DC-4977-B1A3-355F0827A33F}"/>
              </c:ext>
            </c:extLst>
          </c:dPt>
          <c:dPt>
            <c:idx val="8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8-27DC-4977-B1A3-355F0827A33F}"/>
              </c:ext>
            </c:extLst>
          </c:dPt>
          <c:dPt>
            <c:idx val="8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9-27DC-4977-B1A3-355F0827A33F}"/>
              </c:ext>
            </c:extLst>
          </c:dPt>
          <c:dPt>
            <c:idx val="8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A-27DC-4977-B1A3-355F0827A33F}"/>
              </c:ext>
            </c:extLst>
          </c:dPt>
          <c:dPt>
            <c:idx val="8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B-27DC-4977-B1A3-355F0827A33F}"/>
              </c:ext>
            </c:extLst>
          </c:dPt>
          <c:dPt>
            <c:idx val="8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C-27DC-4977-B1A3-355F0827A33F}"/>
              </c:ext>
            </c:extLst>
          </c:dPt>
          <c:dPt>
            <c:idx val="8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D-27DC-4977-B1A3-355F0827A33F}"/>
              </c:ext>
            </c:extLst>
          </c:dPt>
          <c:dPt>
            <c:idx val="8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E-27DC-4977-B1A3-355F0827A33F}"/>
              </c:ext>
            </c:extLst>
          </c:dPt>
          <c:dPt>
            <c:idx val="8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2F-27DC-4977-B1A3-355F0827A33F}"/>
              </c:ext>
            </c:extLst>
          </c:dPt>
          <c:dPt>
            <c:idx val="8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0-27DC-4977-B1A3-355F0827A33F}"/>
              </c:ext>
            </c:extLst>
          </c:dPt>
          <c:dPt>
            <c:idx val="8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1-27DC-4977-B1A3-355F0827A33F}"/>
              </c:ext>
            </c:extLst>
          </c:dPt>
          <c:dPt>
            <c:idx val="8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2-27DC-4977-B1A3-355F0827A33F}"/>
              </c:ext>
            </c:extLst>
          </c:dPt>
          <c:dPt>
            <c:idx val="8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3-27DC-4977-B1A3-355F0827A33F}"/>
              </c:ext>
            </c:extLst>
          </c:dPt>
          <c:dPt>
            <c:idx val="8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4-27DC-4977-B1A3-355F0827A33F}"/>
              </c:ext>
            </c:extLst>
          </c:dPt>
          <c:dPt>
            <c:idx val="8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5-27DC-4977-B1A3-355F0827A33F}"/>
              </c:ext>
            </c:extLst>
          </c:dPt>
          <c:dPt>
            <c:idx val="8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6-27DC-4977-B1A3-355F0827A33F}"/>
              </c:ext>
            </c:extLst>
          </c:dPt>
          <c:dPt>
            <c:idx val="8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7-27DC-4977-B1A3-355F0827A33F}"/>
              </c:ext>
            </c:extLst>
          </c:dPt>
          <c:dPt>
            <c:idx val="8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8-27DC-4977-B1A3-355F0827A33F}"/>
              </c:ext>
            </c:extLst>
          </c:dPt>
          <c:dPt>
            <c:idx val="8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9-27DC-4977-B1A3-355F0827A33F}"/>
              </c:ext>
            </c:extLst>
          </c:dPt>
          <c:dPt>
            <c:idx val="8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A-27DC-4977-B1A3-355F0827A33F}"/>
              </c:ext>
            </c:extLst>
          </c:dPt>
          <c:dPt>
            <c:idx val="8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B-27DC-4977-B1A3-355F0827A33F}"/>
              </c:ext>
            </c:extLst>
          </c:dPt>
          <c:dPt>
            <c:idx val="8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C-27DC-4977-B1A3-355F0827A33F}"/>
              </c:ext>
            </c:extLst>
          </c:dPt>
          <c:dPt>
            <c:idx val="8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D-27DC-4977-B1A3-355F0827A33F}"/>
              </c:ext>
            </c:extLst>
          </c:dPt>
          <c:dPt>
            <c:idx val="8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E-27DC-4977-B1A3-355F0827A33F}"/>
              </c:ext>
            </c:extLst>
          </c:dPt>
          <c:dPt>
            <c:idx val="8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3F-27DC-4977-B1A3-355F0827A33F}"/>
              </c:ext>
            </c:extLst>
          </c:dPt>
          <c:dPt>
            <c:idx val="8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0-27DC-4977-B1A3-355F0827A33F}"/>
              </c:ext>
            </c:extLst>
          </c:dPt>
          <c:dPt>
            <c:idx val="8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1-27DC-4977-B1A3-355F0827A33F}"/>
              </c:ext>
            </c:extLst>
          </c:dPt>
          <c:dPt>
            <c:idx val="8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2-27DC-4977-B1A3-355F0827A33F}"/>
              </c:ext>
            </c:extLst>
          </c:dPt>
          <c:dPt>
            <c:idx val="8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3-27DC-4977-B1A3-355F0827A33F}"/>
              </c:ext>
            </c:extLst>
          </c:dPt>
          <c:dPt>
            <c:idx val="8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4-27DC-4977-B1A3-355F0827A33F}"/>
              </c:ext>
            </c:extLst>
          </c:dPt>
          <c:dPt>
            <c:idx val="8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5-27DC-4977-B1A3-355F0827A33F}"/>
              </c:ext>
            </c:extLst>
          </c:dPt>
          <c:dPt>
            <c:idx val="8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6-27DC-4977-B1A3-355F0827A33F}"/>
              </c:ext>
            </c:extLst>
          </c:dPt>
          <c:dPt>
            <c:idx val="8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7-27DC-4977-B1A3-355F0827A33F}"/>
              </c:ext>
            </c:extLst>
          </c:dPt>
          <c:dPt>
            <c:idx val="8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8-27DC-4977-B1A3-355F0827A33F}"/>
              </c:ext>
            </c:extLst>
          </c:dPt>
          <c:dPt>
            <c:idx val="8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9-27DC-4977-B1A3-355F0827A33F}"/>
              </c:ext>
            </c:extLst>
          </c:dPt>
          <c:dPt>
            <c:idx val="8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A-27DC-4977-B1A3-355F0827A33F}"/>
              </c:ext>
            </c:extLst>
          </c:dPt>
          <c:dPt>
            <c:idx val="8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B-27DC-4977-B1A3-355F0827A33F}"/>
              </c:ext>
            </c:extLst>
          </c:dPt>
          <c:dPt>
            <c:idx val="8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C-27DC-4977-B1A3-355F0827A33F}"/>
              </c:ext>
            </c:extLst>
          </c:dPt>
          <c:dPt>
            <c:idx val="8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D-27DC-4977-B1A3-355F0827A33F}"/>
              </c:ext>
            </c:extLst>
          </c:dPt>
          <c:dPt>
            <c:idx val="8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E-27DC-4977-B1A3-355F0827A33F}"/>
              </c:ext>
            </c:extLst>
          </c:dPt>
          <c:dPt>
            <c:idx val="8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4F-27DC-4977-B1A3-355F0827A33F}"/>
              </c:ext>
            </c:extLst>
          </c:dPt>
          <c:dPt>
            <c:idx val="8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0-27DC-4977-B1A3-355F0827A33F}"/>
              </c:ext>
            </c:extLst>
          </c:dPt>
          <c:dPt>
            <c:idx val="8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1-27DC-4977-B1A3-355F0827A33F}"/>
              </c:ext>
            </c:extLst>
          </c:dPt>
          <c:dPt>
            <c:idx val="8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2-27DC-4977-B1A3-355F0827A33F}"/>
              </c:ext>
            </c:extLst>
          </c:dPt>
          <c:dPt>
            <c:idx val="8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3-27DC-4977-B1A3-355F0827A33F}"/>
              </c:ext>
            </c:extLst>
          </c:dPt>
          <c:dPt>
            <c:idx val="8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4-27DC-4977-B1A3-355F0827A33F}"/>
              </c:ext>
            </c:extLst>
          </c:dPt>
          <c:dPt>
            <c:idx val="8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5-27DC-4977-B1A3-355F0827A33F}"/>
              </c:ext>
            </c:extLst>
          </c:dPt>
          <c:dPt>
            <c:idx val="8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6-27DC-4977-B1A3-355F0827A33F}"/>
              </c:ext>
            </c:extLst>
          </c:dPt>
          <c:dPt>
            <c:idx val="8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7-27DC-4977-B1A3-355F0827A33F}"/>
              </c:ext>
            </c:extLst>
          </c:dPt>
          <c:dPt>
            <c:idx val="8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8-27DC-4977-B1A3-355F0827A33F}"/>
              </c:ext>
            </c:extLst>
          </c:dPt>
          <c:dPt>
            <c:idx val="8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9-27DC-4977-B1A3-355F0827A33F}"/>
              </c:ext>
            </c:extLst>
          </c:dPt>
          <c:dPt>
            <c:idx val="8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A-27DC-4977-B1A3-355F0827A33F}"/>
              </c:ext>
            </c:extLst>
          </c:dPt>
          <c:dPt>
            <c:idx val="8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B-27DC-4977-B1A3-355F0827A33F}"/>
              </c:ext>
            </c:extLst>
          </c:dPt>
          <c:dPt>
            <c:idx val="8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C-27DC-4977-B1A3-355F0827A33F}"/>
              </c:ext>
            </c:extLst>
          </c:dPt>
          <c:dPt>
            <c:idx val="8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D-27DC-4977-B1A3-355F0827A33F}"/>
              </c:ext>
            </c:extLst>
          </c:dPt>
          <c:dPt>
            <c:idx val="8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E-27DC-4977-B1A3-355F0827A33F}"/>
              </c:ext>
            </c:extLst>
          </c:dPt>
          <c:dPt>
            <c:idx val="8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5F-27DC-4977-B1A3-355F0827A33F}"/>
              </c:ext>
            </c:extLst>
          </c:dPt>
          <c:dPt>
            <c:idx val="8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0-27DC-4977-B1A3-355F0827A33F}"/>
              </c:ext>
            </c:extLst>
          </c:dPt>
          <c:dPt>
            <c:idx val="8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1-27DC-4977-B1A3-355F0827A33F}"/>
              </c:ext>
            </c:extLst>
          </c:dPt>
          <c:dPt>
            <c:idx val="8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2-27DC-4977-B1A3-355F0827A33F}"/>
              </c:ext>
            </c:extLst>
          </c:dPt>
          <c:dPt>
            <c:idx val="8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3-27DC-4977-B1A3-355F0827A33F}"/>
              </c:ext>
            </c:extLst>
          </c:dPt>
          <c:dPt>
            <c:idx val="8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4-27DC-4977-B1A3-355F0827A33F}"/>
              </c:ext>
            </c:extLst>
          </c:dPt>
          <c:dPt>
            <c:idx val="8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5-27DC-4977-B1A3-355F0827A33F}"/>
              </c:ext>
            </c:extLst>
          </c:dPt>
          <c:dPt>
            <c:idx val="8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6-27DC-4977-B1A3-355F0827A33F}"/>
              </c:ext>
            </c:extLst>
          </c:dPt>
          <c:dPt>
            <c:idx val="8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7-27DC-4977-B1A3-355F0827A33F}"/>
              </c:ext>
            </c:extLst>
          </c:dPt>
          <c:dPt>
            <c:idx val="8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8-27DC-4977-B1A3-355F0827A33F}"/>
              </c:ext>
            </c:extLst>
          </c:dPt>
          <c:dPt>
            <c:idx val="8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9-27DC-4977-B1A3-355F0827A33F}"/>
              </c:ext>
            </c:extLst>
          </c:dPt>
          <c:dPt>
            <c:idx val="8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A-27DC-4977-B1A3-355F0827A33F}"/>
              </c:ext>
            </c:extLst>
          </c:dPt>
          <c:dPt>
            <c:idx val="8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B-27DC-4977-B1A3-355F0827A33F}"/>
              </c:ext>
            </c:extLst>
          </c:dPt>
          <c:dPt>
            <c:idx val="8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C-27DC-4977-B1A3-355F0827A33F}"/>
              </c:ext>
            </c:extLst>
          </c:dPt>
          <c:dPt>
            <c:idx val="8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D-27DC-4977-B1A3-355F0827A33F}"/>
              </c:ext>
            </c:extLst>
          </c:dPt>
          <c:dPt>
            <c:idx val="8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E-27DC-4977-B1A3-355F0827A33F}"/>
              </c:ext>
            </c:extLst>
          </c:dPt>
          <c:dPt>
            <c:idx val="8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6F-27DC-4977-B1A3-355F0827A33F}"/>
              </c:ext>
            </c:extLst>
          </c:dPt>
          <c:dPt>
            <c:idx val="8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0-27DC-4977-B1A3-355F0827A33F}"/>
              </c:ext>
            </c:extLst>
          </c:dPt>
          <c:dPt>
            <c:idx val="8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1-27DC-4977-B1A3-355F0827A33F}"/>
              </c:ext>
            </c:extLst>
          </c:dPt>
          <c:dPt>
            <c:idx val="8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2-27DC-4977-B1A3-355F0827A33F}"/>
              </c:ext>
            </c:extLst>
          </c:dPt>
          <c:dPt>
            <c:idx val="8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3-27DC-4977-B1A3-355F0827A33F}"/>
              </c:ext>
            </c:extLst>
          </c:dPt>
          <c:dPt>
            <c:idx val="8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4-27DC-4977-B1A3-355F0827A33F}"/>
              </c:ext>
            </c:extLst>
          </c:dPt>
          <c:dPt>
            <c:idx val="8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5-27DC-4977-B1A3-355F0827A33F}"/>
              </c:ext>
            </c:extLst>
          </c:dPt>
          <c:dPt>
            <c:idx val="8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6-27DC-4977-B1A3-355F0827A33F}"/>
              </c:ext>
            </c:extLst>
          </c:dPt>
          <c:dPt>
            <c:idx val="8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7-27DC-4977-B1A3-355F0827A33F}"/>
              </c:ext>
            </c:extLst>
          </c:dPt>
          <c:dPt>
            <c:idx val="8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8-27DC-4977-B1A3-355F0827A33F}"/>
              </c:ext>
            </c:extLst>
          </c:dPt>
          <c:dPt>
            <c:idx val="8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9-27DC-4977-B1A3-355F0827A33F}"/>
              </c:ext>
            </c:extLst>
          </c:dPt>
          <c:dPt>
            <c:idx val="8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A-27DC-4977-B1A3-355F0827A33F}"/>
              </c:ext>
            </c:extLst>
          </c:dPt>
          <c:dPt>
            <c:idx val="8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B-27DC-4977-B1A3-355F0827A33F}"/>
              </c:ext>
            </c:extLst>
          </c:dPt>
          <c:dPt>
            <c:idx val="8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C-27DC-4977-B1A3-355F0827A33F}"/>
              </c:ext>
            </c:extLst>
          </c:dPt>
          <c:dPt>
            <c:idx val="8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D-27DC-4977-B1A3-355F0827A33F}"/>
              </c:ext>
            </c:extLst>
          </c:dPt>
          <c:dPt>
            <c:idx val="8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E-27DC-4977-B1A3-355F0827A33F}"/>
              </c:ext>
            </c:extLst>
          </c:dPt>
          <c:dPt>
            <c:idx val="8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7F-27DC-4977-B1A3-355F0827A33F}"/>
              </c:ext>
            </c:extLst>
          </c:dPt>
          <c:dPt>
            <c:idx val="8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0-27DC-4977-B1A3-355F0827A33F}"/>
              </c:ext>
            </c:extLst>
          </c:dPt>
          <c:dPt>
            <c:idx val="8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1-27DC-4977-B1A3-355F0827A33F}"/>
              </c:ext>
            </c:extLst>
          </c:dPt>
          <c:dPt>
            <c:idx val="8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2-27DC-4977-B1A3-355F0827A33F}"/>
              </c:ext>
            </c:extLst>
          </c:dPt>
          <c:dPt>
            <c:idx val="8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3-27DC-4977-B1A3-355F0827A33F}"/>
              </c:ext>
            </c:extLst>
          </c:dPt>
          <c:dPt>
            <c:idx val="8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4-27DC-4977-B1A3-355F0827A33F}"/>
              </c:ext>
            </c:extLst>
          </c:dPt>
          <c:dPt>
            <c:idx val="8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5-27DC-4977-B1A3-355F0827A33F}"/>
              </c:ext>
            </c:extLst>
          </c:dPt>
          <c:dPt>
            <c:idx val="8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6-27DC-4977-B1A3-355F0827A33F}"/>
              </c:ext>
            </c:extLst>
          </c:dPt>
          <c:dPt>
            <c:idx val="8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7-27DC-4977-B1A3-355F0827A33F}"/>
              </c:ext>
            </c:extLst>
          </c:dPt>
          <c:dPt>
            <c:idx val="9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8-27DC-4977-B1A3-355F0827A33F}"/>
              </c:ext>
            </c:extLst>
          </c:dPt>
          <c:dPt>
            <c:idx val="9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9-27DC-4977-B1A3-355F0827A33F}"/>
              </c:ext>
            </c:extLst>
          </c:dPt>
          <c:dPt>
            <c:idx val="9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A-27DC-4977-B1A3-355F0827A33F}"/>
              </c:ext>
            </c:extLst>
          </c:dPt>
          <c:dPt>
            <c:idx val="9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B-27DC-4977-B1A3-355F0827A33F}"/>
              </c:ext>
            </c:extLst>
          </c:dPt>
          <c:dPt>
            <c:idx val="9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C-27DC-4977-B1A3-355F0827A33F}"/>
              </c:ext>
            </c:extLst>
          </c:dPt>
          <c:dPt>
            <c:idx val="9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D-27DC-4977-B1A3-355F0827A33F}"/>
              </c:ext>
            </c:extLst>
          </c:dPt>
          <c:dPt>
            <c:idx val="9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E-27DC-4977-B1A3-355F0827A33F}"/>
              </c:ext>
            </c:extLst>
          </c:dPt>
          <c:dPt>
            <c:idx val="9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8F-27DC-4977-B1A3-355F0827A33F}"/>
              </c:ext>
            </c:extLst>
          </c:dPt>
          <c:dPt>
            <c:idx val="9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0-27DC-4977-B1A3-355F0827A33F}"/>
              </c:ext>
            </c:extLst>
          </c:dPt>
          <c:dPt>
            <c:idx val="9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1-27DC-4977-B1A3-355F0827A33F}"/>
              </c:ext>
            </c:extLst>
          </c:dPt>
          <c:dPt>
            <c:idx val="9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2-27DC-4977-B1A3-355F0827A33F}"/>
              </c:ext>
            </c:extLst>
          </c:dPt>
          <c:dPt>
            <c:idx val="9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3-27DC-4977-B1A3-355F0827A33F}"/>
              </c:ext>
            </c:extLst>
          </c:dPt>
          <c:dPt>
            <c:idx val="9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4-27DC-4977-B1A3-355F0827A33F}"/>
              </c:ext>
            </c:extLst>
          </c:dPt>
          <c:dPt>
            <c:idx val="9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5-27DC-4977-B1A3-355F0827A33F}"/>
              </c:ext>
            </c:extLst>
          </c:dPt>
          <c:dPt>
            <c:idx val="9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6-27DC-4977-B1A3-355F0827A33F}"/>
              </c:ext>
            </c:extLst>
          </c:dPt>
          <c:dPt>
            <c:idx val="9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7-27DC-4977-B1A3-355F0827A33F}"/>
              </c:ext>
            </c:extLst>
          </c:dPt>
          <c:dPt>
            <c:idx val="9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8-27DC-4977-B1A3-355F0827A33F}"/>
              </c:ext>
            </c:extLst>
          </c:dPt>
          <c:dPt>
            <c:idx val="9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9-27DC-4977-B1A3-355F0827A33F}"/>
              </c:ext>
            </c:extLst>
          </c:dPt>
          <c:dPt>
            <c:idx val="9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A-27DC-4977-B1A3-355F0827A33F}"/>
              </c:ext>
            </c:extLst>
          </c:dPt>
          <c:dPt>
            <c:idx val="9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B-27DC-4977-B1A3-355F0827A33F}"/>
              </c:ext>
            </c:extLst>
          </c:dPt>
          <c:dPt>
            <c:idx val="9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C-27DC-4977-B1A3-355F0827A33F}"/>
              </c:ext>
            </c:extLst>
          </c:dPt>
          <c:dPt>
            <c:idx val="9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D-27DC-4977-B1A3-355F0827A33F}"/>
              </c:ext>
            </c:extLst>
          </c:dPt>
          <c:dPt>
            <c:idx val="9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E-27DC-4977-B1A3-355F0827A33F}"/>
              </c:ext>
            </c:extLst>
          </c:dPt>
          <c:dPt>
            <c:idx val="9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9F-27DC-4977-B1A3-355F0827A33F}"/>
              </c:ext>
            </c:extLst>
          </c:dPt>
          <c:dPt>
            <c:idx val="9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0-27DC-4977-B1A3-355F0827A33F}"/>
              </c:ext>
            </c:extLst>
          </c:dPt>
          <c:dPt>
            <c:idx val="9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1-27DC-4977-B1A3-355F0827A33F}"/>
              </c:ext>
            </c:extLst>
          </c:dPt>
          <c:dPt>
            <c:idx val="9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2-27DC-4977-B1A3-355F0827A33F}"/>
              </c:ext>
            </c:extLst>
          </c:dPt>
          <c:dPt>
            <c:idx val="9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3-27DC-4977-B1A3-355F0827A33F}"/>
              </c:ext>
            </c:extLst>
          </c:dPt>
          <c:dPt>
            <c:idx val="9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4-27DC-4977-B1A3-355F0827A33F}"/>
              </c:ext>
            </c:extLst>
          </c:dPt>
          <c:dPt>
            <c:idx val="9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5-27DC-4977-B1A3-355F0827A33F}"/>
              </c:ext>
            </c:extLst>
          </c:dPt>
          <c:dPt>
            <c:idx val="9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6-27DC-4977-B1A3-355F0827A33F}"/>
              </c:ext>
            </c:extLst>
          </c:dPt>
          <c:dPt>
            <c:idx val="9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7-27DC-4977-B1A3-355F0827A33F}"/>
              </c:ext>
            </c:extLst>
          </c:dPt>
          <c:dPt>
            <c:idx val="9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8-27DC-4977-B1A3-355F0827A33F}"/>
              </c:ext>
            </c:extLst>
          </c:dPt>
          <c:dPt>
            <c:idx val="9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9-27DC-4977-B1A3-355F0827A33F}"/>
              </c:ext>
            </c:extLst>
          </c:dPt>
          <c:dPt>
            <c:idx val="9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A-27DC-4977-B1A3-355F0827A33F}"/>
              </c:ext>
            </c:extLst>
          </c:dPt>
          <c:dPt>
            <c:idx val="9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B-27DC-4977-B1A3-355F0827A33F}"/>
              </c:ext>
            </c:extLst>
          </c:dPt>
          <c:dPt>
            <c:idx val="9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C-27DC-4977-B1A3-355F0827A33F}"/>
              </c:ext>
            </c:extLst>
          </c:dPt>
          <c:dPt>
            <c:idx val="9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D-27DC-4977-B1A3-355F0827A33F}"/>
              </c:ext>
            </c:extLst>
          </c:dPt>
          <c:dPt>
            <c:idx val="9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E-27DC-4977-B1A3-355F0827A33F}"/>
              </c:ext>
            </c:extLst>
          </c:dPt>
          <c:dPt>
            <c:idx val="9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AF-27DC-4977-B1A3-355F0827A33F}"/>
              </c:ext>
            </c:extLst>
          </c:dPt>
          <c:dPt>
            <c:idx val="9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0-27DC-4977-B1A3-355F0827A33F}"/>
              </c:ext>
            </c:extLst>
          </c:dPt>
          <c:dPt>
            <c:idx val="9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1-27DC-4977-B1A3-355F0827A33F}"/>
              </c:ext>
            </c:extLst>
          </c:dPt>
          <c:dPt>
            <c:idx val="9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2-27DC-4977-B1A3-355F0827A33F}"/>
              </c:ext>
            </c:extLst>
          </c:dPt>
          <c:dPt>
            <c:idx val="9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3-27DC-4977-B1A3-355F0827A33F}"/>
              </c:ext>
            </c:extLst>
          </c:dPt>
          <c:dPt>
            <c:idx val="9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4-27DC-4977-B1A3-355F0827A33F}"/>
              </c:ext>
            </c:extLst>
          </c:dPt>
          <c:dPt>
            <c:idx val="9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5-27DC-4977-B1A3-355F0827A33F}"/>
              </c:ext>
            </c:extLst>
          </c:dPt>
          <c:dPt>
            <c:idx val="9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6-27DC-4977-B1A3-355F0827A33F}"/>
              </c:ext>
            </c:extLst>
          </c:dPt>
          <c:dPt>
            <c:idx val="9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7-27DC-4977-B1A3-355F0827A33F}"/>
              </c:ext>
            </c:extLst>
          </c:dPt>
          <c:dPt>
            <c:idx val="9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8-27DC-4977-B1A3-355F0827A33F}"/>
              </c:ext>
            </c:extLst>
          </c:dPt>
          <c:dPt>
            <c:idx val="9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9-27DC-4977-B1A3-355F0827A33F}"/>
              </c:ext>
            </c:extLst>
          </c:dPt>
          <c:dPt>
            <c:idx val="9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A-27DC-4977-B1A3-355F0827A33F}"/>
              </c:ext>
            </c:extLst>
          </c:dPt>
          <c:dPt>
            <c:idx val="9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B-27DC-4977-B1A3-355F0827A33F}"/>
              </c:ext>
            </c:extLst>
          </c:dPt>
          <c:dPt>
            <c:idx val="9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C-27DC-4977-B1A3-355F0827A33F}"/>
              </c:ext>
            </c:extLst>
          </c:dPt>
          <c:dPt>
            <c:idx val="9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D-27DC-4977-B1A3-355F0827A33F}"/>
              </c:ext>
            </c:extLst>
          </c:dPt>
          <c:dPt>
            <c:idx val="9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E-27DC-4977-B1A3-355F0827A33F}"/>
              </c:ext>
            </c:extLst>
          </c:dPt>
          <c:dPt>
            <c:idx val="9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BF-27DC-4977-B1A3-355F0827A33F}"/>
              </c:ext>
            </c:extLst>
          </c:dPt>
          <c:dPt>
            <c:idx val="9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0-27DC-4977-B1A3-355F0827A33F}"/>
              </c:ext>
            </c:extLst>
          </c:dPt>
          <c:dPt>
            <c:idx val="9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1-27DC-4977-B1A3-355F0827A33F}"/>
              </c:ext>
            </c:extLst>
          </c:dPt>
          <c:dPt>
            <c:idx val="9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2-27DC-4977-B1A3-355F0827A33F}"/>
              </c:ext>
            </c:extLst>
          </c:dPt>
          <c:dPt>
            <c:idx val="9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3-27DC-4977-B1A3-355F0827A33F}"/>
              </c:ext>
            </c:extLst>
          </c:dPt>
          <c:dPt>
            <c:idx val="9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4-27DC-4977-B1A3-355F0827A33F}"/>
              </c:ext>
            </c:extLst>
          </c:dPt>
          <c:dPt>
            <c:idx val="9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5-27DC-4977-B1A3-355F0827A33F}"/>
              </c:ext>
            </c:extLst>
          </c:dPt>
          <c:dPt>
            <c:idx val="9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6-27DC-4977-B1A3-355F0827A33F}"/>
              </c:ext>
            </c:extLst>
          </c:dPt>
          <c:dPt>
            <c:idx val="9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7-27DC-4977-B1A3-355F0827A33F}"/>
              </c:ext>
            </c:extLst>
          </c:dPt>
          <c:dPt>
            <c:idx val="9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8-27DC-4977-B1A3-355F0827A33F}"/>
              </c:ext>
            </c:extLst>
          </c:dPt>
          <c:dPt>
            <c:idx val="9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9-27DC-4977-B1A3-355F0827A33F}"/>
              </c:ext>
            </c:extLst>
          </c:dPt>
          <c:dPt>
            <c:idx val="9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A-27DC-4977-B1A3-355F0827A33F}"/>
              </c:ext>
            </c:extLst>
          </c:dPt>
          <c:dPt>
            <c:idx val="9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B-27DC-4977-B1A3-355F0827A33F}"/>
              </c:ext>
            </c:extLst>
          </c:dPt>
          <c:dPt>
            <c:idx val="9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C-27DC-4977-B1A3-355F0827A33F}"/>
              </c:ext>
            </c:extLst>
          </c:dPt>
          <c:dPt>
            <c:idx val="9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D-27DC-4977-B1A3-355F0827A33F}"/>
              </c:ext>
            </c:extLst>
          </c:dPt>
          <c:dPt>
            <c:idx val="9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E-27DC-4977-B1A3-355F0827A33F}"/>
              </c:ext>
            </c:extLst>
          </c:dPt>
          <c:dPt>
            <c:idx val="9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CF-27DC-4977-B1A3-355F0827A33F}"/>
              </c:ext>
            </c:extLst>
          </c:dPt>
          <c:dPt>
            <c:idx val="9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0-27DC-4977-B1A3-355F0827A33F}"/>
              </c:ext>
            </c:extLst>
          </c:dPt>
          <c:dPt>
            <c:idx val="9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1-27DC-4977-B1A3-355F0827A33F}"/>
              </c:ext>
            </c:extLst>
          </c:dPt>
          <c:dPt>
            <c:idx val="9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2-27DC-4977-B1A3-355F0827A33F}"/>
              </c:ext>
            </c:extLst>
          </c:dPt>
          <c:dPt>
            <c:idx val="9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3-27DC-4977-B1A3-355F0827A33F}"/>
              </c:ext>
            </c:extLst>
          </c:dPt>
          <c:dPt>
            <c:idx val="9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4-27DC-4977-B1A3-355F0827A33F}"/>
              </c:ext>
            </c:extLst>
          </c:dPt>
          <c:dPt>
            <c:idx val="9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5-27DC-4977-B1A3-355F0827A33F}"/>
              </c:ext>
            </c:extLst>
          </c:dPt>
          <c:dPt>
            <c:idx val="9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6-27DC-4977-B1A3-355F0827A33F}"/>
              </c:ext>
            </c:extLst>
          </c:dPt>
          <c:dPt>
            <c:idx val="9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7-27DC-4977-B1A3-355F0827A33F}"/>
              </c:ext>
            </c:extLst>
          </c:dPt>
          <c:dPt>
            <c:idx val="9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8-27DC-4977-B1A3-355F0827A33F}"/>
              </c:ext>
            </c:extLst>
          </c:dPt>
          <c:dPt>
            <c:idx val="9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9-27DC-4977-B1A3-355F0827A33F}"/>
              </c:ext>
            </c:extLst>
          </c:dPt>
          <c:dPt>
            <c:idx val="9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A-27DC-4977-B1A3-355F0827A33F}"/>
              </c:ext>
            </c:extLst>
          </c:dPt>
          <c:dPt>
            <c:idx val="9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B-27DC-4977-B1A3-355F0827A33F}"/>
              </c:ext>
            </c:extLst>
          </c:dPt>
          <c:dPt>
            <c:idx val="9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C-27DC-4977-B1A3-355F0827A33F}"/>
              </c:ext>
            </c:extLst>
          </c:dPt>
          <c:dPt>
            <c:idx val="9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D-27DC-4977-B1A3-355F0827A33F}"/>
              </c:ext>
            </c:extLst>
          </c:dPt>
          <c:dPt>
            <c:idx val="9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E-27DC-4977-B1A3-355F0827A33F}"/>
              </c:ext>
            </c:extLst>
          </c:dPt>
          <c:dPt>
            <c:idx val="9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DF-27DC-4977-B1A3-355F0827A33F}"/>
              </c:ext>
            </c:extLst>
          </c:dPt>
          <c:dPt>
            <c:idx val="9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0-27DC-4977-B1A3-355F0827A33F}"/>
              </c:ext>
            </c:extLst>
          </c:dPt>
          <c:dPt>
            <c:idx val="9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1-27DC-4977-B1A3-355F0827A33F}"/>
              </c:ext>
            </c:extLst>
          </c:dPt>
          <c:dPt>
            <c:idx val="9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2-27DC-4977-B1A3-355F0827A33F}"/>
              </c:ext>
            </c:extLst>
          </c:dPt>
          <c:dPt>
            <c:idx val="9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3-27DC-4977-B1A3-355F0827A33F}"/>
              </c:ext>
            </c:extLst>
          </c:dPt>
          <c:dPt>
            <c:idx val="9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4-27DC-4977-B1A3-355F0827A33F}"/>
              </c:ext>
            </c:extLst>
          </c:dPt>
          <c:dPt>
            <c:idx val="9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5-27DC-4977-B1A3-355F0827A33F}"/>
              </c:ext>
            </c:extLst>
          </c:dPt>
          <c:dPt>
            <c:idx val="9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6-27DC-4977-B1A3-355F0827A33F}"/>
              </c:ext>
            </c:extLst>
          </c:dPt>
          <c:dPt>
            <c:idx val="9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7-27DC-4977-B1A3-355F0827A33F}"/>
              </c:ext>
            </c:extLst>
          </c:dPt>
          <c:dPt>
            <c:idx val="9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8-27DC-4977-B1A3-355F0827A33F}"/>
              </c:ext>
            </c:extLst>
          </c:dPt>
          <c:dPt>
            <c:idx val="9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9-27DC-4977-B1A3-355F0827A33F}"/>
              </c:ext>
            </c:extLst>
          </c:dPt>
          <c:dPt>
            <c:idx val="9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A-27DC-4977-B1A3-355F0827A33F}"/>
              </c:ext>
            </c:extLst>
          </c:dPt>
          <c:dPt>
            <c:idx val="9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B-27DC-4977-B1A3-355F0827A33F}"/>
              </c:ext>
            </c:extLst>
          </c:dPt>
          <c:dPt>
            <c:idx val="10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C-27DC-4977-B1A3-355F0827A33F}"/>
              </c:ext>
            </c:extLst>
          </c:dPt>
          <c:dPt>
            <c:idx val="10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D-27DC-4977-B1A3-355F0827A33F}"/>
              </c:ext>
            </c:extLst>
          </c:dPt>
          <c:dPt>
            <c:idx val="10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E-27DC-4977-B1A3-355F0827A33F}"/>
              </c:ext>
            </c:extLst>
          </c:dPt>
          <c:dPt>
            <c:idx val="10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EF-27DC-4977-B1A3-355F0827A33F}"/>
              </c:ext>
            </c:extLst>
          </c:dPt>
          <c:dPt>
            <c:idx val="10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0-27DC-4977-B1A3-355F0827A33F}"/>
              </c:ext>
            </c:extLst>
          </c:dPt>
          <c:dPt>
            <c:idx val="10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1-27DC-4977-B1A3-355F0827A33F}"/>
              </c:ext>
            </c:extLst>
          </c:dPt>
          <c:dPt>
            <c:idx val="10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2-27DC-4977-B1A3-355F0827A33F}"/>
              </c:ext>
            </c:extLst>
          </c:dPt>
          <c:dPt>
            <c:idx val="10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3-27DC-4977-B1A3-355F0827A33F}"/>
              </c:ext>
            </c:extLst>
          </c:dPt>
          <c:dPt>
            <c:idx val="10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4-27DC-4977-B1A3-355F0827A33F}"/>
              </c:ext>
            </c:extLst>
          </c:dPt>
          <c:dPt>
            <c:idx val="10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5-27DC-4977-B1A3-355F0827A33F}"/>
              </c:ext>
            </c:extLst>
          </c:dPt>
          <c:dPt>
            <c:idx val="10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6-27DC-4977-B1A3-355F0827A33F}"/>
              </c:ext>
            </c:extLst>
          </c:dPt>
          <c:dPt>
            <c:idx val="10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7-27DC-4977-B1A3-355F0827A33F}"/>
              </c:ext>
            </c:extLst>
          </c:dPt>
          <c:dPt>
            <c:idx val="10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8-27DC-4977-B1A3-355F0827A33F}"/>
              </c:ext>
            </c:extLst>
          </c:dPt>
          <c:dPt>
            <c:idx val="10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9-27DC-4977-B1A3-355F0827A33F}"/>
              </c:ext>
            </c:extLst>
          </c:dPt>
          <c:dPt>
            <c:idx val="10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A-27DC-4977-B1A3-355F0827A33F}"/>
              </c:ext>
            </c:extLst>
          </c:dPt>
          <c:dPt>
            <c:idx val="10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B-27DC-4977-B1A3-355F0827A33F}"/>
              </c:ext>
            </c:extLst>
          </c:dPt>
          <c:dPt>
            <c:idx val="10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C-27DC-4977-B1A3-355F0827A33F}"/>
              </c:ext>
            </c:extLst>
          </c:dPt>
          <c:dPt>
            <c:idx val="10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D-27DC-4977-B1A3-355F0827A33F}"/>
              </c:ext>
            </c:extLst>
          </c:dPt>
          <c:dPt>
            <c:idx val="10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E-27DC-4977-B1A3-355F0827A33F}"/>
              </c:ext>
            </c:extLst>
          </c:dPt>
          <c:dPt>
            <c:idx val="10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3FF-27DC-4977-B1A3-355F0827A33F}"/>
              </c:ext>
            </c:extLst>
          </c:dPt>
          <c:dPt>
            <c:idx val="10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0-27DC-4977-B1A3-355F0827A33F}"/>
              </c:ext>
            </c:extLst>
          </c:dPt>
          <c:dPt>
            <c:idx val="10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1-27DC-4977-B1A3-355F0827A33F}"/>
              </c:ext>
            </c:extLst>
          </c:dPt>
          <c:dPt>
            <c:idx val="10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2-27DC-4977-B1A3-355F0827A33F}"/>
              </c:ext>
            </c:extLst>
          </c:dPt>
          <c:dPt>
            <c:idx val="10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3-27DC-4977-B1A3-355F0827A33F}"/>
              </c:ext>
            </c:extLst>
          </c:dPt>
          <c:dPt>
            <c:idx val="10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4-27DC-4977-B1A3-355F0827A33F}"/>
              </c:ext>
            </c:extLst>
          </c:dPt>
          <c:dPt>
            <c:idx val="10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5-27DC-4977-B1A3-355F0827A33F}"/>
              </c:ext>
            </c:extLst>
          </c:dPt>
          <c:dPt>
            <c:idx val="10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6-27DC-4977-B1A3-355F0827A33F}"/>
              </c:ext>
            </c:extLst>
          </c:dPt>
          <c:dPt>
            <c:idx val="10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7-27DC-4977-B1A3-355F0827A33F}"/>
              </c:ext>
            </c:extLst>
          </c:dPt>
          <c:dPt>
            <c:idx val="10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8-27DC-4977-B1A3-355F0827A33F}"/>
              </c:ext>
            </c:extLst>
          </c:dPt>
          <c:dPt>
            <c:idx val="10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9-27DC-4977-B1A3-355F0827A33F}"/>
              </c:ext>
            </c:extLst>
          </c:dPt>
          <c:dPt>
            <c:idx val="10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A-27DC-4977-B1A3-355F0827A33F}"/>
              </c:ext>
            </c:extLst>
          </c:dPt>
          <c:dPt>
            <c:idx val="10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B-27DC-4977-B1A3-355F0827A33F}"/>
              </c:ext>
            </c:extLst>
          </c:dPt>
          <c:dPt>
            <c:idx val="10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C-27DC-4977-B1A3-355F0827A33F}"/>
              </c:ext>
            </c:extLst>
          </c:dPt>
          <c:dPt>
            <c:idx val="10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D-27DC-4977-B1A3-355F0827A33F}"/>
              </c:ext>
            </c:extLst>
          </c:dPt>
          <c:dPt>
            <c:idx val="10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E-27DC-4977-B1A3-355F0827A33F}"/>
              </c:ext>
            </c:extLst>
          </c:dPt>
          <c:dPt>
            <c:idx val="10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0F-27DC-4977-B1A3-355F0827A33F}"/>
              </c:ext>
            </c:extLst>
          </c:dPt>
          <c:dPt>
            <c:idx val="10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0-27DC-4977-B1A3-355F0827A33F}"/>
              </c:ext>
            </c:extLst>
          </c:dPt>
          <c:dPt>
            <c:idx val="10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1-27DC-4977-B1A3-355F0827A33F}"/>
              </c:ext>
            </c:extLst>
          </c:dPt>
          <c:dPt>
            <c:idx val="10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2-27DC-4977-B1A3-355F0827A33F}"/>
              </c:ext>
            </c:extLst>
          </c:dPt>
          <c:dPt>
            <c:idx val="10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3-27DC-4977-B1A3-355F0827A33F}"/>
              </c:ext>
            </c:extLst>
          </c:dPt>
          <c:dPt>
            <c:idx val="10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4-27DC-4977-B1A3-355F0827A33F}"/>
              </c:ext>
            </c:extLst>
          </c:dPt>
          <c:dPt>
            <c:idx val="10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5-27DC-4977-B1A3-355F0827A33F}"/>
              </c:ext>
            </c:extLst>
          </c:dPt>
          <c:dPt>
            <c:idx val="10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6-27DC-4977-B1A3-355F0827A33F}"/>
              </c:ext>
            </c:extLst>
          </c:dPt>
          <c:dPt>
            <c:idx val="10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7-27DC-4977-B1A3-355F0827A33F}"/>
              </c:ext>
            </c:extLst>
          </c:dPt>
          <c:dPt>
            <c:idx val="10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8-27DC-4977-B1A3-355F0827A33F}"/>
              </c:ext>
            </c:extLst>
          </c:dPt>
          <c:dPt>
            <c:idx val="10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9-27DC-4977-B1A3-355F0827A33F}"/>
              </c:ext>
            </c:extLst>
          </c:dPt>
          <c:dPt>
            <c:idx val="10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A-27DC-4977-B1A3-355F0827A33F}"/>
              </c:ext>
            </c:extLst>
          </c:dPt>
          <c:dPt>
            <c:idx val="10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B-27DC-4977-B1A3-355F0827A33F}"/>
              </c:ext>
            </c:extLst>
          </c:dPt>
          <c:dPt>
            <c:idx val="10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C-27DC-4977-B1A3-355F0827A33F}"/>
              </c:ext>
            </c:extLst>
          </c:dPt>
          <c:dPt>
            <c:idx val="10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D-27DC-4977-B1A3-355F0827A33F}"/>
              </c:ext>
            </c:extLst>
          </c:dPt>
          <c:dPt>
            <c:idx val="10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E-27DC-4977-B1A3-355F0827A33F}"/>
              </c:ext>
            </c:extLst>
          </c:dPt>
          <c:dPt>
            <c:idx val="10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1F-27DC-4977-B1A3-355F0827A33F}"/>
              </c:ext>
            </c:extLst>
          </c:dPt>
          <c:dPt>
            <c:idx val="10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0-27DC-4977-B1A3-355F0827A33F}"/>
              </c:ext>
            </c:extLst>
          </c:dPt>
          <c:dPt>
            <c:idx val="10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1-27DC-4977-B1A3-355F0827A33F}"/>
              </c:ext>
            </c:extLst>
          </c:dPt>
          <c:dPt>
            <c:idx val="10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2-27DC-4977-B1A3-355F0827A33F}"/>
              </c:ext>
            </c:extLst>
          </c:dPt>
          <c:dPt>
            <c:idx val="10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3-27DC-4977-B1A3-355F0827A33F}"/>
              </c:ext>
            </c:extLst>
          </c:dPt>
          <c:dPt>
            <c:idx val="10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4-27DC-4977-B1A3-355F0827A33F}"/>
              </c:ext>
            </c:extLst>
          </c:dPt>
          <c:dPt>
            <c:idx val="10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5-27DC-4977-B1A3-355F0827A33F}"/>
              </c:ext>
            </c:extLst>
          </c:dPt>
          <c:dPt>
            <c:idx val="10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6-27DC-4977-B1A3-355F0827A33F}"/>
              </c:ext>
            </c:extLst>
          </c:dPt>
          <c:dPt>
            <c:idx val="10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7-27DC-4977-B1A3-355F0827A33F}"/>
              </c:ext>
            </c:extLst>
          </c:dPt>
          <c:dPt>
            <c:idx val="10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8-27DC-4977-B1A3-355F0827A33F}"/>
              </c:ext>
            </c:extLst>
          </c:dPt>
          <c:dPt>
            <c:idx val="10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9-27DC-4977-B1A3-355F0827A33F}"/>
              </c:ext>
            </c:extLst>
          </c:dPt>
          <c:dPt>
            <c:idx val="10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A-27DC-4977-B1A3-355F0827A33F}"/>
              </c:ext>
            </c:extLst>
          </c:dPt>
          <c:dPt>
            <c:idx val="10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B-27DC-4977-B1A3-355F0827A33F}"/>
              </c:ext>
            </c:extLst>
          </c:dPt>
          <c:dPt>
            <c:idx val="10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C-27DC-4977-B1A3-355F0827A33F}"/>
              </c:ext>
            </c:extLst>
          </c:dPt>
          <c:dPt>
            <c:idx val="10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D-27DC-4977-B1A3-355F0827A33F}"/>
              </c:ext>
            </c:extLst>
          </c:dPt>
          <c:dPt>
            <c:idx val="10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E-27DC-4977-B1A3-355F0827A33F}"/>
              </c:ext>
            </c:extLst>
          </c:dPt>
          <c:dPt>
            <c:idx val="10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2F-27DC-4977-B1A3-355F0827A33F}"/>
              </c:ext>
            </c:extLst>
          </c:dPt>
          <c:dPt>
            <c:idx val="10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0-27DC-4977-B1A3-355F0827A33F}"/>
              </c:ext>
            </c:extLst>
          </c:dPt>
          <c:dPt>
            <c:idx val="10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1-27DC-4977-B1A3-355F0827A33F}"/>
              </c:ext>
            </c:extLst>
          </c:dPt>
          <c:dPt>
            <c:idx val="10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2-27DC-4977-B1A3-355F0827A33F}"/>
              </c:ext>
            </c:extLst>
          </c:dPt>
          <c:dPt>
            <c:idx val="10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3-27DC-4977-B1A3-355F0827A33F}"/>
              </c:ext>
            </c:extLst>
          </c:dPt>
          <c:dPt>
            <c:idx val="10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4-27DC-4977-B1A3-355F0827A33F}"/>
              </c:ext>
            </c:extLst>
          </c:dPt>
          <c:dPt>
            <c:idx val="10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5-27DC-4977-B1A3-355F0827A33F}"/>
              </c:ext>
            </c:extLst>
          </c:dPt>
          <c:dPt>
            <c:idx val="10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6-27DC-4977-B1A3-355F0827A33F}"/>
              </c:ext>
            </c:extLst>
          </c:dPt>
          <c:dPt>
            <c:idx val="10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7-27DC-4977-B1A3-355F0827A33F}"/>
              </c:ext>
            </c:extLst>
          </c:dPt>
          <c:dPt>
            <c:idx val="10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8-27DC-4977-B1A3-355F0827A33F}"/>
              </c:ext>
            </c:extLst>
          </c:dPt>
          <c:dPt>
            <c:idx val="10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9-27DC-4977-B1A3-355F0827A33F}"/>
              </c:ext>
            </c:extLst>
          </c:dPt>
          <c:dPt>
            <c:idx val="10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A-27DC-4977-B1A3-355F0827A33F}"/>
              </c:ext>
            </c:extLst>
          </c:dPt>
          <c:dPt>
            <c:idx val="10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B-27DC-4977-B1A3-355F0827A33F}"/>
              </c:ext>
            </c:extLst>
          </c:dPt>
          <c:dPt>
            <c:idx val="10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C-27DC-4977-B1A3-355F0827A33F}"/>
              </c:ext>
            </c:extLst>
          </c:dPt>
          <c:dPt>
            <c:idx val="10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D-27DC-4977-B1A3-355F0827A33F}"/>
              </c:ext>
            </c:extLst>
          </c:dPt>
          <c:dPt>
            <c:idx val="10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E-27DC-4977-B1A3-355F0827A33F}"/>
              </c:ext>
            </c:extLst>
          </c:dPt>
          <c:dPt>
            <c:idx val="10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3F-27DC-4977-B1A3-355F0827A33F}"/>
              </c:ext>
            </c:extLst>
          </c:dPt>
          <c:dPt>
            <c:idx val="10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0-27DC-4977-B1A3-355F0827A33F}"/>
              </c:ext>
            </c:extLst>
          </c:dPt>
          <c:dPt>
            <c:idx val="10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1-27DC-4977-B1A3-355F0827A33F}"/>
              </c:ext>
            </c:extLst>
          </c:dPt>
          <c:dPt>
            <c:idx val="10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2-27DC-4977-B1A3-355F0827A33F}"/>
              </c:ext>
            </c:extLst>
          </c:dPt>
          <c:dPt>
            <c:idx val="10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3-27DC-4977-B1A3-355F0827A33F}"/>
              </c:ext>
            </c:extLst>
          </c:dPt>
          <c:dPt>
            <c:idx val="10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4-27DC-4977-B1A3-355F0827A33F}"/>
              </c:ext>
            </c:extLst>
          </c:dPt>
          <c:dPt>
            <c:idx val="10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5-27DC-4977-B1A3-355F0827A33F}"/>
              </c:ext>
            </c:extLst>
          </c:dPt>
          <c:dPt>
            <c:idx val="10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6-27DC-4977-B1A3-355F0827A33F}"/>
              </c:ext>
            </c:extLst>
          </c:dPt>
          <c:dPt>
            <c:idx val="10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7-27DC-4977-B1A3-355F0827A33F}"/>
              </c:ext>
            </c:extLst>
          </c:dPt>
          <c:dPt>
            <c:idx val="10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8-27DC-4977-B1A3-355F0827A33F}"/>
              </c:ext>
            </c:extLst>
          </c:dPt>
          <c:dPt>
            <c:idx val="10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9-27DC-4977-B1A3-355F0827A33F}"/>
              </c:ext>
            </c:extLst>
          </c:dPt>
          <c:dPt>
            <c:idx val="10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A-27DC-4977-B1A3-355F0827A33F}"/>
              </c:ext>
            </c:extLst>
          </c:dPt>
          <c:dPt>
            <c:idx val="10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B-27DC-4977-B1A3-355F0827A33F}"/>
              </c:ext>
            </c:extLst>
          </c:dPt>
          <c:dPt>
            <c:idx val="10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C-27DC-4977-B1A3-355F0827A33F}"/>
              </c:ext>
            </c:extLst>
          </c:dPt>
          <c:dPt>
            <c:idx val="10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D-27DC-4977-B1A3-355F0827A33F}"/>
              </c:ext>
            </c:extLst>
          </c:dPt>
          <c:dPt>
            <c:idx val="10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E-27DC-4977-B1A3-355F0827A33F}"/>
              </c:ext>
            </c:extLst>
          </c:dPt>
          <c:dPt>
            <c:idx val="10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4F-27DC-4977-B1A3-355F0827A33F}"/>
              </c:ext>
            </c:extLst>
          </c:dPt>
          <c:dPt>
            <c:idx val="11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0-27DC-4977-B1A3-355F0827A33F}"/>
              </c:ext>
            </c:extLst>
          </c:dPt>
          <c:dPt>
            <c:idx val="11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1-27DC-4977-B1A3-355F0827A33F}"/>
              </c:ext>
            </c:extLst>
          </c:dPt>
          <c:dPt>
            <c:idx val="11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2-27DC-4977-B1A3-355F0827A33F}"/>
              </c:ext>
            </c:extLst>
          </c:dPt>
          <c:dPt>
            <c:idx val="11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3-27DC-4977-B1A3-355F0827A33F}"/>
              </c:ext>
            </c:extLst>
          </c:dPt>
          <c:dPt>
            <c:idx val="11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4-27DC-4977-B1A3-355F0827A33F}"/>
              </c:ext>
            </c:extLst>
          </c:dPt>
          <c:dPt>
            <c:idx val="11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5-27DC-4977-B1A3-355F0827A33F}"/>
              </c:ext>
            </c:extLst>
          </c:dPt>
          <c:dPt>
            <c:idx val="11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6-27DC-4977-B1A3-355F0827A33F}"/>
              </c:ext>
            </c:extLst>
          </c:dPt>
          <c:dPt>
            <c:idx val="11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7-27DC-4977-B1A3-355F0827A33F}"/>
              </c:ext>
            </c:extLst>
          </c:dPt>
          <c:dPt>
            <c:idx val="11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8-27DC-4977-B1A3-355F0827A33F}"/>
              </c:ext>
            </c:extLst>
          </c:dPt>
          <c:dPt>
            <c:idx val="11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9-27DC-4977-B1A3-355F0827A33F}"/>
              </c:ext>
            </c:extLst>
          </c:dPt>
          <c:dPt>
            <c:idx val="11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A-27DC-4977-B1A3-355F0827A33F}"/>
              </c:ext>
            </c:extLst>
          </c:dPt>
          <c:dPt>
            <c:idx val="11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B-27DC-4977-B1A3-355F0827A33F}"/>
              </c:ext>
            </c:extLst>
          </c:dPt>
          <c:dPt>
            <c:idx val="11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C-27DC-4977-B1A3-355F0827A33F}"/>
              </c:ext>
            </c:extLst>
          </c:dPt>
          <c:dPt>
            <c:idx val="11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D-27DC-4977-B1A3-355F0827A33F}"/>
              </c:ext>
            </c:extLst>
          </c:dPt>
          <c:dPt>
            <c:idx val="11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E-27DC-4977-B1A3-355F0827A33F}"/>
              </c:ext>
            </c:extLst>
          </c:dPt>
          <c:dPt>
            <c:idx val="11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5F-27DC-4977-B1A3-355F0827A33F}"/>
              </c:ext>
            </c:extLst>
          </c:dPt>
          <c:dPt>
            <c:idx val="11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0-27DC-4977-B1A3-355F0827A33F}"/>
              </c:ext>
            </c:extLst>
          </c:dPt>
          <c:dPt>
            <c:idx val="11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1-27DC-4977-B1A3-355F0827A33F}"/>
              </c:ext>
            </c:extLst>
          </c:dPt>
          <c:dPt>
            <c:idx val="11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2-27DC-4977-B1A3-355F0827A33F}"/>
              </c:ext>
            </c:extLst>
          </c:dPt>
          <c:dPt>
            <c:idx val="11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3-27DC-4977-B1A3-355F0827A33F}"/>
              </c:ext>
            </c:extLst>
          </c:dPt>
          <c:dPt>
            <c:idx val="11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4-27DC-4977-B1A3-355F0827A33F}"/>
              </c:ext>
            </c:extLst>
          </c:dPt>
          <c:dPt>
            <c:idx val="11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5-27DC-4977-B1A3-355F0827A33F}"/>
              </c:ext>
            </c:extLst>
          </c:dPt>
          <c:dPt>
            <c:idx val="11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6-27DC-4977-B1A3-355F0827A33F}"/>
              </c:ext>
            </c:extLst>
          </c:dPt>
          <c:dPt>
            <c:idx val="11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7-27DC-4977-B1A3-355F0827A33F}"/>
              </c:ext>
            </c:extLst>
          </c:dPt>
          <c:dPt>
            <c:idx val="11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8-27DC-4977-B1A3-355F0827A33F}"/>
              </c:ext>
            </c:extLst>
          </c:dPt>
          <c:dPt>
            <c:idx val="11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9-27DC-4977-B1A3-355F0827A33F}"/>
              </c:ext>
            </c:extLst>
          </c:dPt>
          <c:dPt>
            <c:idx val="11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A-27DC-4977-B1A3-355F0827A33F}"/>
              </c:ext>
            </c:extLst>
          </c:dPt>
          <c:dPt>
            <c:idx val="11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B-27DC-4977-B1A3-355F0827A33F}"/>
              </c:ext>
            </c:extLst>
          </c:dPt>
          <c:dPt>
            <c:idx val="11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C-27DC-4977-B1A3-355F0827A33F}"/>
              </c:ext>
            </c:extLst>
          </c:dPt>
          <c:dPt>
            <c:idx val="11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D-27DC-4977-B1A3-355F0827A33F}"/>
              </c:ext>
            </c:extLst>
          </c:dPt>
          <c:dPt>
            <c:idx val="11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E-27DC-4977-B1A3-355F0827A33F}"/>
              </c:ext>
            </c:extLst>
          </c:dPt>
          <c:dPt>
            <c:idx val="11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6F-27DC-4977-B1A3-355F0827A33F}"/>
              </c:ext>
            </c:extLst>
          </c:dPt>
          <c:dPt>
            <c:idx val="11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0-27DC-4977-B1A3-355F0827A33F}"/>
              </c:ext>
            </c:extLst>
          </c:dPt>
          <c:dPt>
            <c:idx val="11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1-27DC-4977-B1A3-355F0827A33F}"/>
              </c:ext>
            </c:extLst>
          </c:dPt>
          <c:dPt>
            <c:idx val="11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2-27DC-4977-B1A3-355F0827A33F}"/>
              </c:ext>
            </c:extLst>
          </c:dPt>
          <c:dPt>
            <c:idx val="11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3-27DC-4977-B1A3-355F0827A33F}"/>
              </c:ext>
            </c:extLst>
          </c:dPt>
          <c:dPt>
            <c:idx val="11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4-27DC-4977-B1A3-355F0827A33F}"/>
              </c:ext>
            </c:extLst>
          </c:dPt>
          <c:dPt>
            <c:idx val="11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5-27DC-4977-B1A3-355F0827A33F}"/>
              </c:ext>
            </c:extLst>
          </c:dPt>
          <c:dPt>
            <c:idx val="11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6-27DC-4977-B1A3-355F0827A33F}"/>
              </c:ext>
            </c:extLst>
          </c:dPt>
          <c:dPt>
            <c:idx val="11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7-27DC-4977-B1A3-355F0827A33F}"/>
              </c:ext>
            </c:extLst>
          </c:dPt>
          <c:dPt>
            <c:idx val="11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8-27DC-4977-B1A3-355F0827A33F}"/>
              </c:ext>
            </c:extLst>
          </c:dPt>
          <c:dPt>
            <c:idx val="11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9-27DC-4977-B1A3-355F0827A33F}"/>
              </c:ext>
            </c:extLst>
          </c:dPt>
          <c:dPt>
            <c:idx val="11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A-27DC-4977-B1A3-355F0827A33F}"/>
              </c:ext>
            </c:extLst>
          </c:dPt>
          <c:dPt>
            <c:idx val="11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B-27DC-4977-B1A3-355F0827A33F}"/>
              </c:ext>
            </c:extLst>
          </c:dPt>
          <c:dPt>
            <c:idx val="11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C-27DC-4977-B1A3-355F0827A33F}"/>
              </c:ext>
            </c:extLst>
          </c:dPt>
          <c:dPt>
            <c:idx val="11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D-27DC-4977-B1A3-355F0827A33F}"/>
              </c:ext>
            </c:extLst>
          </c:dPt>
          <c:dPt>
            <c:idx val="11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E-27DC-4977-B1A3-355F0827A33F}"/>
              </c:ext>
            </c:extLst>
          </c:dPt>
          <c:dPt>
            <c:idx val="11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7F-27DC-4977-B1A3-355F0827A33F}"/>
              </c:ext>
            </c:extLst>
          </c:dPt>
          <c:dPt>
            <c:idx val="11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0-27DC-4977-B1A3-355F0827A33F}"/>
              </c:ext>
            </c:extLst>
          </c:dPt>
          <c:dPt>
            <c:idx val="11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1-27DC-4977-B1A3-355F0827A33F}"/>
              </c:ext>
            </c:extLst>
          </c:dPt>
          <c:dPt>
            <c:idx val="11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2-27DC-4977-B1A3-355F0827A33F}"/>
              </c:ext>
            </c:extLst>
          </c:dPt>
          <c:dPt>
            <c:idx val="11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3-27DC-4977-B1A3-355F0827A33F}"/>
              </c:ext>
            </c:extLst>
          </c:dPt>
          <c:dPt>
            <c:idx val="11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4-27DC-4977-B1A3-355F0827A33F}"/>
              </c:ext>
            </c:extLst>
          </c:dPt>
          <c:dPt>
            <c:idx val="11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5-27DC-4977-B1A3-355F0827A33F}"/>
              </c:ext>
            </c:extLst>
          </c:dPt>
          <c:dPt>
            <c:idx val="11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6-27DC-4977-B1A3-355F0827A33F}"/>
              </c:ext>
            </c:extLst>
          </c:dPt>
          <c:dPt>
            <c:idx val="11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7-27DC-4977-B1A3-355F0827A33F}"/>
              </c:ext>
            </c:extLst>
          </c:dPt>
          <c:dPt>
            <c:idx val="11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8-27DC-4977-B1A3-355F0827A33F}"/>
              </c:ext>
            </c:extLst>
          </c:dPt>
          <c:dPt>
            <c:idx val="11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9-27DC-4977-B1A3-355F0827A33F}"/>
              </c:ext>
            </c:extLst>
          </c:dPt>
          <c:dPt>
            <c:idx val="11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A-27DC-4977-B1A3-355F0827A33F}"/>
              </c:ext>
            </c:extLst>
          </c:dPt>
          <c:dPt>
            <c:idx val="11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B-27DC-4977-B1A3-355F0827A33F}"/>
              </c:ext>
            </c:extLst>
          </c:dPt>
          <c:dPt>
            <c:idx val="11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C-27DC-4977-B1A3-355F0827A33F}"/>
              </c:ext>
            </c:extLst>
          </c:dPt>
          <c:dPt>
            <c:idx val="11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D-27DC-4977-B1A3-355F0827A33F}"/>
              </c:ext>
            </c:extLst>
          </c:dPt>
          <c:dPt>
            <c:idx val="11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E-27DC-4977-B1A3-355F0827A33F}"/>
              </c:ext>
            </c:extLst>
          </c:dPt>
          <c:dPt>
            <c:idx val="11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8F-27DC-4977-B1A3-355F0827A33F}"/>
              </c:ext>
            </c:extLst>
          </c:dPt>
          <c:dPt>
            <c:idx val="11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0-27DC-4977-B1A3-355F0827A33F}"/>
              </c:ext>
            </c:extLst>
          </c:dPt>
          <c:dPt>
            <c:idx val="11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1-27DC-4977-B1A3-355F0827A33F}"/>
              </c:ext>
            </c:extLst>
          </c:dPt>
          <c:dPt>
            <c:idx val="11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2-27DC-4977-B1A3-355F0827A33F}"/>
              </c:ext>
            </c:extLst>
          </c:dPt>
          <c:dPt>
            <c:idx val="11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3-27DC-4977-B1A3-355F0827A33F}"/>
              </c:ext>
            </c:extLst>
          </c:dPt>
          <c:dPt>
            <c:idx val="11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4-27DC-4977-B1A3-355F0827A33F}"/>
              </c:ext>
            </c:extLst>
          </c:dPt>
          <c:dPt>
            <c:idx val="11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5-27DC-4977-B1A3-355F0827A33F}"/>
              </c:ext>
            </c:extLst>
          </c:dPt>
          <c:dPt>
            <c:idx val="11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6-27DC-4977-B1A3-355F0827A33F}"/>
              </c:ext>
            </c:extLst>
          </c:dPt>
          <c:dPt>
            <c:idx val="11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7-27DC-4977-B1A3-355F0827A33F}"/>
              </c:ext>
            </c:extLst>
          </c:dPt>
          <c:dPt>
            <c:idx val="11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8-27DC-4977-B1A3-355F0827A33F}"/>
              </c:ext>
            </c:extLst>
          </c:dPt>
          <c:dPt>
            <c:idx val="11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9-27DC-4977-B1A3-355F0827A33F}"/>
              </c:ext>
            </c:extLst>
          </c:dPt>
          <c:dPt>
            <c:idx val="11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A-27DC-4977-B1A3-355F0827A33F}"/>
              </c:ext>
            </c:extLst>
          </c:dPt>
          <c:dPt>
            <c:idx val="11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B-27DC-4977-B1A3-355F0827A33F}"/>
              </c:ext>
            </c:extLst>
          </c:dPt>
          <c:dPt>
            <c:idx val="11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C-27DC-4977-B1A3-355F0827A33F}"/>
              </c:ext>
            </c:extLst>
          </c:dPt>
          <c:dPt>
            <c:idx val="11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D-27DC-4977-B1A3-355F0827A33F}"/>
              </c:ext>
            </c:extLst>
          </c:dPt>
          <c:dPt>
            <c:idx val="11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E-27DC-4977-B1A3-355F0827A33F}"/>
              </c:ext>
            </c:extLst>
          </c:dPt>
          <c:dPt>
            <c:idx val="11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9F-27DC-4977-B1A3-355F0827A33F}"/>
              </c:ext>
            </c:extLst>
          </c:dPt>
          <c:dPt>
            <c:idx val="11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0-27DC-4977-B1A3-355F0827A33F}"/>
              </c:ext>
            </c:extLst>
          </c:dPt>
          <c:dPt>
            <c:idx val="11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1-27DC-4977-B1A3-355F0827A33F}"/>
              </c:ext>
            </c:extLst>
          </c:dPt>
          <c:dPt>
            <c:idx val="11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2-27DC-4977-B1A3-355F0827A33F}"/>
              </c:ext>
            </c:extLst>
          </c:dPt>
          <c:dPt>
            <c:idx val="11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3-27DC-4977-B1A3-355F0827A33F}"/>
              </c:ext>
            </c:extLst>
          </c:dPt>
          <c:dPt>
            <c:idx val="11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4-27DC-4977-B1A3-355F0827A33F}"/>
              </c:ext>
            </c:extLst>
          </c:dPt>
          <c:dPt>
            <c:idx val="11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5-27DC-4977-B1A3-355F0827A33F}"/>
              </c:ext>
            </c:extLst>
          </c:dPt>
          <c:dPt>
            <c:idx val="11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6-27DC-4977-B1A3-355F0827A33F}"/>
              </c:ext>
            </c:extLst>
          </c:dPt>
          <c:dPt>
            <c:idx val="11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7-27DC-4977-B1A3-355F0827A33F}"/>
              </c:ext>
            </c:extLst>
          </c:dPt>
          <c:dPt>
            <c:idx val="11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8-27DC-4977-B1A3-355F0827A33F}"/>
              </c:ext>
            </c:extLst>
          </c:dPt>
          <c:dPt>
            <c:idx val="11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9-27DC-4977-B1A3-355F0827A33F}"/>
              </c:ext>
            </c:extLst>
          </c:dPt>
          <c:dPt>
            <c:idx val="11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A-27DC-4977-B1A3-355F0827A33F}"/>
              </c:ext>
            </c:extLst>
          </c:dPt>
          <c:dPt>
            <c:idx val="11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B-27DC-4977-B1A3-355F0827A33F}"/>
              </c:ext>
            </c:extLst>
          </c:dPt>
          <c:dPt>
            <c:idx val="11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C-27DC-4977-B1A3-355F0827A33F}"/>
              </c:ext>
            </c:extLst>
          </c:dPt>
          <c:dPt>
            <c:idx val="11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D-27DC-4977-B1A3-355F0827A33F}"/>
              </c:ext>
            </c:extLst>
          </c:dPt>
          <c:dPt>
            <c:idx val="11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E-27DC-4977-B1A3-355F0827A33F}"/>
              </c:ext>
            </c:extLst>
          </c:dPt>
          <c:dPt>
            <c:idx val="11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AF-27DC-4977-B1A3-355F0827A33F}"/>
              </c:ext>
            </c:extLst>
          </c:dPt>
          <c:dPt>
            <c:idx val="11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0-27DC-4977-B1A3-355F0827A33F}"/>
              </c:ext>
            </c:extLst>
          </c:dPt>
          <c:dPt>
            <c:idx val="11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1-27DC-4977-B1A3-355F0827A33F}"/>
              </c:ext>
            </c:extLst>
          </c:dPt>
          <c:dPt>
            <c:idx val="11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2-27DC-4977-B1A3-355F0827A33F}"/>
              </c:ext>
            </c:extLst>
          </c:dPt>
          <c:dPt>
            <c:idx val="11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3-27DC-4977-B1A3-355F0827A33F}"/>
              </c:ext>
            </c:extLst>
          </c:dPt>
          <c:dPt>
            <c:idx val="12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4-27DC-4977-B1A3-355F0827A33F}"/>
              </c:ext>
            </c:extLst>
          </c:dPt>
          <c:dPt>
            <c:idx val="12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5-27DC-4977-B1A3-355F0827A33F}"/>
              </c:ext>
            </c:extLst>
          </c:dPt>
          <c:dPt>
            <c:idx val="12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6-27DC-4977-B1A3-355F0827A33F}"/>
              </c:ext>
            </c:extLst>
          </c:dPt>
          <c:dPt>
            <c:idx val="12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7-27DC-4977-B1A3-355F0827A33F}"/>
              </c:ext>
            </c:extLst>
          </c:dPt>
          <c:dPt>
            <c:idx val="12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8-27DC-4977-B1A3-355F0827A33F}"/>
              </c:ext>
            </c:extLst>
          </c:dPt>
          <c:dPt>
            <c:idx val="12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9-27DC-4977-B1A3-355F0827A33F}"/>
              </c:ext>
            </c:extLst>
          </c:dPt>
          <c:dPt>
            <c:idx val="12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A-27DC-4977-B1A3-355F0827A33F}"/>
              </c:ext>
            </c:extLst>
          </c:dPt>
          <c:dPt>
            <c:idx val="12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B-27DC-4977-B1A3-355F0827A33F}"/>
              </c:ext>
            </c:extLst>
          </c:dPt>
          <c:dPt>
            <c:idx val="12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C-27DC-4977-B1A3-355F0827A33F}"/>
              </c:ext>
            </c:extLst>
          </c:dPt>
          <c:dPt>
            <c:idx val="12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D-27DC-4977-B1A3-355F0827A33F}"/>
              </c:ext>
            </c:extLst>
          </c:dPt>
          <c:dPt>
            <c:idx val="12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E-27DC-4977-B1A3-355F0827A33F}"/>
              </c:ext>
            </c:extLst>
          </c:dPt>
          <c:dPt>
            <c:idx val="12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BF-27DC-4977-B1A3-355F0827A33F}"/>
              </c:ext>
            </c:extLst>
          </c:dPt>
          <c:dPt>
            <c:idx val="12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0-27DC-4977-B1A3-355F0827A33F}"/>
              </c:ext>
            </c:extLst>
          </c:dPt>
          <c:dPt>
            <c:idx val="12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1-27DC-4977-B1A3-355F0827A33F}"/>
              </c:ext>
            </c:extLst>
          </c:dPt>
          <c:dPt>
            <c:idx val="12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2-27DC-4977-B1A3-355F0827A33F}"/>
              </c:ext>
            </c:extLst>
          </c:dPt>
          <c:dPt>
            <c:idx val="12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3-27DC-4977-B1A3-355F0827A33F}"/>
              </c:ext>
            </c:extLst>
          </c:dPt>
          <c:dPt>
            <c:idx val="12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4-27DC-4977-B1A3-355F0827A33F}"/>
              </c:ext>
            </c:extLst>
          </c:dPt>
          <c:dPt>
            <c:idx val="12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5-27DC-4977-B1A3-355F0827A33F}"/>
              </c:ext>
            </c:extLst>
          </c:dPt>
          <c:dPt>
            <c:idx val="12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6-27DC-4977-B1A3-355F0827A33F}"/>
              </c:ext>
            </c:extLst>
          </c:dPt>
          <c:dPt>
            <c:idx val="12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7-27DC-4977-B1A3-355F0827A33F}"/>
              </c:ext>
            </c:extLst>
          </c:dPt>
          <c:dPt>
            <c:idx val="12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8-27DC-4977-B1A3-355F0827A33F}"/>
              </c:ext>
            </c:extLst>
          </c:dPt>
          <c:dPt>
            <c:idx val="12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9-27DC-4977-B1A3-355F0827A33F}"/>
              </c:ext>
            </c:extLst>
          </c:dPt>
          <c:dPt>
            <c:idx val="12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A-27DC-4977-B1A3-355F0827A33F}"/>
              </c:ext>
            </c:extLst>
          </c:dPt>
          <c:dPt>
            <c:idx val="12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B-27DC-4977-B1A3-355F0827A33F}"/>
              </c:ext>
            </c:extLst>
          </c:dPt>
          <c:dPt>
            <c:idx val="12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C-27DC-4977-B1A3-355F0827A33F}"/>
              </c:ext>
            </c:extLst>
          </c:dPt>
          <c:dPt>
            <c:idx val="12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D-27DC-4977-B1A3-355F0827A33F}"/>
              </c:ext>
            </c:extLst>
          </c:dPt>
          <c:dPt>
            <c:idx val="12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E-27DC-4977-B1A3-355F0827A33F}"/>
              </c:ext>
            </c:extLst>
          </c:dPt>
          <c:dPt>
            <c:idx val="12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CF-27DC-4977-B1A3-355F0827A33F}"/>
              </c:ext>
            </c:extLst>
          </c:dPt>
          <c:dPt>
            <c:idx val="12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0-27DC-4977-B1A3-355F0827A33F}"/>
              </c:ext>
            </c:extLst>
          </c:dPt>
          <c:dPt>
            <c:idx val="12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1-27DC-4977-B1A3-355F0827A33F}"/>
              </c:ext>
            </c:extLst>
          </c:dPt>
          <c:dPt>
            <c:idx val="12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2-27DC-4977-B1A3-355F0827A33F}"/>
              </c:ext>
            </c:extLst>
          </c:dPt>
          <c:dPt>
            <c:idx val="12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3-27DC-4977-B1A3-355F0827A33F}"/>
              </c:ext>
            </c:extLst>
          </c:dPt>
          <c:dPt>
            <c:idx val="12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4-27DC-4977-B1A3-355F0827A33F}"/>
              </c:ext>
            </c:extLst>
          </c:dPt>
          <c:dPt>
            <c:idx val="12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5-27DC-4977-B1A3-355F0827A33F}"/>
              </c:ext>
            </c:extLst>
          </c:dPt>
          <c:dPt>
            <c:idx val="12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6-27DC-4977-B1A3-355F0827A33F}"/>
              </c:ext>
            </c:extLst>
          </c:dPt>
          <c:dPt>
            <c:idx val="12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7-27DC-4977-B1A3-355F0827A33F}"/>
              </c:ext>
            </c:extLst>
          </c:dPt>
          <c:dPt>
            <c:idx val="12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8-27DC-4977-B1A3-355F0827A33F}"/>
              </c:ext>
            </c:extLst>
          </c:dPt>
          <c:dPt>
            <c:idx val="12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9-27DC-4977-B1A3-355F0827A33F}"/>
              </c:ext>
            </c:extLst>
          </c:dPt>
          <c:dPt>
            <c:idx val="12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A-27DC-4977-B1A3-355F0827A33F}"/>
              </c:ext>
            </c:extLst>
          </c:dPt>
          <c:dPt>
            <c:idx val="12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B-27DC-4977-B1A3-355F0827A33F}"/>
              </c:ext>
            </c:extLst>
          </c:dPt>
          <c:dPt>
            <c:idx val="12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C-27DC-4977-B1A3-355F0827A33F}"/>
              </c:ext>
            </c:extLst>
          </c:dPt>
          <c:dPt>
            <c:idx val="12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D-27DC-4977-B1A3-355F0827A33F}"/>
              </c:ext>
            </c:extLst>
          </c:dPt>
          <c:dPt>
            <c:idx val="12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E-27DC-4977-B1A3-355F0827A33F}"/>
              </c:ext>
            </c:extLst>
          </c:dPt>
          <c:dPt>
            <c:idx val="12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DF-27DC-4977-B1A3-355F0827A33F}"/>
              </c:ext>
            </c:extLst>
          </c:dPt>
          <c:dPt>
            <c:idx val="12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0-27DC-4977-B1A3-355F0827A33F}"/>
              </c:ext>
            </c:extLst>
          </c:dPt>
          <c:dPt>
            <c:idx val="12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1-27DC-4977-B1A3-355F0827A33F}"/>
              </c:ext>
            </c:extLst>
          </c:dPt>
          <c:dPt>
            <c:idx val="12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2-27DC-4977-B1A3-355F0827A33F}"/>
              </c:ext>
            </c:extLst>
          </c:dPt>
          <c:dPt>
            <c:idx val="12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3-27DC-4977-B1A3-355F0827A33F}"/>
              </c:ext>
            </c:extLst>
          </c:dPt>
          <c:dPt>
            <c:idx val="12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4-27DC-4977-B1A3-355F0827A33F}"/>
              </c:ext>
            </c:extLst>
          </c:dPt>
          <c:dPt>
            <c:idx val="12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5-27DC-4977-B1A3-355F0827A33F}"/>
              </c:ext>
            </c:extLst>
          </c:dPt>
          <c:dPt>
            <c:idx val="12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6-27DC-4977-B1A3-355F0827A33F}"/>
              </c:ext>
            </c:extLst>
          </c:dPt>
          <c:dPt>
            <c:idx val="12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7-27DC-4977-B1A3-355F0827A33F}"/>
              </c:ext>
            </c:extLst>
          </c:dPt>
          <c:dPt>
            <c:idx val="12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8-27DC-4977-B1A3-355F0827A33F}"/>
              </c:ext>
            </c:extLst>
          </c:dPt>
          <c:dPt>
            <c:idx val="12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9-27DC-4977-B1A3-355F0827A33F}"/>
              </c:ext>
            </c:extLst>
          </c:dPt>
          <c:dPt>
            <c:idx val="12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A-27DC-4977-B1A3-355F0827A33F}"/>
              </c:ext>
            </c:extLst>
          </c:dPt>
          <c:dPt>
            <c:idx val="12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B-27DC-4977-B1A3-355F0827A33F}"/>
              </c:ext>
            </c:extLst>
          </c:dPt>
          <c:dPt>
            <c:idx val="12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C-27DC-4977-B1A3-355F0827A33F}"/>
              </c:ext>
            </c:extLst>
          </c:dPt>
          <c:dPt>
            <c:idx val="12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D-27DC-4977-B1A3-355F0827A33F}"/>
              </c:ext>
            </c:extLst>
          </c:dPt>
          <c:dPt>
            <c:idx val="12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E-27DC-4977-B1A3-355F0827A33F}"/>
              </c:ext>
            </c:extLst>
          </c:dPt>
          <c:dPt>
            <c:idx val="12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EF-27DC-4977-B1A3-355F0827A33F}"/>
              </c:ext>
            </c:extLst>
          </c:dPt>
          <c:dPt>
            <c:idx val="12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0-27DC-4977-B1A3-355F0827A33F}"/>
              </c:ext>
            </c:extLst>
          </c:dPt>
          <c:dPt>
            <c:idx val="12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1-27DC-4977-B1A3-355F0827A33F}"/>
              </c:ext>
            </c:extLst>
          </c:dPt>
          <c:dPt>
            <c:idx val="12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2-27DC-4977-B1A3-355F0827A33F}"/>
              </c:ext>
            </c:extLst>
          </c:dPt>
          <c:dPt>
            <c:idx val="12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3-27DC-4977-B1A3-355F0827A33F}"/>
              </c:ext>
            </c:extLst>
          </c:dPt>
          <c:dPt>
            <c:idx val="12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4-27DC-4977-B1A3-355F0827A33F}"/>
              </c:ext>
            </c:extLst>
          </c:dPt>
          <c:dPt>
            <c:idx val="12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5-27DC-4977-B1A3-355F0827A33F}"/>
              </c:ext>
            </c:extLst>
          </c:dPt>
          <c:dPt>
            <c:idx val="12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6-27DC-4977-B1A3-355F0827A33F}"/>
              </c:ext>
            </c:extLst>
          </c:dPt>
          <c:dPt>
            <c:idx val="12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7-27DC-4977-B1A3-355F0827A33F}"/>
              </c:ext>
            </c:extLst>
          </c:dPt>
          <c:dPt>
            <c:idx val="12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8-27DC-4977-B1A3-355F0827A33F}"/>
              </c:ext>
            </c:extLst>
          </c:dPt>
          <c:dPt>
            <c:idx val="12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9-27DC-4977-B1A3-355F0827A33F}"/>
              </c:ext>
            </c:extLst>
          </c:dPt>
          <c:dPt>
            <c:idx val="12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A-27DC-4977-B1A3-355F0827A33F}"/>
              </c:ext>
            </c:extLst>
          </c:dPt>
          <c:dPt>
            <c:idx val="12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B-27DC-4977-B1A3-355F0827A33F}"/>
              </c:ext>
            </c:extLst>
          </c:dPt>
          <c:dPt>
            <c:idx val="12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C-27DC-4977-B1A3-355F0827A33F}"/>
              </c:ext>
            </c:extLst>
          </c:dPt>
          <c:dPt>
            <c:idx val="12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D-27DC-4977-B1A3-355F0827A33F}"/>
              </c:ext>
            </c:extLst>
          </c:dPt>
          <c:dPt>
            <c:idx val="12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E-27DC-4977-B1A3-355F0827A33F}"/>
              </c:ext>
            </c:extLst>
          </c:dPt>
          <c:dPt>
            <c:idx val="12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4FF-27DC-4977-B1A3-355F0827A33F}"/>
              </c:ext>
            </c:extLst>
          </c:dPt>
          <c:dPt>
            <c:idx val="12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0-27DC-4977-B1A3-355F0827A33F}"/>
              </c:ext>
            </c:extLst>
          </c:dPt>
          <c:dPt>
            <c:idx val="12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1-27DC-4977-B1A3-355F0827A33F}"/>
              </c:ext>
            </c:extLst>
          </c:dPt>
          <c:dPt>
            <c:idx val="12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2-27DC-4977-B1A3-355F0827A33F}"/>
              </c:ext>
            </c:extLst>
          </c:dPt>
          <c:dPt>
            <c:idx val="12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3-27DC-4977-B1A3-355F0827A33F}"/>
              </c:ext>
            </c:extLst>
          </c:dPt>
          <c:dPt>
            <c:idx val="12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4-27DC-4977-B1A3-355F0827A33F}"/>
              </c:ext>
            </c:extLst>
          </c:dPt>
          <c:dPt>
            <c:idx val="12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5-27DC-4977-B1A3-355F0827A33F}"/>
              </c:ext>
            </c:extLst>
          </c:dPt>
          <c:dPt>
            <c:idx val="12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6-27DC-4977-B1A3-355F0827A33F}"/>
              </c:ext>
            </c:extLst>
          </c:dPt>
          <c:dPt>
            <c:idx val="12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7-27DC-4977-B1A3-355F0827A33F}"/>
              </c:ext>
            </c:extLst>
          </c:dPt>
          <c:dPt>
            <c:idx val="12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8-27DC-4977-B1A3-355F0827A33F}"/>
              </c:ext>
            </c:extLst>
          </c:dPt>
          <c:dPt>
            <c:idx val="12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9-27DC-4977-B1A3-355F0827A33F}"/>
              </c:ext>
            </c:extLst>
          </c:dPt>
          <c:dPt>
            <c:idx val="12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A-27DC-4977-B1A3-355F0827A33F}"/>
              </c:ext>
            </c:extLst>
          </c:dPt>
          <c:dPt>
            <c:idx val="12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B-27DC-4977-B1A3-355F0827A33F}"/>
              </c:ext>
            </c:extLst>
          </c:dPt>
          <c:dPt>
            <c:idx val="12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C-27DC-4977-B1A3-355F0827A33F}"/>
              </c:ext>
            </c:extLst>
          </c:dPt>
          <c:dPt>
            <c:idx val="12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D-27DC-4977-B1A3-355F0827A33F}"/>
              </c:ext>
            </c:extLst>
          </c:dPt>
          <c:dPt>
            <c:idx val="12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E-27DC-4977-B1A3-355F0827A33F}"/>
              </c:ext>
            </c:extLst>
          </c:dPt>
          <c:dPt>
            <c:idx val="12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0F-27DC-4977-B1A3-355F0827A33F}"/>
              </c:ext>
            </c:extLst>
          </c:dPt>
          <c:dPt>
            <c:idx val="12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0-27DC-4977-B1A3-355F0827A33F}"/>
              </c:ext>
            </c:extLst>
          </c:dPt>
          <c:dPt>
            <c:idx val="12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1-27DC-4977-B1A3-355F0827A33F}"/>
              </c:ext>
            </c:extLst>
          </c:dPt>
          <c:dPt>
            <c:idx val="12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2-27DC-4977-B1A3-355F0827A33F}"/>
              </c:ext>
            </c:extLst>
          </c:dPt>
          <c:dPt>
            <c:idx val="12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3-27DC-4977-B1A3-355F0827A33F}"/>
              </c:ext>
            </c:extLst>
          </c:dPt>
          <c:dPt>
            <c:idx val="12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4-27DC-4977-B1A3-355F0827A33F}"/>
              </c:ext>
            </c:extLst>
          </c:dPt>
          <c:dPt>
            <c:idx val="12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5-27DC-4977-B1A3-355F0827A33F}"/>
              </c:ext>
            </c:extLst>
          </c:dPt>
          <c:dPt>
            <c:idx val="12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6-27DC-4977-B1A3-355F0827A33F}"/>
              </c:ext>
            </c:extLst>
          </c:dPt>
          <c:dPt>
            <c:idx val="12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7-27DC-4977-B1A3-355F0827A33F}"/>
              </c:ext>
            </c:extLst>
          </c:dPt>
          <c:dPt>
            <c:idx val="13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8-27DC-4977-B1A3-355F0827A33F}"/>
              </c:ext>
            </c:extLst>
          </c:dPt>
          <c:dPt>
            <c:idx val="13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9-27DC-4977-B1A3-355F0827A33F}"/>
              </c:ext>
            </c:extLst>
          </c:dPt>
          <c:dPt>
            <c:idx val="13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A-27DC-4977-B1A3-355F0827A33F}"/>
              </c:ext>
            </c:extLst>
          </c:dPt>
          <c:dPt>
            <c:idx val="13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B-27DC-4977-B1A3-355F0827A33F}"/>
              </c:ext>
            </c:extLst>
          </c:dPt>
          <c:dPt>
            <c:idx val="13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C-27DC-4977-B1A3-355F0827A33F}"/>
              </c:ext>
            </c:extLst>
          </c:dPt>
          <c:dPt>
            <c:idx val="13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D-27DC-4977-B1A3-355F0827A33F}"/>
              </c:ext>
            </c:extLst>
          </c:dPt>
          <c:dPt>
            <c:idx val="13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E-27DC-4977-B1A3-355F0827A33F}"/>
              </c:ext>
            </c:extLst>
          </c:dPt>
          <c:dPt>
            <c:idx val="13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1F-27DC-4977-B1A3-355F0827A33F}"/>
              </c:ext>
            </c:extLst>
          </c:dPt>
          <c:dPt>
            <c:idx val="13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0-27DC-4977-B1A3-355F0827A33F}"/>
              </c:ext>
            </c:extLst>
          </c:dPt>
          <c:dPt>
            <c:idx val="13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1-27DC-4977-B1A3-355F0827A33F}"/>
              </c:ext>
            </c:extLst>
          </c:dPt>
          <c:dPt>
            <c:idx val="13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2-27DC-4977-B1A3-355F0827A33F}"/>
              </c:ext>
            </c:extLst>
          </c:dPt>
          <c:dPt>
            <c:idx val="13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3-27DC-4977-B1A3-355F0827A33F}"/>
              </c:ext>
            </c:extLst>
          </c:dPt>
          <c:dPt>
            <c:idx val="13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4-27DC-4977-B1A3-355F0827A33F}"/>
              </c:ext>
            </c:extLst>
          </c:dPt>
          <c:dPt>
            <c:idx val="13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5-27DC-4977-B1A3-355F0827A33F}"/>
              </c:ext>
            </c:extLst>
          </c:dPt>
          <c:dPt>
            <c:idx val="13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6-27DC-4977-B1A3-355F0827A33F}"/>
              </c:ext>
            </c:extLst>
          </c:dPt>
          <c:dPt>
            <c:idx val="13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7-27DC-4977-B1A3-355F0827A33F}"/>
              </c:ext>
            </c:extLst>
          </c:dPt>
          <c:dPt>
            <c:idx val="13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8-27DC-4977-B1A3-355F0827A33F}"/>
              </c:ext>
            </c:extLst>
          </c:dPt>
          <c:dPt>
            <c:idx val="13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9-27DC-4977-B1A3-355F0827A33F}"/>
              </c:ext>
            </c:extLst>
          </c:dPt>
          <c:dPt>
            <c:idx val="13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A-27DC-4977-B1A3-355F0827A33F}"/>
              </c:ext>
            </c:extLst>
          </c:dPt>
          <c:dPt>
            <c:idx val="13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B-27DC-4977-B1A3-355F0827A33F}"/>
              </c:ext>
            </c:extLst>
          </c:dPt>
          <c:dPt>
            <c:idx val="13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C-27DC-4977-B1A3-355F0827A33F}"/>
              </c:ext>
            </c:extLst>
          </c:dPt>
          <c:dPt>
            <c:idx val="13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D-27DC-4977-B1A3-355F0827A33F}"/>
              </c:ext>
            </c:extLst>
          </c:dPt>
          <c:dPt>
            <c:idx val="13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E-27DC-4977-B1A3-355F0827A33F}"/>
              </c:ext>
            </c:extLst>
          </c:dPt>
          <c:dPt>
            <c:idx val="13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2F-27DC-4977-B1A3-355F0827A33F}"/>
              </c:ext>
            </c:extLst>
          </c:dPt>
          <c:dPt>
            <c:idx val="13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0-27DC-4977-B1A3-355F0827A33F}"/>
              </c:ext>
            </c:extLst>
          </c:dPt>
          <c:dPt>
            <c:idx val="13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1-27DC-4977-B1A3-355F0827A33F}"/>
              </c:ext>
            </c:extLst>
          </c:dPt>
          <c:dPt>
            <c:idx val="13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2-27DC-4977-B1A3-355F0827A33F}"/>
              </c:ext>
            </c:extLst>
          </c:dPt>
          <c:dPt>
            <c:idx val="13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3-27DC-4977-B1A3-355F0827A33F}"/>
              </c:ext>
            </c:extLst>
          </c:dPt>
          <c:dPt>
            <c:idx val="13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4-27DC-4977-B1A3-355F0827A33F}"/>
              </c:ext>
            </c:extLst>
          </c:dPt>
          <c:dPt>
            <c:idx val="13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5-27DC-4977-B1A3-355F0827A33F}"/>
              </c:ext>
            </c:extLst>
          </c:dPt>
          <c:dPt>
            <c:idx val="13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6-27DC-4977-B1A3-355F0827A33F}"/>
              </c:ext>
            </c:extLst>
          </c:dPt>
          <c:dPt>
            <c:idx val="13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7-27DC-4977-B1A3-355F0827A33F}"/>
              </c:ext>
            </c:extLst>
          </c:dPt>
          <c:dPt>
            <c:idx val="13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8-27DC-4977-B1A3-355F0827A33F}"/>
              </c:ext>
            </c:extLst>
          </c:dPt>
          <c:dPt>
            <c:idx val="13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9-27DC-4977-B1A3-355F0827A33F}"/>
              </c:ext>
            </c:extLst>
          </c:dPt>
          <c:dPt>
            <c:idx val="13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A-27DC-4977-B1A3-355F0827A33F}"/>
              </c:ext>
            </c:extLst>
          </c:dPt>
          <c:dPt>
            <c:idx val="13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B-27DC-4977-B1A3-355F0827A33F}"/>
              </c:ext>
            </c:extLst>
          </c:dPt>
          <c:dPt>
            <c:idx val="13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C-27DC-4977-B1A3-355F0827A33F}"/>
              </c:ext>
            </c:extLst>
          </c:dPt>
          <c:dPt>
            <c:idx val="13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D-27DC-4977-B1A3-355F0827A33F}"/>
              </c:ext>
            </c:extLst>
          </c:dPt>
          <c:dPt>
            <c:idx val="13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E-27DC-4977-B1A3-355F0827A33F}"/>
              </c:ext>
            </c:extLst>
          </c:dPt>
          <c:dPt>
            <c:idx val="13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3F-27DC-4977-B1A3-355F0827A33F}"/>
              </c:ext>
            </c:extLst>
          </c:dPt>
          <c:dPt>
            <c:idx val="13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0-27DC-4977-B1A3-355F0827A33F}"/>
              </c:ext>
            </c:extLst>
          </c:dPt>
          <c:dPt>
            <c:idx val="13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1-27DC-4977-B1A3-355F0827A33F}"/>
              </c:ext>
            </c:extLst>
          </c:dPt>
          <c:dPt>
            <c:idx val="13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2-27DC-4977-B1A3-355F0827A33F}"/>
              </c:ext>
            </c:extLst>
          </c:dPt>
          <c:dPt>
            <c:idx val="13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3-27DC-4977-B1A3-355F0827A33F}"/>
              </c:ext>
            </c:extLst>
          </c:dPt>
          <c:dPt>
            <c:idx val="13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4-27DC-4977-B1A3-355F0827A33F}"/>
              </c:ext>
            </c:extLst>
          </c:dPt>
          <c:dPt>
            <c:idx val="13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5-27DC-4977-B1A3-355F0827A33F}"/>
              </c:ext>
            </c:extLst>
          </c:dPt>
          <c:dPt>
            <c:idx val="13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6-27DC-4977-B1A3-355F0827A33F}"/>
              </c:ext>
            </c:extLst>
          </c:dPt>
          <c:dPt>
            <c:idx val="13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7-27DC-4977-B1A3-355F0827A33F}"/>
              </c:ext>
            </c:extLst>
          </c:dPt>
          <c:dPt>
            <c:idx val="13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8-27DC-4977-B1A3-355F0827A33F}"/>
              </c:ext>
            </c:extLst>
          </c:dPt>
          <c:dPt>
            <c:idx val="13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9-27DC-4977-B1A3-355F0827A33F}"/>
              </c:ext>
            </c:extLst>
          </c:dPt>
          <c:dPt>
            <c:idx val="13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A-27DC-4977-B1A3-355F0827A33F}"/>
              </c:ext>
            </c:extLst>
          </c:dPt>
          <c:dPt>
            <c:idx val="13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B-27DC-4977-B1A3-355F0827A33F}"/>
              </c:ext>
            </c:extLst>
          </c:dPt>
          <c:dPt>
            <c:idx val="13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C-27DC-4977-B1A3-355F0827A33F}"/>
              </c:ext>
            </c:extLst>
          </c:dPt>
          <c:dPt>
            <c:idx val="13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D-27DC-4977-B1A3-355F0827A33F}"/>
              </c:ext>
            </c:extLst>
          </c:dPt>
          <c:dPt>
            <c:idx val="13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E-27DC-4977-B1A3-355F0827A33F}"/>
              </c:ext>
            </c:extLst>
          </c:dPt>
          <c:dPt>
            <c:idx val="13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4F-27DC-4977-B1A3-355F0827A33F}"/>
              </c:ext>
            </c:extLst>
          </c:dPt>
          <c:dPt>
            <c:idx val="13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0-27DC-4977-B1A3-355F0827A33F}"/>
              </c:ext>
            </c:extLst>
          </c:dPt>
          <c:dPt>
            <c:idx val="13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1-27DC-4977-B1A3-355F0827A33F}"/>
              </c:ext>
            </c:extLst>
          </c:dPt>
          <c:dPt>
            <c:idx val="13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2-27DC-4977-B1A3-355F0827A33F}"/>
              </c:ext>
            </c:extLst>
          </c:dPt>
          <c:dPt>
            <c:idx val="13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3-27DC-4977-B1A3-355F0827A33F}"/>
              </c:ext>
            </c:extLst>
          </c:dPt>
          <c:dPt>
            <c:idx val="13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4-27DC-4977-B1A3-355F0827A33F}"/>
              </c:ext>
            </c:extLst>
          </c:dPt>
          <c:dPt>
            <c:idx val="13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5-27DC-4977-B1A3-355F0827A33F}"/>
              </c:ext>
            </c:extLst>
          </c:dPt>
          <c:dPt>
            <c:idx val="13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6-27DC-4977-B1A3-355F0827A33F}"/>
              </c:ext>
            </c:extLst>
          </c:dPt>
          <c:dPt>
            <c:idx val="13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7-27DC-4977-B1A3-355F0827A33F}"/>
              </c:ext>
            </c:extLst>
          </c:dPt>
          <c:dPt>
            <c:idx val="13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8-27DC-4977-B1A3-355F0827A33F}"/>
              </c:ext>
            </c:extLst>
          </c:dPt>
          <c:dPt>
            <c:idx val="13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9-27DC-4977-B1A3-355F0827A33F}"/>
              </c:ext>
            </c:extLst>
          </c:dPt>
          <c:dPt>
            <c:idx val="13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A-27DC-4977-B1A3-355F0827A33F}"/>
              </c:ext>
            </c:extLst>
          </c:dPt>
          <c:dPt>
            <c:idx val="13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B-27DC-4977-B1A3-355F0827A33F}"/>
              </c:ext>
            </c:extLst>
          </c:dPt>
          <c:dPt>
            <c:idx val="13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C-27DC-4977-B1A3-355F0827A33F}"/>
              </c:ext>
            </c:extLst>
          </c:dPt>
          <c:dPt>
            <c:idx val="13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D-27DC-4977-B1A3-355F0827A33F}"/>
              </c:ext>
            </c:extLst>
          </c:dPt>
          <c:dPt>
            <c:idx val="13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E-27DC-4977-B1A3-355F0827A33F}"/>
              </c:ext>
            </c:extLst>
          </c:dPt>
          <c:dPt>
            <c:idx val="13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5F-27DC-4977-B1A3-355F0827A33F}"/>
              </c:ext>
            </c:extLst>
          </c:dPt>
          <c:dPt>
            <c:idx val="13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0-27DC-4977-B1A3-355F0827A33F}"/>
              </c:ext>
            </c:extLst>
          </c:dPt>
          <c:dPt>
            <c:idx val="13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1-27DC-4977-B1A3-355F0827A33F}"/>
              </c:ext>
            </c:extLst>
          </c:dPt>
          <c:dPt>
            <c:idx val="13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2-27DC-4977-B1A3-355F0827A33F}"/>
              </c:ext>
            </c:extLst>
          </c:dPt>
          <c:dPt>
            <c:idx val="13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3-27DC-4977-B1A3-355F0827A33F}"/>
              </c:ext>
            </c:extLst>
          </c:dPt>
          <c:dPt>
            <c:idx val="13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4-27DC-4977-B1A3-355F0827A33F}"/>
              </c:ext>
            </c:extLst>
          </c:dPt>
          <c:dPt>
            <c:idx val="13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5-27DC-4977-B1A3-355F0827A33F}"/>
              </c:ext>
            </c:extLst>
          </c:dPt>
          <c:dPt>
            <c:idx val="13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6-27DC-4977-B1A3-355F0827A33F}"/>
              </c:ext>
            </c:extLst>
          </c:dPt>
          <c:dPt>
            <c:idx val="13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7-27DC-4977-B1A3-355F0827A33F}"/>
              </c:ext>
            </c:extLst>
          </c:dPt>
          <c:dPt>
            <c:idx val="13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8-27DC-4977-B1A3-355F0827A33F}"/>
              </c:ext>
            </c:extLst>
          </c:dPt>
          <c:dPt>
            <c:idx val="13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9-27DC-4977-B1A3-355F0827A33F}"/>
              </c:ext>
            </c:extLst>
          </c:dPt>
          <c:dPt>
            <c:idx val="13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A-27DC-4977-B1A3-355F0827A33F}"/>
              </c:ext>
            </c:extLst>
          </c:dPt>
          <c:dPt>
            <c:idx val="13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B-27DC-4977-B1A3-355F0827A33F}"/>
              </c:ext>
            </c:extLst>
          </c:dPt>
          <c:dPt>
            <c:idx val="13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C-27DC-4977-B1A3-355F0827A33F}"/>
              </c:ext>
            </c:extLst>
          </c:dPt>
          <c:dPt>
            <c:idx val="13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D-27DC-4977-B1A3-355F0827A33F}"/>
              </c:ext>
            </c:extLst>
          </c:dPt>
          <c:dPt>
            <c:idx val="13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E-27DC-4977-B1A3-355F0827A33F}"/>
              </c:ext>
            </c:extLst>
          </c:dPt>
          <c:dPt>
            <c:idx val="13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6F-27DC-4977-B1A3-355F0827A33F}"/>
              </c:ext>
            </c:extLst>
          </c:dPt>
          <c:dPt>
            <c:idx val="13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0-27DC-4977-B1A3-355F0827A33F}"/>
              </c:ext>
            </c:extLst>
          </c:dPt>
          <c:dPt>
            <c:idx val="13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1-27DC-4977-B1A3-355F0827A33F}"/>
              </c:ext>
            </c:extLst>
          </c:dPt>
          <c:dPt>
            <c:idx val="13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2-27DC-4977-B1A3-355F0827A33F}"/>
              </c:ext>
            </c:extLst>
          </c:dPt>
          <c:dPt>
            <c:idx val="13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3-27DC-4977-B1A3-355F0827A33F}"/>
              </c:ext>
            </c:extLst>
          </c:dPt>
          <c:dPt>
            <c:idx val="13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4-27DC-4977-B1A3-355F0827A33F}"/>
              </c:ext>
            </c:extLst>
          </c:dPt>
          <c:dPt>
            <c:idx val="13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5-27DC-4977-B1A3-355F0827A33F}"/>
              </c:ext>
            </c:extLst>
          </c:dPt>
          <c:dPt>
            <c:idx val="13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6-27DC-4977-B1A3-355F0827A33F}"/>
              </c:ext>
            </c:extLst>
          </c:dPt>
          <c:dPt>
            <c:idx val="13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7-27DC-4977-B1A3-355F0827A33F}"/>
              </c:ext>
            </c:extLst>
          </c:dPt>
          <c:dPt>
            <c:idx val="13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8-27DC-4977-B1A3-355F0827A33F}"/>
              </c:ext>
            </c:extLst>
          </c:dPt>
          <c:dPt>
            <c:idx val="13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9-27DC-4977-B1A3-355F0827A33F}"/>
              </c:ext>
            </c:extLst>
          </c:dPt>
          <c:dPt>
            <c:idx val="13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A-27DC-4977-B1A3-355F0827A33F}"/>
              </c:ext>
            </c:extLst>
          </c:dPt>
          <c:dPt>
            <c:idx val="13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B-27DC-4977-B1A3-355F0827A33F}"/>
              </c:ext>
            </c:extLst>
          </c:dPt>
          <c:dPt>
            <c:idx val="14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C-27DC-4977-B1A3-355F0827A33F}"/>
              </c:ext>
            </c:extLst>
          </c:dPt>
          <c:dPt>
            <c:idx val="14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D-27DC-4977-B1A3-355F0827A33F}"/>
              </c:ext>
            </c:extLst>
          </c:dPt>
          <c:dPt>
            <c:idx val="14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E-27DC-4977-B1A3-355F0827A33F}"/>
              </c:ext>
            </c:extLst>
          </c:dPt>
          <c:dPt>
            <c:idx val="14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7F-27DC-4977-B1A3-355F0827A33F}"/>
              </c:ext>
            </c:extLst>
          </c:dPt>
          <c:dPt>
            <c:idx val="14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0-27DC-4977-B1A3-355F0827A33F}"/>
              </c:ext>
            </c:extLst>
          </c:dPt>
          <c:dPt>
            <c:idx val="14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1-27DC-4977-B1A3-355F0827A33F}"/>
              </c:ext>
            </c:extLst>
          </c:dPt>
          <c:dPt>
            <c:idx val="14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2-27DC-4977-B1A3-355F0827A33F}"/>
              </c:ext>
            </c:extLst>
          </c:dPt>
          <c:dPt>
            <c:idx val="14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3-27DC-4977-B1A3-355F0827A33F}"/>
              </c:ext>
            </c:extLst>
          </c:dPt>
          <c:dPt>
            <c:idx val="14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4-27DC-4977-B1A3-355F0827A33F}"/>
              </c:ext>
            </c:extLst>
          </c:dPt>
          <c:dPt>
            <c:idx val="14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5-27DC-4977-B1A3-355F0827A33F}"/>
              </c:ext>
            </c:extLst>
          </c:dPt>
          <c:dPt>
            <c:idx val="14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6-27DC-4977-B1A3-355F0827A33F}"/>
              </c:ext>
            </c:extLst>
          </c:dPt>
          <c:dPt>
            <c:idx val="14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7-27DC-4977-B1A3-355F0827A33F}"/>
              </c:ext>
            </c:extLst>
          </c:dPt>
          <c:dPt>
            <c:idx val="14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8-27DC-4977-B1A3-355F0827A33F}"/>
              </c:ext>
            </c:extLst>
          </c:dPt>
          <c:dPt>
            <c:idx val="14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9-27DC-4977-B1A3-355F0827A33F}"/>
              </c:ext>
            </c:extLst>
          </c:dPt>
          <c:dPt>
            <c:idx val="14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A-27DC-4977-B1A3-355F0827A33F}"/>
              </c:ext>
            </c:extLst>
          </c:dPt>
          <c:dPt>
            <c:idx val="14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B-27DC-4977-B1A3-355F0827A33F}"/>
              </c:ext>
            </c:extLst>
          </c:dPt>
          <c:dPt>
            <c:idx val="14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C-27DC-4977-B1A3-355F0827A33F}"/>
              </c:ext>
            </c:extLst>
          </c:dPt>
          <c:dPt>
            <c:idx val="14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D-27DC-4977-B1A3-355F0827A33F}"/>
              </c:ext>
            </c:extLst>
          </c:dPt>
          <c:dPt>
            <c:idx val="14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E-27DC-4977-B1A3-355F0827A33F}"/>
              </c:ext>
            </c:extLst>
          </c:dPt>
          <c:dPt>
            <c:idx val="14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8F-27DC-4977-B1A3-355F0827A33F}"/>
              </c:ext>
            </c:extLst>
          </c:dPt>
          <c:dPt>
            <c:idx val="14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0-27DC-4977-B1A3-355F0827A33F}"/>
              </c:ext>
            </c:extLst>
          </c:dPt>
          <c:dPt>
            <c:idx val="14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1-27DC-4977-B1A3-355F0827A33F}"/>
              </c:ext>
            </c:extLst>
          </c:dPt>
          <c:dPt>
            <c:idx val="14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2-27DC-4977-B1A3-355F0827A33F}"/>
              </c:ext>
            </c:extLst>
          </c:dPt>
          <c:dPt>
            <c:idx val="14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3-27DC-4977-B1A3-355F0827A33F}"/>
              </c:ext>
            </c:extLst>
          </c:dPt>
          <c:dPt>
            <c:idx val="14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4-27DC-4977-B1A3-355F0827A33F}"/>
              </c:ext>
            </c:extLst>
          </c:dPt>
          <c:dPt>
            <c:idx val="14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5-27DC-4977-B1A3-355F0827A33F}"/>
              </c:ext>
            </c:extLst>
          </c:dPt>
          <c:dPt>
            <c:idx val="14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6-27DC-4977-B1A3-355F0827A33F}"/>
              </c:ext>
            </c:extLst>
          </c:dPt>
          <c:dPt>
            <c:idx val="14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7-27DC-4977-B1A3-355F0827A33F}"/>
              </c:ext>
            </c:extLst>
          </c:dPt>
          <c:dPt>
            <c:idx val="14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8-27DC-4977-B1A3-355F0827A33F}"/>
              </c:ext>
            </c:extLst>
          </c:dPt>
          <c:dPt>
            <c:idx val="14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9-27DC-4977-B1A3-355F0827A33F}"/>
              </c:ext>
            </c:extLst>
          </c:dPt>
          <c:dPt>
            <c:idx val="14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A-27DC-4977-B1A3-355F0827A33F}"/>
              </c:ext>
            </c:extLst>
          </c:dPt>
          <c:dPt>
            <c:idx val="14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B-27DC-4977-B1A3-355F0827A33F}"/>
              </c:ext>
            </c:extLst>
          </c:dPt>
          <c:dPt>
            <c:idx val="14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C-27DC-4977-B1A3-355F0827A33F}"/>
              </c:ext>
            </c:extLst>
          </c:dPt>
          <c:dPt>
            <c:idx val="14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D-27DC-4977-B1A3-355F0827A33F}"/>
              </c:ext>
            </c:extLst>
          </c:dPt>
          <c:dPt>
            <c:idx val="14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E-27DC-4977-B1A3-355F0827A33F}"/>
              </c:ext>
            </c:extLst>
          </c:dPt>
          <c:dPt>
            <c:idx val="14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9F-27DC-4977-B1A3-355F0827A33F}"/>
              </c:ext>
            </c:extLst>
          </c:dPt>
          <c:dPt>
            <c:idx val="14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0-27DC-4977-B1A3-355F0827A33F}"/>
              </c:ext>
            </c:extLst>
          </c:dPt>
          <c:dPt>
            <c:idx val="14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1-27DC-4977-B1A3-355F0827A33F}"/>
              </c:ext>
            </c:extLst>
          </c:dPt>
          <c:dPt>
            <c:idx val="14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2-27DC-4977-B1A3-355F0827A33F}"/>
              </c:ext>
            </c:extLst>
          </c:dPt>
          <c:dPt>
            <c:idx val="14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3-27DC-4977-B1A3-355F0827A33F}"/>
              </c:ext>
            </c:extLst>
          </c:dPt>
          <c:dPt>
            <c:idx val="14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4-27DC-4977-B1A3-355F0827A33F}"/>
              </c:ext>
            </c:extLst>
          </c:dPt>
          <c:dPt>
            <c:idx val="14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5-27DC-4977-B1A3-355F0827A33F}"/>
              </c:ext>
            </c:extLst>
          </c:dPt>
          <c:dPt>
            <c:idx val="14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6-27DC-4977-B1A3-355F0827A33F}"/>
              </c:ext>
            </c:extLst>
          </c:dPt>
          <c:dPt>
            <c:idx val="14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7-27DC-4977-B1A3-355F0827A33F}"/>
              </c:ext>
            </c:extLst>
          </c:dPt>
          <c:dPt>
            <c:idx val="14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8-27DC-4977-B1A3-355F0827A33F}"/>
              </c:ext>
            </c:extLst>
          </c:dPt>
          <c:dPt>
            <c:idx val="14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9-27DC-4977-B1A3-355F0827A33F}"/>
              </c:ext>
            </c:extLst>
          </c:dPt>
          <c:dPt>
            <c:idx val="14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A-27DC-4977-B1A3-355F0827A33F}"/>
              </c:ext>
            </c:extLst>
          </c:dPt>
          <c:dPt>
            <c:idx val="14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B-27DC-4977-B1A3-355F0827A33F}"/>
              </c:ext>
            </c:extLst>
          </c:dPt>
          <c:dPt>
            <c:idx val="14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C-27DC-4977-B1A3-355F0827A33F}"/>
              </c:ext>
            </c:extLst>
          </c:dPt>
          <c:dPt>
            <c:idx val="14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D-27DC-4977-B1A3-355F0827A33F}"/>
              </c:ext>
            </c:extLst>
          </c:dPt>
          <c:dPt>
            <c:idx val="14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E-27DC-4977-B1A3-355F0827A33F}"/>
              </c:ext>
            </c:extLst>
          </c:dPt>
          <c:dPt>
            <c:idx val="14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AF-27DC-4977-B1A3-355F0827A33F}"/>
              </c:ext>
            </c:extLst>
          </c:dPt>
          <c:dPt>
            <c:idx val="14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0-27DC-4977-B1A3-355F0827A33F}"/>
              </c:ext>
            </c:extLst>
          </c:dPt>
          <c:dPt>
            <c:idx val="14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1-27DC-4977-B1A3-355F0827A33F}"/>
              </c:ext>
            </c:extLst>
          </c:dPt>
          <c:dPt>
            <c:idx val="14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2-27DC-4977-B1A3-355F0827A33F}"/>
              </c:ext>
            </c:extLst>
          </c:dPt>
          <c:dPt>
            <c:idx val="14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3-27DC-4977-B1A3-355F0827A33F}"/>
              </c:ext>
            </c:extLst>
          </c:dPt>
          <c:dPt>
            <c:idx val="14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4-27DC-4977-B1A3-355F0827A33F}"/>
              </c:ext>
            </c:extLst>
          </c:dPt>
          <c:dPt>
            <c:idx val="14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5-27DC-4977-B1A3-355F0827A33F}"/>
              </c:ext>
            </c:extLst>
          </c:dPt>
          <c:dPt>
            <c:idx val="14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6-27DC-4977-B1A3-355F0827A33F}"/>
              </c:ext>
            </c:extLst>
          </c:dPt>
          <c:dPt>
            <c:idx val="14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7-27DC-4977-B1A3-355F0827A33F}"/>
              </c:ext>
            </c:extLst>
          </c:dPt>
          <c:dPt>
            <c:idx val="14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8-27DC-4977-B1A3-355F0827A33F}"/>
              </c:ext>
            </c:extLst>
          </c:dPt>
          <c:dPt>
            <c:idx val="14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9-27DC-4977-B1A3-355F0827A33F}"/>
              </c:ext>
            </c:extLst>
          </c:dPt>
          <c:dPt>
            <c:idx val="14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A-27DC-4977-B1A3-355F0827A33F}"/>
              </c:ext>
            </c:extLst>
          </c:dPt>
          <c:dPt>
            <c:idx val="14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B-27DC-4977-B1A3-355F0827A33F}"/>
              </c:ext>
            </c:extLst>
          </c:dPt>
          <c:dPt>
            <c:idx val="14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C-27DC-4977-B1A3-355F0827A33F}"/>
              </c:ext>
            </c:extLst>
          </c:dPt>
          <c:dPt>
            <c:idx val="14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D-27DC-4977-B1A3-355F0827A33F}"/>
              </c:ext>
            </c:extLst>
          </c:dPt>
          <c:dPt>
            <c:idx val="14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E-27DC-4977-B1A3-355F0827A33F}"/>
              </c:ext>
            </c:extLst>
          </c:dPt>
          <c:dPt>
            <c:idx val="14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BF-27DC-4977-B1A3-355F0827A33F}"/>
              </c:ext>
            </c:extLst>
          </c:dPt>
          <c:dPt>
            <c:idx val="14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0-27DC-4977-B1A3-355F0827A33F}"/>
              </c:ext>
            </c:extLst>
          </c:dPt>
          <c:dPt>
            <c:idx val="14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1-27DC-4977-B1A3-355F0827A33F}"/>
              </c:ext>
            </c:extLst>
          </c:dPt>
          <c:dPt>
            <c:idx val="14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2-27DC-4977-B1A3-355F0827A33F}"/>
              </c:ext>
            </c:extLst>
          </c:dPt>
          <c:dPt>
            <c:idx val="14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3-27DC-4977-B1A3-355F0827A33F}"/>
              </c:ext>
            </c:extLst>
          </c:dPt>
          <c:dPt>
            <c:idx val="14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4-27DC-4977-B1A3-355F0827A33F}"/>
              </c:ext>
            </c:extLst>
          </c:dPt>
          <c:dPt>
            <c:idx val="14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5-27DC-4977-B1A3-355F0827A33F}"/>
              </c:ext>
            </c:extLst>
          </c:dPt>
          <c:dPt>
            <c:idx val="14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6-27DC-4977-B1A3-355F0827A33F}"/>
              </c:ext>
            </c:extLst>
          </c:dPt>
          <c:dPt>
            <c:idx val="14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7-27DC-4977-B1A3-355F0827A33F}"/>
              </c:ext>
            </c:extLst>
          </c:dPt>
          <c:dPt>
            <c:idx val="14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8-27DC-4977-B1A3-355F0827A33F}"/>
              </c:ext>
            </c:extLst>
          </c:dPt>
          <c:dPt>
            <c:idx val="14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9-27DC-4977-B1A3-355F0827A33F}"/>
              </c:ext>
            </c:extLst>
          </c:dPt>
          <c:dPt>
            <c:idx val="14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A-27DC-4977-B1A3-355F0827A33F}"/>
              </c:ext>
            </c:extLst>
          </c:dPt>
          <c:dPt>
            <c:idx val="14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B-27DC-4977-B1A3-355F0827A33F}"/>
              </c:ext>
            </c:extLst>
          </c:dPt>
          <c:dPt>
            <c:idx val="14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C-27DC-4977-B1A3-355F0827A33F}"/>
              </c:ext>
            </c:extLst>
          </c:dPt>
          <c:dPt>
            <c:idx val="14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D-27DC-4977-B1A3-355F0827A33F}"/>
              </c:ext>
            </c:extLst>
          </c:dPt>
          <c:dPt>
            <c:idx val="14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E-27DC-4977-B1A3-355F0827A33F}"/>
              </c:ext>
            </c:extLst>
          </c:dPt>
          <c:dPt>
            <c:idx val="14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CF-27DC-4977-B1A3-355F0827A33F}"/>
              </c:ext>
            </c:extLst>
          </c:dPt>
          <c:dPt>
            <c:idx val="14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0-27DC-4977-B1A3-355F0827A33F}"/>
              </c:ext>
            </c:extLst>
          </c:dPt>
          <c:dPt>
            <c:idx val="14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1-27DC-4977-B1A3-355F0827A33F}"/>
              </c:ext>
            </c:extLst>
          </c:dPt>
          <c:dPt>
            <c:idx val="14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2-27DC-4977-B1A3-355F0827A33F}"/>
              </c:ext>
            </c:extLst>
          </c:dPt>
          <c:dPt>
            <c:idx val="14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3-27DC-4977-B1A3-355F0827A33F}"/>
              </c:ext>
            </c:extLst>
          </c:dPt>
          <c:dPt>
            <c:idx val="14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4-27DC-4977-B1A3-355F0827A33F}"/>
              </c:ext>
            </c:extLst>
          </c:dPt>
          <c:dPt>
            <c:idx val="14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5-27DC-4977-B1A3-355F0827A33F}"/>
              </c:ext>
            </c:extLst>
          </c:dPt>
          <c:dPt>
            <c:idx val="14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6-27DC-4977-B1A3-355F0827A33F}"/>
              </c:ext>
            </c:extLst>
          </c:dPt>
          <c:dPt>
            <c:idx val="14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7-27DC-4977-B1A3-355F0827A33F}"/>
              </c:ext>
            </c:extLst>
          </c:dPt>
          <c:dPt>
            <c:idx val="14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8-27DC-4977-B1A3-355F0827A33F}"/>
              </c:ext>
            </c:extLst>
          </c:dPt>
          <c:dPt>
            <c:idx val="14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9-27DC-4977-B1A3-355F0827A33F}"/>
              </c:ext>
            </c:extLst>
          </c:dPt>
          <c:dPt>
            <c:idx val="14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A-27DC-4977-B1A3-355F0827A33F}"/>
              </c:ext>
            </c:extLst>
          </c:dPt>
          <c:dPt>
            <c:idx val="14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B-27DC-4977-B1A3-355F0827A33F}"/>
              </c:ext>
            </c:extLst>
          </c:dPt>
          <c:dPt>
            <c:idx val="14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C-27DC-4977-B1A3-355F0827A33F}"/>
              </c:ext>
            </c:extLst>
          </c:dPt>
          <c:dPt>
            <c:idx val="14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D-27DC-4977-B1A3-355F0827A33F}"/>
              </c:ext>
            </c:extLst>
          </c:dPt>
          <c:dPt>
            <c:idx val="14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E-27DC-4977-B1A3-355F0827A33F}"/>
              </c:ext>
            </c:extLst>
          </c:dPt>
          <c:dPt>
            <c:idx val="14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DF-27DC-4977-B1A3-355F0827A33F}"/>
              </c:ext>
            </c:extLst>
          </c:dPt>
          <c:dPt>
            <c:idx val="15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0-27DC-4977-B1A3-355F0827A33F}"/>
              </c:ext>
            </c:extLst>
          </c:dPt>
          <c:dPt>
            <c:idx val="15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1-27DC-4977-B1A3-355F0827A33F}"/>
              </c:ext>
            </c:extLst>
          </c:dPt>
          <c:dPt>
            <c:idx val="15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2-27DC-4977-B1A3-355F0827A33F}"/>
              </c:ext>
            </c:extLst>
          </c:dPt>
          <c:dPt>
            <c:idx val="15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3-27DC-4977-B1A3-355F0827A33F}"/>
              </c:ext>
            </c:extLst>
          </c:dPt>
          <c:dPt>
            <c:idx val="15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4-27DC-4977-B1A3-355F0827A33F}"/>
              </c:ext>
            </c:extLst>
          </c:dPt>
          <c:dPt>
            <c:idx val="15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5-27DC-4977-B1A3-355F0827A33F}"/>
              </c:ext>
            </c:extLst>
          </c:dPt>
          <c:dPt>
            <c:idx val="15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6-27DC-4977-B1A3-355F0827A33F}"/>
              </c:ext>
            </c:extLst>
          </c:dPt>
          <c:dPt>
            <c:idx val="15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7-27DC-4977-B1A3-355F0827A33F}"/>
              </c:ext>
            </c:extLst>
          </c:dPt>
          <c:dPt>
            <c:idx val="15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8-27DC-4977-B1A3-355F0827A33F}"/>
              </c:ext>
            </c:extLst>
          </c:dPt>
          <c:dPt>
            <c:idx val="15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9-27DC-4977-B1A3-355F0827A33F}"/>
              </c:ext>
            </c:extLst>
          </c:dPt>
          <c:dPt>
            <c:idx val="15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A-27DC-4977-B1A3-355F0827A33F}"/>
              </c:ext>
            </c:extLst>
          </c:dPt>
          <c:dPt>
            <c:idx val="15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B-27DC-4977-B1A3-355F0827A33F}"/>
              </c:ext>
            </c:extLst>
          </c:dPt>
          <c:dPt>
            <c:idx val="15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C-27DC-4977-B1A3-355F0827A33F}"/>
              </c:ext>
            </c:extLst>
          </c:dPt>
          <c:dPt>
            <c:idx val="15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D-27DC-4977-B1A3-355F0827A33F}"/>
              </c:ext>
            </c:extLst>
          </c:dPt>
          <c:dPt>
            <c:idx val="15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E-27DC-4977-B1A3-355F0827A33F}"/>
              </c:ext>
            </c:extLst>
          </c:dPt>
          <c:dPt>
            <c:idx val="15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EF-27DC-4977-B1A3-355F0827A33F}"/>
              </c:ext>
            </c:extLst>
          </c:dPt>
          <c:dPt>
            <c:idx val="15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0-27DC-4977-B1A3-355F0827A33F}"/>
              </c:ext>
            </c:extLst>
          </c:dPt>
          <c:dPt>
            <c:idx val="15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1-27DC-4977-B1A3-355F0827A33F}"/>
              </c:ext>
            </c:extLst>
          </c:dPt>
          <c:dPt>
            <c:idx val="15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2-27DC-4977-B1A3-355F0827A33F}"/>
              </c:ext>
            </c:extLst>
          </c:dPt>
          <c:dPt>
            <c:idx val="15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3-27DC-4977-B1A3-355F0827A33F}"/>
              </c:ext>
            </c:extLst>
          </c:dPt>
          <c:dPt>
            <c:idx val="15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4-27DC-4977-B1A3-355F0827A33F}"/>
              </c:ext>
            </c:extLst>
          </c:dPt>
          <c:dPt>
            <c:idx val="15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5-27DC-4977-B1A3-355F0827A33F}"/>
              </c:ext>
            </c:extLst>
          </c:dPt>
          <c:dPt>
            <c:idx val="15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6-27DC-4977-B1A3-355F0827A33F}"/>
              </c:ext>
            </c:extLst>
          </c:dPt>
          <c:dPt>
            <c:idx val="15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7-27DC-4977-B1A3-355F0827A33F}"/>
              </c:ext>
            </c:extLst>
          </c:dPt>
          <c:dPt>
            <c:idx val="15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8-27DC-4977-B1A3-355F0827A33F}"/>
              </c:ext>
            </c:extLst>
          </c:dPt>
          <c:dPt>
            <c:idx val="15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9-27DC-4977-B1A3-355F0827A33F}"/>
              </c:ext>
            </c:extLst>
          </c:dPt>
          <c:dPt>
            <c:idx val="15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A-27DC-4977-B1A3-355F0827A33F}"/>
              </c:ext>
            </c:extLst>
          </c:dPt>
          <c:dPt>
            <c:idx val="15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B-27DC-4977-B1A3-355F0827A33F}"/>
              </c:ext>
            </c:extLst>
          </c:dPt>
          <c:dPt>
            <c:idx val="15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C-27DC-4977-B1A3-355F0827A33F}"/>
              </c:ext>
            </c:extLst>
          </c:dPt>
          <c:dPt>
            <c:idx val="15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D-27DC-4977-B1A3-355F0827A33F}"/>
              </c:ext>
            </c:extLst>
          </c:dPt>
          <c:dPt>
            <c:idx val="15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E-27DC-4977-B1A3-355F0827A33F}"/>
              </c:ext>
            </c:extLst>
          </c:dPt>
          <c:dPt>
            <c:idx val="15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5FF-27DC-4977-B1A3-355F0827A33F}"/>
              </c:ext>
            </c:extLst>
          </c:dPt>
          <c:dPt>
            <c:idx val="15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0-27DC-4977-B1A3-355F0827A33F}"/>
              </c:ext>
            </c:extLst>
          </c:dPt>
          <c:dPt>
            <c:idx val="15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1-27DC-4977-B1A3-355F0827A33F}"/>
              </c:ext>
            </c:extLst>
          </c:dPt>
          <c:dPt>
            <c:idx val="15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2-27DC-4977-B1A3-355F0827A33F}"/>
              </c:ext>
            </c:extLst>
          </c:dPt>
          <c:dPt>
            <c:idx val="15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3-27DC-4977-B1A3-355F0827A33F}"/>
              </c:ext>
            </c:extLst>
          </c:dPt>
          <c:dPt>
            <c:idx val="15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4-27DC-4977-B1A3-355F0827A33F}"/>
              </c:ext>
            </c:extLst>
          </c:dPt>
          <c:dPt>
            <c:idx val="15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5-27DC-4977-B1A3-355F0827A33F}"/>
              </c:ext>
            </c:extLst>
          </c:dPt>
          <c:dPt>
            <c:idx val="15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6-27DC-4977-B1A3-355F0827A33F}"/>
              </c:ext>
            </c:extLst>
          </c:dPt>
          <c:dPt>
            <c:idx val="15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7-27DC-4977-B1A3-355F0827A33F}"/>
              </c:ext>
            </c:extLst>
          </c:dPt>
          <c:dPt>
            <c:idx val="15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8-27DC-4977-B1A3-355F0827A33F}"/>
              </c:ext>
            </c:extLst>
          </c:dPt>
          <c:dPt>
            <c:idx val="15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9-27DC-4977-B1A3-355F0827A33F}"/>
              </c:ext>
            </c:extLst>
          </c:dPt>
          <c:dPt>
            <c:idx val="15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A-27DC-4977-B1A3-355F0827A33F}"/>
              </c:ext>
            </c:extLst>
          </c:dPt>
          <c:dPt>
            <c:idx val="15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B-27DC-4977-B1A3-355F0827A33F}"/>
              </c:ext>
            </c:extLst>
          </c:dPt>
          <c:dPt>
            <c:idx val="15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C-27DC-4977-B1A3-355F0827A33F}"/>
              </c:ext>
            </c:extLst>
          </c:dPt>
          <c:dPt>
            <c:idx val="15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D-27DC-4977-B1A3-355F0827A33F}"/>
              </c:ext>
            </c:extLst>
          </c:dPt>
          <c:dPt>
            <c:idx val="15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E-27DC-4977-B1A3-355F0827A33F}"/>
              </c:ext>
            </c:extLst>
          </c:dPt>
          <c:dPt>
            <c:idx val="15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0F-27DC-4977-B1A3-355F0827A33F}"/>
              </c:ext>
            </c:extLst>
          </c:dPt>
          <c:dPt>
            <c:idx val="15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0-27DC-4977-B1A3-355F0827A33F}"/>
              </c:ext>
            </c:extLst>
          </c:dPt>
          <c:dPt>
            <c:idx val="15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1-27DC-4977-B1A3-355F0827A33F}"/>
              </c:ext>
            </c:extLst>
          </c:dPt>
          <c:dPt>
            <c:idx val="15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2-27DC-4977-B1A3-355F0827A33F}"/>
              </c:ext>
            </c:extLst>
          </c:dPt>
          <c:dPt>
            <c:idx val="15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3-27DC-4977-B1A3-355F0827A33F}"/>
              </c:ext>
            </c:extLst>
          </c:dPt>
          <c:dPt>
            <c:idx val="15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4-27DC-4977-B1A3-355F0827A33F}"/>
              </c:ext>
            </c:extLst>
          </c:dPt>
          <c:dPt>
            <c:idx val="15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5-27DC-4977-B1A3-355F0827A33F}"/>
              </c:ext>
            </c:extLst>
          </c:dPt>
          <c:dPt>
            <c:idx val="15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6-27DC-4977-B1A3-355F0827A33F}"/>
              </c:ext>
            </c:extLst>
          </c:dPt>
          <c:dPt>
            <c:idx val="15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7-27DC-4977-B1A3-355F0827A33F}"/>
              </c:ext>
            </c:extLst>
          </c:dPt>
          <c:dPt>
            <c:idx val="15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8-27DC-4977-B1A3-355F0827A33F}"/>
              </c:ext>
            </c:extLst>
          </c:dPt>
          <c:dPt>
            <c:idx val="15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9-27DC-4977-B1A3-355F0827A33F}"/>
              </c:ext>
            </c:extLst>
          </c:dPt>
          <c:dPt>
            <c:idx val="15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A-27DC-4977-B1A3-355F0827A33F}"/>
              </c:ext>
            </c:extLst>
          </c:dPt>
          <c:dPt>
            <c:idx val="15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B-27DC-4977-B1A3-355F0827A33F}"/>
              </c:ext>
            </c:extLst>
          </c:dPt>
          <c:dPt>
            <c:idx val="15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C-27DC-4977-B1A3-355F0827A33F}"/>
              </c:ext>
            </c:extLst>
          </c:dPt>
          <c:dPt>
            <c:idx val="15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D-27DC-4977-B1A3-355F0827A33F}"/>
              </c:ext>
            </c:extLst>
          </c:dPt>
          <c:dPt>
            <c:idx val="15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E-27DC-4977-B1A3-355F0827A33F}"/>
              </c:ext>
            </c:extLst>
          </c:dPt>
          <c:dPt>
            <c:idx val="15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1F-27DC-4977-B1A3-355F0827A33F}"/>
              </c:ext>
            </c:extLst>
          </c:dPt>
          <c:dPt>
            <c:idx val="15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0-27DC-4977-B1A3-355F0827A33F}"/>
              </c:ext>
            </c:extLst>
          </c:dPt>
          <c:dPt>
            <c:idx val="15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1-27DC-4977-B1A3-355F0827A33F}"/>
              </c:ext>
            </c:extLst>
          </c:dPt>
          <c:dPt>
            <c:idx val="15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2-27DC-4977-B1A3-355F0827A33F}"/>
              </c:ext>
            </c:extLst>
          </c:dPt>
          <c:dPt>
            <c:idx val="15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3-27DC-4977-B1A3-355F0827A33F}"/>
              </c:ext>
            </c:extLst>
          </c:dPt>
          <c:dPt>
            <c:idx val="15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4-27DC-4977-B1A3-355F0827A33F}"/>
              </c:ext>
            </c:extLst>
          </c:dPt>
          <c:dPt>
            <c:idx val="15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5-27DC-4977-B1A3-355F0827A33F}"/>
              </c:ext>
            </c:extLst>
          </c:dPt>
          <c:dPt>
            <c:idx val="15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6-27DC-4977-B1A3-355F0827A33F}"/>
              </c:ext>
            </c:extLst>
          </c:dPt>
          <c:dPt>
            <c:idx val="15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7-27DC-4977-B1A3-355F0827A33F}"/>
              </c:ext>
            </c:extLst>
          </c:dPt>
          <c:dPt>
            <c:idx val="15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8-27DC-4977-B1A3-355F0827A33F}"/>
              </c:ext>
            </c:extLst>
          </c:dPt>
          <c:dPt>
            <c:idx val="15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9-27DC-4977-B1A3-355F0827A33F}"/>
              </c:ext>
            </c:extLst>
          </c:dPt>
          <c:dPt>
            <c:idx val="15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A-27DC-4977-B1A3-355F0827A33F}"/>
              </c:ext>
            </c:extLst>
          </c:dPt>
          <c:dPt>
            <c:idx val="15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B-27DC-4977-B1A3-355F0827A33F}"/>
              </c:ext>
            </c:extLst>
          </c:dPt>
          <c:dPt>
            <c:idx val="15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C-27DC-4977-B1A3-355F0827A33F}"/>
              </c:ext>
            </c:extLst>
          </c:dPt>
          <c:dPt>
            <c:idx val="15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D-27DC-4977-B1A3-355F0827A33F}"/>
              </c:ext>
            </c:extLst>
          </c:dPt>
          <c:dPt>
            <c:idx val="15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E-27DC-4977-B1A3-355F0827A33F}"/>
              </c:ext>
            </c:extLst>
          </c:dPt>
          <c:dPt>
            <c:idx val="15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2F-27DC-4977-B1A3-355F0827A33F}"/>
              </c:ext>
            </c:extLst>
          </c:dPt>
          <c:dPt>
            <c:idx val="15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0-27DC-4977-B1A3-355F0827A33F}"/>
              </c:ext>
            </c:extLst>
          </c:dPt>
          <c:dPt>
            <c:idx val="15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1-27DC-4977-B1A3-355F0827A33F}"/>
              </c:ext>
            </c:extLst>
          </c:dPt>
          <c:dPt>
            <c:idx val="15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2-27DC-4977-B1A3-355F0827A33F}"/>
              </c:ext>
            </c:extLst>
          </c:dPt>
          <c:dPt>
            <c:idx val="15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3-27DC-4977-B1A3-355F0827A33F}"/>
              </c:ext>
            </c:extLst>
          </c:dPt>
          <c:dPt>
            <c:idx val="15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4-27DC-4977-B1A3-355F0827A33F}"/>
              </c:ext>
            </c:extLst>
          </c:dPt>
          <c:dPt>
            <c:idx val="15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5-27DC-4977-B1A3-355F0827A33F}"/>
              </c:ext>
            </c:extLst>
          </c:dPt>
          <c:dPt>
            <c:idx val="15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6-27DC-4977-B1A3-355F0827A33F}"/>
              </c:ext>
            </c:extLst>
          </c:dPt>
          <c:dPt>
            <c:idx val="15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7-27DC-4977-B1A3-355F0827A33F}"/>
              </c:ext>
            </c:extLst>
          </c:dPt>
          <c:dPt>
            <c:idx val="15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8-27DC-4977-B1A3-355F0827A33F}"/>
              </c:ext>
            </c:extLst>
          </c:dPt>
          <c:dPt>
            <c:idx val="15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9-27DC-4977-B1A3-355F0827A33F}"/>
              </c:ext>
            </c:extLst>
          </c:dPt>
          <c:dPt>
            <c:idx val="15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A-27DC-4977-B1A3-355F0827A33F}"/>
              </c:ext>
            </c:extLst>
          </c:dPt>
          <c:dPt>
            <c:idx val="15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B-27DC-4977-B1A3-355F0827A33F}"/>
              </c:ext>
            </c:extLst>
          </c:dPt>
          <c:dPt>
            <c:idx val="15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C-27DC-4977-B1A3-355F0827A33F}"/>
              </c:ext>
            </c:extLst>
          </c:dPt>
          <c:dPt>
            <c:idx val="15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D-27DC-4977-B1A3-355F0827A33F}"/>
              </c:ext>
            </c:extLst>
          </c:dPt>
          <c:dPt>
            <c:idx val="15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E-27DC-4977-B1A3-355F0827A33F}"/>
              </c:ext>
            </c:extLst>
          </c:dPt>
          <c:dPt>
            <c:idx val="15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3F-27DC-4977-B1A3-355F0827A33F}"/>
              </c:ext>
            </c:extLst>
          </c:dPt>
          <c:dPt>
            <c:idx val="15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0-27DC-4977-B1A3-355F0827A33F}"/>
              </c:ext>
            </c:extLst>
          </c:dPt>
          <c:dPt>
            <c:idx val="15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1-27DC-4977-B1A3-355F0827A33F}"/>
              </c:ext>
            </c:extLst>
          </c:dPt>
          <c:dPt>
            <c:idx val="15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2-27DC-4977-B1A3-355F0827A33F}"/>
              </c:ext>
            </c:extLst>
          </c:dPt>
          <c:dPt>
            <c:idx val="15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3-27DC-4977-B1A3-355F0827A33F}"/>
              </c:ext>
            </c:extLst>
          </c:dPt>
          <c:dPt>
            <c:idx val="16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4-27DC-4977-B1A3-355F0827A33F}"/>
              </c:ext>
            </c:extLst>
          </c:dPt>
          <c:dPt>
            <c:idx val="16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5-27DC-4977-B1A3-355F0827A33F}"/>
              </c:ext>
            </c:extLst>
          </c:dPt>
          <c:dPt>
            <c:idx val="16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6-27DC-4977-B1A3-355F0827A33F}"/>
              </c:ext>
            </c:extLst>
          </c:dPt>
          <c:dPt>
            <c:idx val="16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7-27DC-4977-B1A3-355F0827A33F}"/>
              </c:ext>
            </c:extLst>
          </c:dPt>
          <c:dPt>
            <c:idx val="16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8-27DC-4977-B1A3-355F0827A33F}"/>
              </c:ext>
            </c:extLst>
          </c:dPt>
          <c:dPt>
            <c:idx val="16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9-27DC-4977-B1A3-355F0827A33F}"/>
              </c:ext>
            </c:extLst>
          </c:dPt>
          <c:dPt>
            <c:idx val="16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A-27DC-4977-B1A3-355F0827A33F}"/>
              </c:ext>
            </c:extLst>
          </c:dPt>
          <c:dPt>
            <c:idx val="16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B-27DC-4977-B1A3-355F0827A33F}"/>
              </c:ext>
            </c:extLst>
          </c:dPt>
          <c:dPt>
            <c:idx val="16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C-27DC-4977-B1A3-355F0827A33F}"/>
              </c:ext>
            </c:extLst>
          </c:dPt>
          <c:dPt>
            <c:idx val="16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D-27DC-4977-B1A3-355F0827A33F}"/>
              </c:ext>
            </c:extLst>
          </c:dPt>
          <c:dPt>
            <c:idx val="16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E-27DC-4977-B1A3-355F0827A33F}"/>
              </c:ext>
            </c:extLst>
          </c:dPt>
          <c:dPt>
            <c:idx val="16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4F-27DC-4977-B1A3-355F0827A33F}"/>
              </c:ext>
            </c:extLst>
          </c:dPt>
          <c:dPt>
            <c:idx val="16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0-27DC-4977-B1A3-355F0827A33F}"/>
              </c:ext>
            </c:extLst>
          </c:dPt>
          <c:dPt>
            <c:idx val="16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1-27DC-4977-B1A3-355F0827A33F}"/>
              </c:ext>
            </c:extLst>
          </c:dPt>
          <c:dPt>
            <c:idx val="16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2-27DC-4977-B1A3-355F0827A33F}"/>
              </c:ext>
            </c:extLst>
          </c:dPt>
          <c:dPt>
            <c:idx val="16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3-27DC-4977-B1A3-355F0827A33F}"/>
              </c:ext>
            </c:extLst>
          </c:dPt>
          <c:dPt>
            <c:idx val="16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4-27DC-4977-B1A3-355F0827A33F}"/>
              </c:ext>
            </c:extLst>
          </c:dPt>
          <c:dPt>
            <c:idx val="16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5-27DC-4977-B1A3-355F0827A33F}"/>
              </c:ext>
            </c:extLst>
          </c:dPt>
          <c:dPt>
            <c:idx val="16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6-27DC-4977-B1A3-355F0827A33F}"/>
              </c:ext>
            </c:extLst>
          </c:dPt>
          <c:dPt>
            <c:idx val="16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7-27DC-4977-B1A3-355F0827A33F}"/>
              </c:ext>
            </c:extLst>
          </c:dPt>
          <c:dPt>
            <c:idx val="16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8-27DC-4977-B1A3-355F0827A33F}"/>
              </c:ext>
            </c:extLst>
          </c:dPt>
          <c:dPt>
            <c:idx val="16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9-27DC-4977-B1A3-355F0827A33F}"/>
              </c:ext>
            </c:extLst>
          </c:dPt>
          <c:dPt>
            <c:idx val="16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A-27DC-4977-B1A3-355F0827A33F}"/>
              </c:ext>
            </c:extLst>
          </c:dPt>
          <c:dPt>
            <c:idx val="16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B-27DC-4977-B1A3-355F0827A33F}"/>
              </c:ext>
            </c:extLst>
          </c:dPt>
          <c:dPt>
            <c:idx val="16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C-27DC-4977-B1A3-355F0827A33F}"/>
              </c:ext>
            </c:extLst>
          </c:dPt>
          <c:dPt>
            <c:idx val="16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D-27DC-4977-B1A3-355F0827A33F}"/>
              </c:ext>
            </c:extLst>
          </c:dPt>
          <c:dPt>
            <c:idx val="16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E-27DC-4977-B1A3-355F0827A33F}"/>
              </c:ext>
            </c:extLst>
          </c:dPt>
          <c:dPt>
            <c:idx val="16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5F-27DC-4977-B1A3-355F0827A33F}"/>
              </c:ext>
            </c:extLst>
          </c:dPt>
          <c:dPt>
            <c:idx val="16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0-27DC-4977-B1A3-355F0827A33F}"/>
              </c:ext>
            </c:extLst>
          </c:dPt>
          <c:dPt>
            <c:idx val="16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1-27DC-4977-B1A3-355F0827A33F}"/>
              </c:ext>
            </c:extLst>
          </c:dPt>
          <c:dPt>
            <c:idx val="16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2-27DC-4977-B1A3-355F0827A33F}"/>
              </c:ext>
            </c:extLst>
          </c:dPt>
          <c:dPt>
            <c:idx val="16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3-27DC-4977-B1A3-355F0827A33F}"/>
              </c:ext>
            </c:extLst>
          </c:dPt>
          <c:dPt>
            <c:idx val="16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4-27DC-4977-B1A3-355F0827A33F}"/>
              </c:ext>
            </c:extLst>
          </c:dPt>
          <c:dPt>
            <c:idx val="16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5-27DC-4977-B1A3-355F0827A33F}"/>
              </c:ext>
            </c:extLst>
          </c:dPt>
          <c:dPt>
            <c:idx val="16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6-27DC-4977-B1A3-355F0827A33F}"/>
              </c:ext>
            </c:extLst>
          </c:dPt>
          <c:dPt>
            <c:idx val="16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7-27DC-4977-B1A3-355F0827A33F}"/>
              </c:ext>
            </c:extLst>
          </c:dPt>
          <c:dPt>
            <c:idx val="16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8-27DC-4977-B1A3-355F0827A33F}"/>
              </c:ext>
            </c:extLst>
          </c:dPt>
          <c:dPt>
            <c:idx val="16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9-27DC-4977-B1A3-355F0827A33F}"/>
              </c:ext>
            </c:extLst>
          </c:dPt>
          <c:dPt>
            <c:idx val="16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A-27DC-4977-B1A3-355F0827A33F}"/>
              </c:ext>
            </c:extLst>
          </c:dPt>
          <c:dPt>
            <c:idx val="16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B-27DC-4977-B1A3-355F0827A33F}"/>
              </c:ext>
            </c:extLst>
          </c:dPt>
          <c:dPt>
            <c:idx val="16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C-27DC-4977-B1A3-355F0827A33F}"/>
              </c:ext>
            </c:extLst>
          </c:dPt>
          <c:dPt>
            <c:idx val="16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D-27DC-4977-B1A3-355F0827A33F}"/>
              </c:ext>
            </c:extLst>
          </c:dPt>
          <c:dPt>
            <c:idx val="16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E-27DC-4977-B1A3-355F0827A33F}"/>
              </c:ext>
            </c:extLst>
          </c:dPt>
          <c:dPt>
            <c:idx val="16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6F-27DC-4977-B1A3-355F0827A33F}"/>
              </c:ext>
            </c:extLst>
          </c:dPt>
          <c:dPt>
            <c:idx val="16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0-27DC-4977-B1A3-355F0827A33F}"/>
              </c:ext>
            </c:extLst>
          </c:dPt>
          <c:dPt>
            <c:idx val="16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1-27DC-4977-B1A3-355F0827A33F}"/>
              </c:ext>
            </c:extLst>
          </c:dPt>
          <c:dPt>
            <c:idx val="16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2-27DC-4977-B1A3-355F0827A33F}"/>
              </c:ext>
            </c:extLst>
          </c:dPt>
          <c:dPt>
            <c:idx val="16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3-27DC-4977-B1A3-355F0827A33F}"/>
              </c:ext>
            </c:extLst>
          </c:dPt>
          <c:dPt>
            <c:idx val="16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4-27DC-4977-B1A3-355F0827A33F}"/>
              </c:ext>
            </c:extLst>
          </c:dPt>
          <c:dPt>
            <c:idx val="16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5-27DC-4977-B1A3-355F0827A33F}"/>
              </c:ext>
            </c:extLst>
          </c:dPt>
          <c:dPt>
            <c:idx val="16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6-27DC-4977-B1A3-355F0827A33F}"/>
              </c:ext>
            </c:extLst>
          </c:dPt>
          <c:dPt>
            <c:idx val="16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7-27DC-4977-B1A3-355F0827A33F}"/>
              </c:ext>
            </c:extLst>
          </c:dPt>
          <c:dPt>
            <c:idx val="16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8-27DC-4977-B1A3-355F0827A33F}"/>
              </c:ext>
            </c:extLst>
          </c:dPt>
          <c:dPt>
            <c:idx val="16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9-27DC-4977-B1A3-355F0827A33F}"/>
              </c:ext>
            </c:extLst>
          </c:dPt>
          <c:dPt>
            <c:idx val="16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A-27DC-4977-B1A3-355F0827A33F}"/>
              </c:ext>
            </c:extLst>
          </c:dPt>
          <c:dPt>
            <c:idx val="16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B-27DC-4977-B1A3-355F0827A33F}"/>
              </c:ext>
            </c:extLst>
          </c:dPt>
          <c:dPt>
            <c:idx val="16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C-27DC-4977-B1A3-355F0827A33F}"/>
              </c:ext>
            </c:extLst>
          </c:dPt>
          <c:dPt>
            <c:idx val="16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D-27DC-4977-B1A3-355F0827A33F}"/>
              </c:ext>
            </c:extLst>
          </c:dPt>
          <c:dPt>
            <c:idx val="16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E-27DC-4977-B1A3-355F0827A33F}"/>
              </c:ext>
            </c:extLst>
          </c:dPt>
          <c:dPt>
            <c:idx val="16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7F-27DC-4977-B1A3-355F0827A33F}"/>
              </c:ext>
            </c:extLst>
          </c:dPt>
          <c:dPt>
            <c:idx val="16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0-27DC-4977-B1A3-355F0827A33F}"/>
              </c:ext>
            </c:extLst>
          </c:dPt>
          <c:dPt>
            <c:idx val="16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1-27DC-4977-B1A3-355F0827A33F}"/>
              </c:ext>
            </c:extLst>
          </c:dPt>
          <c:dPt>
            <c:idx val="16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2-27DC-4977-B1A3-355F0827A33F}"/>
              </c:ext>
            </c:extLst>
          </c:dPt>
          <c:dPt>
            <c:idx val="16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3-27DC-4977-B1A3-355F0827A33F}"/>
              </c:ext>
            </c:extLst>
          </c:dPt>
          <c:dPt>
            <c:idx val="16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4-27DC-4977-B1A3-355F0827A33F}"/>
              </c:ext>
            </c:extLst>
          </c:dPt>
          <c:dPt>
            <c:idx val="16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5-27DC-4977-B1A3-355F0827A33F}"/>
              </c:ext>
            </c:extLst>
          </c:dPt>
          <c:dPt>
            <c:idx val="16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6-27DC-4977-B1A3-355F0827A33F}"/>
              </c:ext>
            </c:extLst>
          </c:dPt>
          <c:dPt>
            <c:idx val="16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7-27DC-4977-B1A3-355F0827A33F}"/>
              </c:ext>
            </c:extLst>
          </c:dPt>
          <c:dPt>
            <c:idx val="16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8-27DC-4977-B1A3-355F0827A33F}"/>
              </c:ext>
            </c:extLst>
          </c:dPt>
          <c:dPt>
            <c:idx val="16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9-27DC-4977-B1A3-355F0827A33F}"/>
              </c:ext>
            </c:extLst>
          </c:dPt>
          <c:dPt>
            <c:idx val="16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A-27DC-4977-B1A3-355F0827A33F}"/>
              </c:ext>
            </c:extLst>
          </c:dPt>
          <c:dPt>
            <c:idx val="16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B-27DC-4977-B1A3-355F0827A33F}"/>
              </c:ext>
            </c:extLst>
          </c:dPt>
          <c:dPt>
            <c:idx val="16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C-27DC-4977-B1A3-355F0827A33F}"/>
              </c:ext>
            </c:extLst>
          </c:dPt>
          <c:dPt>
            <c:idx val="16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D-27DC-4977-B1A3-355F0827A33F}"/>
              </c:ext>
            </c:extLst>
          </c:dPt>
          <c:dPt>
            <c:idx val="16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E-27DC-4977-B1A3-355F0827A33F}"/>
              </c:ext>
            </c:extLst>
          </c:dPt>
          <c:dPt>
            <c:idx val="16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8F-27DC-4977-B1A3-355F0827A33F}"/>
              </c:ext>
            </c:extLst>
          </c:dPt>
          <c:dPt>
            <c:idx val="16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0-27DC-4977-B1A3-355F0827A33F}"/>
              </c:ext>
            </c:extLst>
          </c:dPt>
          <c:dPt>
            <c:idx val="16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1-27DC-4977-B1A3-355F0827A33F}"/>
              </c:ext>
            </c:extLst>
          </c:dPt>
          <c:dPt>
            <c:idx val="16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2-27DC-4977-B1A3-355F0827A33F}"/>
              </c:ext>
            </c:extLst>
          </c:dPt>
          <c:dPt>
            <c:idx val="16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3-27DC-4977-B1A3-355F0827A33F}"/>
              </c:ext>
            </c:extLst>
          </c:dPt>
          <c:dPt>
            <c:idx val="16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4-27DC-4977-B1A3-355F0827A33F}"/>
              </c:ext>
            </c:extLst>
          </c:dPt>
          <c:dPt>
            <c:idx val="16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5-27DC-4977-B1A3-355F0827A33F}"/>
              </c:ext>
            </c:extLst>
          </c:dPt>
          <c:dPt>
            <c:idx val="16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6-27DC-4977-B1A3-355F0827A33F}"/>
              </c:ext>
            </c:extLst>
          </c:dPt>
          <c:dPt>
            <c:idx val="16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7-27DC-4977-B1A3-355F0827A33F}"/>
              </c:ext>
            </c:extLst>
          </c:dPt>
          <c:dPt>
            <c:idx val="16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8-27DC-4977-B1A3-355F0827A33F}"/>
              </c:ext>
            </c:extLst>
          </c:dPt>
          <c:dPt>
            <c:idx val="16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9-27DC-4977-B1A3-355F0827A33F}"/>
              </c:ext>
            </c:extLst>
          </c:dPt>
          <c:dPt>
            <c:idx val="16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A-27DC-4977-B1A3-355F0827A33F}"/>
              </c:ext>
            </c:extLst>
          </c:dPt>
          <c:dPt>
            <c:idx val="16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B-27DC-4977-B1A3-355F0827A33F}"/>
              </c:ext>
            </c:extLst>
          </c:dPt>
          <c:dPt>
            <c:idx val="16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C-27DC-4977-B1A3-355F0827A33F}"/>
              </c:ext>
            </c:extLst>
          </c:dPt>
          <c:dPt>
            <c:idx val="16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D-27DC-4977-B1A3-355F0827A33F}"/>
              </c:ext>
            </c:extLst>
          </c:dPt>
          <c:dPt>
            <c:idx val="16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E-27DC-4977-B1A3-355F0827A33F}"/>
              </c:ext>
            </c:extLst>
          </c:dPt>
          <c:dPt>
            <c:idx val="16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9F-27DC-4977-B1A3-355F0827A33F}"/>
              </c:ext>
            </c:extLst>
          </c:dPt>
          <c:dPt>
            <c:idx val="16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0-27DC-4977-B1A3-355F0827A33F}"/>
              </c:ext>
            </c:extLst>
          </c:dPt>
          <c:dPt>
            <c:idx val="16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1-27DC-4977-B1A3-355F0827A33F}"/>
              </c:ext>
            </c:extLst>
          </c:dPt>
          <c:dPt>
            <c:idx val="16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2-27DC-4977-B1A3-355F0827A33F}"/>
              </c:ext>
            </c:extLst>
          </c:dPt>
          <c:dPt>
            <c:idx val="16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3-27DC-4977-B1A3-355F0827A33F}"/>
              </c:ext>
            </c:extLst>
          </c:dPt>
          <c:dPt>
            <c:idx val="16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4-27DC-4977-B1A3-355F0827A33F}"/>
              </c:ext>
            </c:extLst>
          </c:dPt>
          <c:dPt>
            <c:idx val="16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5-27DC-4977-B1A3-355F0827A33F}"/>
              </c:ext>
            </c:extLst>
          </c:dPt>
          <c:dPt>
            <c:idx val="16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6-27DC-4977-B1A3-355F0827A33F}"/>
              </c:ext>
            </c:extLst>
          </c:dPt>
          <c:dPt>
            <c:idx val="16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7-27DC-4977-B1A3-355F0827A33F}"/>
              </c:ext>
            </c:extLst>
          </c:dPt>
          <c:dPt>
            <c:idx val="17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8-27DC-4977-B1A3-355F0827A33F}"/>
              </c:ext>
            </c:extLst>
          </c:dPt>
          <c:dPt>
            <c:idx val="17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9-27DC-4977-B1A3-355F0827A33F}"/>
              </c:ext>
            </c:extLst>
          </c:dPt>
          <c:dPt>
            <c:idx val="17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A-27DC-4977-B1A3-355F0827A33F}"/>
              </c:ext>
            </c:extLst>
          </c:dPt>
          <c:dPt>
            <c:idx val="17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B-27DC-4977-B1A3-355F0827A33F}"/>
              </c:ext>
            </c:extLst>
          </c:dPt>
          <c:dPt>
            <c:idx val="17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C-27DC-4977-B1A3-355F0827A33F}"/>
              </c:ext>
            </c:extLst>
          </c:dPt>
          <c:dPt>
            <c:idx val="17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D-27DC-4977-B1A3-355F0827A33F}"/>
              </c:ext>
            </c:extLst>
          </c:dPt>
          <c:dPt>
            <c:idx val="17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E-27DC-4977-B1A3-355F0827A33F}"/>
              </c:ext>
            </c:extLst>
          </c:dPt>
          <c:dPt>
            <c:idx val="17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AF-27DC-4977-B1A3-355F0827A33F}"/>
              </c:ext>
            </c:extLst>
          </c:dPt>
          <c:dPt>
            <c:idx val="17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0-27DC-4977-B1A3-355F0827A33F}"/>
              </c:ext>
            </c:extLst>
          </c:dPt>
          <c:dPt>
            <c:idx val="17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1-27DC-4977-B1A3-355F0827A33F}"/>
              </c:ext>
            </c:extLst>
          </c:dPt>
          <c:dPt>
            <c:idx val="17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2-27DC-4977-B1A3-355F0827A33F}"/>
              </c:ext>
            </c:extLst>
          </c:dPt>
          <c:dPt>
            <c:idx val="17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3-27DC-4977-B1A3-355F0827A33F}"/>
              </c:ext>
            </c:extLst>
          </c:dPt>
          <c:dPt>
            <c:idx val="17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4-27DC-4977-B1A3-355F0827A33F}"/>
              </c:ext>
            </c:extLst>
          </c:dPt>
          <c:dPt>
            <c:idx val="17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5-27DC-4977-B1A3-355F0827A33F}"/>
              </c:ext>
            </c:extLst>
          </c:dPt>
          <c:dPt>
            <c:idx val="17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6-27DC-4977-B1A3-355F0827A33F}"/>
              </c:ext>
            </c:extLst>
          </c:dPt>
          <c:dPt>
            <c:idx val="17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7-27DC-4977-B1A3-355F0827A33F}"/>
              </c:ext>
            </c:extLst>
          </c:dPt>
          <c:dPt>
            <c:idx val="17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8-27DC-4977-B1A3-355F0827A33F}"/>
              </c:ext>
            </c:extLst>
          </c:dPt>
          <c:dPt>
            <c:idx val="17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9-27DC-4977-B1A3-355F0827A33F}"/>
              </c:ext>
            </c:extLst>
          </c:dPt>
          <c:dPt>
            <c:idx val="17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A-27DC-4977-B1A3-355F0827A33F}"/>
              </c:ext>
            </c:extLst>
          </c:dPt>
          <c:dPt>
            <c:idx val="17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B-27DC-4977-B1A3-355F0827A33F}"/>
              </c:ext>
            </c:extLst>
          </c:dPt>
          <c:dPt>
            <c:idx val="17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C-27DC-4977-B1A3-355F0827A33F}"/>
              </c:ext>
            </c:extLst>
          </c:dPt>
          <c:dPt>
            <c:idx val="17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D-27DC-4977-B1A3-355F0827A33F}"/>
              </c:ext>
            </c:extLst>
          </c:dPt>
          <c:dPt>
            <c:idx val="17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E-27DC-4977-B1A3-355F0827A33F}"/>
              </c:ext>
            </c:extLst>
          </c:dPt>
          <c:dPt>
            <c:idx val="17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BF-27DC-4977-B1A3-355F0827A33F}"/>
              </c:ext>
            </c:extLst>
          </c:dPt>
          <c:dPt>
            <c:idx val="17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0-27DC-4977-B1A3-355F0827A33F}"/>
              </c:ext>
            </c:extLst>
          </c:dPt>
          <c:dPt>
            <c:idx val="17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1-27DC-4977-B1A3-355F0827A33F}"/>
              </c:ext>
            </c:extLst>
          </c:dPt>
          <c:dPt>
            <c:idx val="17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2-27DC-4977-B1A3-355F0827A33F}"/>
              </c:ext>
            </c:extLst>
          </c:dPt>
          <c:dPt>
            <c:idx val="17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3-27DC-4977-B1A3-355F0827A33F}"/>
              </c:ext>
            </c:extLst>
          </c:dPt>
          <c:dPt>
            <c:idx val="17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4-27DC-4977-B1A3-355F0827A33F}"/>
              </c:ext>
            </c:extLst>
          </c:dPt>
          <c:dPt>
            <c:idx val="17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5-27DC-4977-B1A3-355F0827A33F}"/>
              </c:ext>
            </c:extLst>
          </c:dPt>
          <c:dPt>
            <c:idx val="17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6-27DC-4977-B1A3-355F0827A33F}"/>
              </c:ext>
            </c:extLst>
          </c:dPt>
          <c:dPt>
            <c:idx val="17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7-27DC-4977-B1A3-355F0827A33F}"/>
              </c:ext>
            </c:extLst>
          </c:dPt>
          <c:dPt>
            <c:idx val="17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8-27DC-4977-B1A3-355F0827A33F}"/>
              </c:ext>
            </c:extLst>
          </c:dPt>
          <c:dPt>
            <c:idx val="17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9-27DC-4977-B1A3-355F0827A33F}"/>
              </c:ext>
            </c:extLst>
          </c:dPt>
          <c:dPt>
            <c:idx val="17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A-27DC-4977-B1A3-355F0827A33F}"/>
              </c:ext>
            </c:extLst>
          </c:dPt>
          <c:dPt>
            <c:idx val="17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B-27DC-4977-B1A3-355F0827A33F}"/>
              </c:ext>
            </c:extLst>
          </c:dPt>
          <c:dPt>
            <c:idx val="17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C-27DC-4977-B1A3-355F0827A33F}"/>
              </c:ext>
            </c:extLst>
          </c:dPt>
          <c:dPt>
            <c:idx val="17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D-27DC-4977-B1A3-355F0827A33F}"/>
              </c:ext>
            </c:extLst>
          </c:dPt>
          <c:dPt>
            <c:idx val="17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E-27DC-4977-B1A3-355F0827A33F}"/>
              </c:ext>
            </c:extLst>
          </c:dPt>
          <c:dPt>
            <c:idx val="17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CF-27DC-4977-B1A3-355F0827A33F}"/>
              </c:ext>
            </c:extLst>
          </c:dPt>
          <c:dPt>
            <c:idx val="17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0-27DC-4977-B1A3-355F0827A33F}"/>
              </c:ext>
            </c:extLst>
          </c:dPt>
          <c:dPt>
            <c:idx val="17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1-27DC-4977-B1A3-355F0827A33F}"/>
              </c:ext>
            </c:extLst>
          </c:dPt>
          <c:dPt>
            <c:idx val="17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2-27DC-4977-B1A3-355F0827A33F}"/>
              </c:ext>
            </c:extLst>
          </c:dPt>
          <c:dPt>
            <c:idx val="17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3-27DC-4977-B1A3-355F0827A33F}"/>
              </c:ext>
            </c:extLst>
          </c:dPt>
          <c:dPt>
            <c:idx val="17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4-27DC-4977-B1A3-355F0827A33F}"/>
              </c:ext>
            </c:extLst>
          </c:dPt>
          <c:dPt>
            <c:idx val="17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5-27DC-4977-B1A3-355F0827A33F}"/>
              </c:ext>
            </c:extLst>
          </c:dPt>
          <c:dPt>
            <c:idx val="17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6-27DC-4977-B1A3-355F0827A33F}"/>
              </c:ext>
            </c:extLst>
          </c:dPt>
          <c:dPt>
            <c:idx val="17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7-27DC-4977-B1A3-355F0827A33F}"/>
              </c:ext>
            </c:extLst>
          </c:dPt>
          <c:dPt>
            <c:idx val="17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8-27DC-4977-B1A3-355F0827A33F}"/>
              </c:ext>
            </c:extLst>
          </c:dPt>
          <c:dPt>
            <c:idx val="17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9-27DC-4977-B1A3-355F0827A33F}"/>
              </c:ext>
            </c:extLst>
          </c:dPt>
          <c:dPt>
            <c:idx val="17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A-27DC-4977-B1A3-355F0827A33F}"/>
              </c:ext>
            </c:extLst>
          </c:dPt>
          <c:dPt>
            <c:idx val="17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B-27DC-4977-B1A3-355F0827A33F}"/>
              </c:ext>
            </c:extLst>
          </c:dPt>
          <c:dPt>
            <c:idx val="17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C-27DC-4977-B1A3-355F0827A33F}"/>
              </c:ext>
            </c:extLst>
          </c:dPt>
          <c:dPt>
            <c:idx val="17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D-27DC-4977-B1A3-355F0827A33F}"/>
              </c:ext>
            </c:extLst>
          </c:dPt>
          <c:dPt>
            <c:idx val="17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E-27DC-4977-B1A3-355F0827A33F}"/>
              </c:ext>
            </c:extLst>
          </c:dPt>
          <c:dPt>
            <c:idx val="17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DF-27DC-4977-B1A3-355F0827A33F}"/>
              </c:ext>
            </c:extLst>
          </c:dPt>
          <c:dPt>
            <c:idx val="17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0-27DC-4977-B1A3-355F0827A33F}"/>
              </c:ext>
            </c:extLst>
          </c:dPt>
          <c:dPt>
            <c:idx val="17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1-27DC-4977-B1A3-355F0827A33F}"/>
              </c:ext>
            </c:extLst>
          </c:dPt>
          <c:dPt>
            <c:idx val="17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2-27DC-4977-B1A3-355F0827A33F}"/>
              </c:ext>
            </c:extLst>
          </c:dPt>
          <c:dPt>
            <c:idx val="17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3-27DC-4977-B1A3-355F0827A33F}"/>
              </c:ext>
            </c:extLst>
          </c:dPt>
          <c:dPt>
            <c:idx val="17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4-27DC-4977-B1A3-355F0827A33F}"/>
              </c:ext>
            </c:extLst>
          </c:dPt>
          <c:dPt>
            <c:idx val="17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5-27DC-4977-B1A3-355F0827A33F}"/>
              </c:ext>
            </c:extLst>
          </c:dPt>
          <c:dPt>
            <c:idx val="17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6-27DC-4977-B1A3-355F0827A33F}"/>
              </c:ext>
            </c:extLst>
          </c:dPt>
          <c:dPt>
            <c:idx val="17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7-27DC-4977-B1A3-355F0827A33F}"/>
              </c:ext>
            </c:extLst>
          </c:dPt>
          <c:dPt>
            <c:idx val="17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8-27DC-4977-B1A3-355F0827A33F}"/>
              </c:ext>
            </c:extLst>
          </c:dPt>
          <c:dPt>
            <c:idx val="17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9-27DC-4977-B1A3-355F0827A33F}"/>
              </c:ext>
            </c:extLst>
          </c:dPt>
          <c:dPt>
            <c:idx val="17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A-27DC-4977-B1A3-355F0827A33F}"/>
              </c:ext>
            </c:extLst>
          </c:dPt>
          <c:dPt>
            <c:idx val="17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B-27DC-4977-B1A3-355F0827A33F}"/>
              </c:ext>
            </c:extLst>
          </c:dPt>
          <c:dPt>
            <c:idx val="17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C-27DC-4977-B1A3-355F0827A33F}"/>
              </c:ext>
            </c:extLst>
          </c:dPt>
          <c:dPt>
            <c:idx val="17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D-27DC-4977-B1A3-355F0827A33F}"/>
              </c:ext>
            </c:extLst>
          </c:dPt>
          <c:dPt>
            <c:idx val="17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E-27DC-4977-B1A3-355F0827A33F}"/>
              </c:ext>
            </c:extLst>
          </c:dPt>
          <c:dPt>
            <c:idx val="17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EF-27DC-4977-B1A3-355F0827A33F}"/>
              </c:ext>
            </c:extLst>
          </c:dPt>
          <c:dPt>
            <c:idx val="17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0-27DC-4977-B1A3-355F0827A33F}"/>
              </c:ext>
            </c:extLst>
          </c:dPt>
          <c:dPt>
            <c:idx val="17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1-27DC-4977-B1A3-355F0827A33F}"/>
              </c:ext>
            </c:extLst>
          </c:dPt>
          <c:dPt>
            <c:idx val="17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2-27DC-4977-B1A3-355F0827A33F}"/>
              </c:ext>
            </c:extLst>
          </c:dPt>
          <c:dPt>
            <c:idx val="17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3-27DC-4977-B1A3-355F0827A33F}"/>
              </c:ext>
            </c:extLst>
          </c:dPt>
          <c:dPt>
            <c:idx val="17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4-27DC-4977-B1A3-355F0827A33F}"/>
              </c:ext>
            </c:extLst>
          </c:dPt>
          <c:dPt>
            <c:idx val="17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5-27DC-4977-B1A3-355F0827A33F}"/>
              </c:ext>
            </c:extLst>
          </c:dPt>
          <c:dPt>
            <c:idx val="17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6-27DC-4977-B1A3-355F0827A33F}"/>
              </c:ext>
            </c:extLst>
          </c:dPt>
          <c:dPt>
            <c:idx val="17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7-27DC-4977-B1A3-355F0827A33F}"/>
              </c:ext>
            </c:extLst>
          </c:dPt>
          <c:dPt>
            <c:idx val="17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8-27DC-4977-B1A3-355F0827A33F}"/>
              </c:ext>
            </c:extLst>
          </c:dPt>
          <c:dPt>
            <c:idx val="17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9-27DC-4977-B1A3-355F0827A33F}"/>
              </c:ext>
            </c:extLst>
          </c:dPt>
          <c:dPt>
            <c:idx val="17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A-27DC-4977-B1A3-355F0827A33F}"/>
              </c:ext>
            </c:extLst>
          </c:dPt>
          <c:dPt>
            <c:idx val="17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B-27DC-4977-B1A3-355F0827A33F}"/>
              </c:ext>
            </c:extLst>
          </c:dPt>
          <c:dPt>
            <c:idx val="17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C-27DC-4977-B1A3-355F0827A33F}"/>
              </c:ext>
            </c:extLst>
          </c:dPt>
          <c:dPt>
            <c:idx val="17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D-27DC-4977-B1A3-355F0827A33F}"/>
              </c:ext>
            </c:extLst>
          </c:dPt>
          <c:dPt>
            <c:idx val="17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E-27DC-4977-B1A3-355F0827A33F}"/>
              </c:ext>
            </c:extLst>
          </c:dPt>
          <c:dPt>
            <c:idx val="17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6FF-27DC-4977-B1A3-355F0827A33F}"/>
              </c:ext>
            </c:extLst>
          </c:dPt>
          <c:dPt>
            <c:idx val="17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0-27DC-4977-B1A3-355F0827A33F}"/>
              </c:ext>
            </c:extLst>
          </c:dPt>
          <c:dPt>
            <c:idx val="17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1-27DC-4977-B1A3-355F0827A33F}"/>
              </c:ext>
            </c:extLst>
          </c:dPt>
          <c:dPt>
            <c:idx val="17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2-27DC-4977-B1A3-355F0827A33F}"/>
              </c:ext>
            </c:extLst>
          </c:dPt>
          <c:dPt>
            <c:idx val="17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3-27DC-4977-B1A3-355F0827A33F}"/>
              </c:ext>
            </c:extLst>
          </c:dPt>
          <c:dPt>
            <c:idx val="17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4-27DC-4977-B1A3-355F0827A33F}"/>
              </c:ext>
            </c:extLst>
          </c:dPt>
          <c:dPt>
            <c:idx val="17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5-27DC-4977-B1A3-355F0827A33F}"/>
              </c:ext>
            </c:extLst>
          </c:dPt>
          <c:dPt>
            <c:idx val="17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6-27DC-4977-B1A3-355F0827A33F}"/>
              </c:ext>
            </c:extLst>
          </c:dPt>
          <c:dPt>
            <c:idx val="17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7-27DC-4977-B1A3-355F0827A33F}"/>
              </c:ext>
            </c:extLst>
          </c:dPt>
          <c:dPt>
            <c:idx val="17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8-27DC-4977-B1A3-355F0827A33F}"/>
              </c:ext>
            </c:extLst>
          </c:dPt>
          <c:dPt>
            <c:idx val="17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9-27DC-4977-B1A3-355F0827A33F}"/>
              </c:ext>
            </c:extLst>
          </c:dPt>
          <c:dPt>
            <c:idx val="17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A-27DC-4977-B1A3-355F0827A33F}"/>
              </c:ext>
            </c:extLst>
          </c:dPt>
          <c:dPt>
            <c:idx val="17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B-27DC-4977-B1A3-355F0827A33F}"/>
              </c:ext>
            </c:extLst>
          </c:dPt>
          <c:dPt>
            <c:idx val="18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C-27DC-4977-B1A3-355F0827A33F}"/>
              </c:ext>
            </c:extLst>
          </c:dPt>
          <c:dPt>
            <c:idx val="18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D-27DC-4977-B1A3-355F0827A33F}"/>
              </c:ext>
            </c:extLst>
          </c:dPt>
          <c:dPt>
            <c:idx val="18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E-27DC-4977-B1A3-355F0827A33F}"/>
              </c:ext>
            </c:extLst>
          </c:dPt>
          <c:dPt>
            <c:idx val="18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0F-27DC-4977-B1A3-355F0827A33F}"/>
              </c:ext>
            </c:extLst>
          </c:dPt>
          <c:dPt>
            <c:idx val="18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0-27DC-4977-B1A3-355F0827A33F}"/>
              </c:ext>
            </c:extLst>
          </c:dPt>
          <c:dPt>
            <c:idx val="18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1-27DC-4977-B1A3-355F0827A33F}"/>
              </c:ext>
            </c:extLst>
          </c:dPt>
          <c:dPt>
            <c:idx val="18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2-27DC-4977-B1A3-355F0827A33F}"/>
              </c:ext>
            </c:extLst>
          </c:dPt>
          <c:dPt>
            <c:idx val="18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3-27DC-4977-B1A3-355F0827A33F}"/>
              </c:ext>
            </c:extLst>
          </c:dPt>
          <c:dPt>
            <c:idx val="18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4-27DC-4977-B1A3-355F0827A33F}"/>
              </c:ext>
            </c:extLst>
          </c:dPt>
          <c:dPt>
            <c:idx val="18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5-27DC-4977-B1A3-355F0827A33F}"/>
              </c:ext>
            </c:extLst>
          </c:dPt>
          <c:dPt>
            <c:idx val="18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6-27DC-4977-B1A3-355F0827A33F}"/>
              </c:ext>
            </c:extLst>
          </c:dPt>
          <c:dPt>
            <c:idx val="18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7-27DC-4977-B1A3-355F0827A33F}"/>
              </c:ext>
            </c:extLst>
          </c:dPt>
          <c:dPt>
            <c:idx val="18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8-27DC-4977-B1A3-355F0827A33F}"/>
              </c:ext>
            </c:extLst>
          </c:dPt>
          <c:dPt>
            <c:idx val="18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9-27DC-4977-B1A3-355F0827A33F}"/>
              </c:ext>
            </c:extLst>
          </c:dPt>
          <c:dPt>
            <c:idx val="18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A-27DC-4977-B1A3-355F0827A33F}"/>
              </c:ext>
            </c:extLst>
          </c:dPt>
          <c:dPt>
            <c:idx val="18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B-27DC-4977-B1A3-355F0827A33F}"/>
              </c:ext>
            </c:extLst>
          </c:dPt>
          <c:dPt>
            <c:idx val="18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C-27DC-4977-B1A3-355F0827A33F}"/>
              </c:ext>
            </c:extLst>
          </c:dPt>
          <c:dPt>
            <c:idx val="18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D-27DC-4977-B1A3-355F0827A33F}"/>
              </c:ext>
            </c:extLst>
          </c:dPt>
          <c:dPt>
            <c:idx val="18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E-27DC-4977-B1A3-355F0827A33F}"/>
              </c:ext>
            </c:extLst>
          </c:dPt>
          <c:dPt>
            <c:idx val="18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1F-27DC-4977-B1A3-355F0827A33F}"/>
              </c:ext>
            </c:extLst>
          </c:dPt>
          <c:dPt>
            <c:idx val="18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0-27DC-4977-B1A3-355F0827A33F}"/>
              </c:ext>
            </c:extLst>
          </c:dPt>
          <c:dPt>
            <c:idx val="18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1-27DC-4977-B1A3-355F0827A33F}"/>
              </c:ext>
            </c:extLst>
          </c:dPt>
          <c:dPt>
            <c:idx val="18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2-27DC-4977-B1A3-355F0827A33F}"/>
              </c:ext>
            </c:extLst>
          </c:dPt>
          <c:dPt>
            <c:idx val="18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3-27DC-4977-B1A3-355F0827A33F}"/>
              </c:ext>
            </c:extLst>
          </c:dPt>
          <c:dPt>
            <c:idx val="18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4-27DC-4977-B1A3-355F0827A33F}"/>
              </c:ext>
            </c:extLst>
          </c:dPt>
          <c:dPt>
            <c:idx val="18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5-27DC-4977-B1A3-355F0827A33F}"/>
              </c:ext>
            </c:extLst>
          </c:dPt>
          <c:dPt>
            <c:idx val="18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6-27DC-4977-B1A3-355F0827A33F}"/>
              </c:ext>
            </c:extLst>
          </c:dPt>
          <c:dPt>
            <c:idx val="18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7-27DC-4977-B1A3-355F0827A33F}"/>
              </c:ext>
            </c:extLst>
          </c:dPt>
          <c:dPt>
            <c:idx val="18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8-27DC-4977-B1A3-355F0827A33F}"/>
              </c:ext>
            </c:extLst>
          </c:dPt>
          <c:dPt>
            <c:idx val="18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9-27DC-4977-B1A3-355F0827A33F}"/>
              </c:ext>
            </c:extLst>
          </c:dPt>
          <c:dPt>
            <c:idx val="18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A-27DC-4977-B1A3-355F0827A33F}"/>
              </c:ext>
            </c:extLst>
          </c:dPt>
          <c:dPt>
            <c:idx val="18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B-27DC-4977-B1A3-355F0827A33F}"/>
              </c:ext>
            </c:extLst>
          </c:dPt>
          <c:dPt>
            <c:idx val="18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C-27DC-4977-B1A3-355F0827A33F}"/>
              </c:ext>
            </c:extLst>
          </c:dPt>
          <c:dPt>
            <c:idx val="18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D-27DC-4977-B1A3-355F0827A33F}"/>
              </c:ext>
            </c:extLst>
          </c:dPt>
          <c:dPt>
            <c:idx val="18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E-27DC-4977-B1A3-355F0827A33F}"/>
              </c:ext>
            </c:extLst>
          </c:dPt>
          <c:dPt>
            <c:idx val="18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2F-27DC-4977-B1A3-355F0827A33F}"/>
              </c:ext>
            </c:extLst>
          </c:dPt>
          <c:dPt>
            <c:idx val="18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0-27DC-4977-B1A3-355F0827A33F}"/>
              </c:ext>
            </c:extLst>
          </c:dPt>
          <c:dPt>
            <c:idx val="18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1-27DC-4977-B1A3-355F0827A33F}"/>
              </c:ext>
            </c:extLst>
          </c:dPt>
          <c:dPt>
            <c:idx val="18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2-27DC-4977-B1A3-355F0827A33F}"/>
              </c:ext>
            </c:extLst>
          </c:dPt>
          <c:dPt>
            <c:idx val="18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3-27DC-4977-B1A3-355F0827A33F}"/>
              </c:ext>
            </c:extLst>
          </c:dPt>
          <c:dPt>
            <c:idx val="18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4-27DC-4977-B1A3-355F0827A33F}"/>
              </c:ext>
            </c:extLst>
          </c:dPt>
          <c:dPt>
            <c:idx val="18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5-27DC-4977-B1A3-355F0827A33F}"/>
              </c:ext>
            </c:extLst>
          </c:dPt>
          <c:dPt>
            <c:idx val="18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6-27DC-4977-B1A3-355F0827A33F}"/>
              </c:ext>
            </c:extLst>
          </c:dPt>
          <c:dPt>
            <c:idx val="18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7-27DC-4977-B1A3-355F0827A33F}"/>
              </c:ext>
            </c:extLst>
          </c:dPt>
          <c:dPt>
            <c:idx val="18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8-27DC-4977-B1A3-355F0827A33F}"/>
              </c:ext>
            </c:extLst>
          </c:dPt>
          <c:dPt>
            <c:idx val="18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9-27DC-4977-B1A3-355F0827A33F}"/>
              </c:ext>
            </c:extLst>
          </c:dPt>
          <c:dPt>
            <c:idx val="18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A-27DC-4977-B1A3-355F0827A33F}"/>
              </c:ext>
            </c:extLst>
          </c:dPt>
          <c:dPt>
            <c:idx val="18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B-27DC-4977-B1A3-355F0827A33F}"/>
              </c:ext>
            </c:extLst>
          </c:dPt>
          <c:dPt>
            <c:idx val="18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C-27DC-4977-B1A3-355F0827A33F}"/>
              </c:ext>
            </c:extLst>
          </c:dPt>
          <c:dPt>
            <c:idx val="18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D-27DC-4977-B1A3-355F0827A33F}"/>
              </c:ext>
            </c:extLst>
          </c:dPt>
          <c:dPt>
            <c:idx val="18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E-27DC-4977-B1A3-355F0827A33F}"/>
              </c:ext>
            </c:extLst>
          </c:dPt>
          <c:dPt>
            <c:idx val="18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3F-27DC-4977-B1A3-355F0827A33F}"/>
              </c:ext>
            </c:extLst>
          </c:dPt>
          <c:dPt>
            <c:idx val="18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0-27DC-4977-B1A3-355F0827A33F}"/>
              </c:ext>
            </c:extLst>
          </c:dPt>
          <c:dPt>
            <c:idx val="18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1-27DC-4977-B1A3-355F0827A33F}"/>
              </c:ext>
            </c:extLst>
          </c:dPt>
          <c:dPt>
            <c:idx val="18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2-27DC-4977-B1A3-355F0827A33F}"/>
              </c:ext>
            </c:extLst>
          </c:dPt>
          <c:dPt>
            <c:idx val="18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3-27DC-4977-B1A3-355F0827A33F}"/>
              </c:ext>
            </c:extLst>
          </c:dPt>
          <c:dPt>
            <c:idx val="18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4-27DC-4977-B1A3-355F0827A33F}"/>
              </c:ext>
            </c:extLst>
          </c:dPt>
          <c:dPt>
            <c:idx val="18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5-27DC-4977-B1A3-355F0827A33F}"/>
              </c:ext>
            </c:extLst>
          </c:dPt>
          <c:dPt>
            <c:idx val="18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6-27DC-4977-B1A3-355F0827A33F}"/>
              </c:ext>
            </c:extLst>
          </c:dPt>
          <c:dPt>
            <c:idx val="18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7-27DC-4977-B1A3-355F0827A33F}"/>
              </c:ext>
            </c:extLst>
          </c:dPt>
          <c:dPt>
            <c:idx val="18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8-27DC-4977-B1A3-355F0827A33F}"/>
              </c:ext>
            </c:extLst>
          </c:dPt>
          <c:dPt>
            <c:idx val="18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9-27DC-4977-B1A3-355F0827A33F}"/>
              </c:ext>
            </c:extLst>
          </c:dPt>
          <c:dPt>
            <c:idx val="18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A-27DC-4977-B1A3-355F0827A33F}"/>
              </c:ext>
            </c:extLst>
          </c:dPt>
          <c:dPt>
            <c:idx val="18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B-27DC-4977-B1A3-355F0827A33F}"/>
              </c:ext>
            </c:extLst>
          </c:dPt>
          <c:dPt>
            <c:idx val="18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C-27DC-4977-B1A3-355F0827A33F}"/>
              </c:ext>
            </c:extLst>
          </c:dPt>
          <c:dPt>
            <c:idx val="18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D-27DC-4977-B1A3-355F0827A33F}"/>
              </c:ext>
            </c:extLst>
          </c:dPt>
          <c:dPt>
            <c:idx val="18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E-27DC-4977-B1A3-355F0827A33F}"/>
              </c:ext>
            </c:extLst>
          </c:dPt>
          <c:dPt>
            <c:idx val="18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4F-27DC-4977-B1A3-355F0827A33F}"/>
              </c:ext>
            </c:extLst>
          </c:dPt>
          <c:dPt>
            <c:idx val="18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0-27DC-4977-B1A3-355F0827A33F}"/>
              </c:ext>
            </c:extLst>
          </c:dPt>
          <c:dPt>
            <c:idx val="18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1-27DC-4977-B1A3-355F0827A33F}"/>
              </c:ext>
            </c:extLst>
          </c:dPt>
          <c:dPt>
            <c:idx val="18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2-27DC-4977-B1A3-355F0827A33F}"/>
              </c:ext>
            </c:extLst>
          </c:dPt>
          <c:dPt>
            <c:idx val="18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3-27DC-4977-B1A3-355F0827A33F}"/>
              </c:ext>
            </c:extLst>
          </c:dPt>
          <c:dPt>
            <c:idx val="18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4-27DC-4977-B1A3-355F0827A33F}"/>
              </c:ext>
            </c:extLst>
          </c:dPt>
          <c:dPt>
            <c:idx val="18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5-27DC-4977-B1A3-355F0827A33F}"/>
              </c:ext>
            </c:extLst>
          </c:dPt>
          <c:dPt>
            <c:idx val="18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6-27DC-4977-B1A3-355F0827A33F}"/>
              </c:ext>
            </c:extLst>
          </c:dPt>
          <c:dPt>
            <c:idx val="18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7-27DC-4977-B1A3-355F0827A33F}"/>
              </c:ext>
            </c:extLst>
          </c:dPt>
          <c:dPt>
            <c:idx val="18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8-27DC-4977-B1A3-355F0827A33F}"/>
              </c:ext>
            </c:extLst>
          </c:dPt>
          <c:dPt>
            <c:idx val="18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9-27DC-4977-B1A3-355F0827A33F}"/>
              </c:ext>
            </c:extLst>
          </c:dPt>
          <c:dPt>
            <c:idx val="18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A-27DC-4977-B1A3-355F0827A33F}"/>
              </c:ext>
            </c:extLst>
          </c:dPt>
          <c:dPt>
            <c:idx val="18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B-27DC-4977-B1A3-355F0827A33F}"/>
              </c:ext>
            </c:extLst>
          </c:dPt>
          <c:dPt>
            <c:idx val="18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C-27DC-4977-B1A3-355F0827A33F}"/>
              </c:ext>
            </c:extLst>
          </c:dPt>
          <c:dPt>
            <c:idx val="18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D-27DC-4977-B1A3-355F0827A33F}"/>
              </c:ext>
            </c:extLst>
          </c:dPt>
          <c:dPt>
            <c:idx val="18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E-27DC-4977-B1A3-355F0827A33F}"/>
              </c:ext>
            </c:extLst>
          </c:dPt>
          <c:dPt>
            <c:idx val="18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5F-27DC-4977-B1A3-355F0827A33F}"/>
              </c:ext>
            </c:extLst>
          </c:dPt>
          <c:dPt>
            <c:idx val="18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0-27DC-4977-B1A3-355F0827A33F}"/>
              </c:ext>
            </c:extLst>
          </c:dPt>
          <c:dPt>
            <c:idx val="18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1-27DC-4977-B1A3-355F0827A33F}"/>
              </c:ext>
            </c:extLst>
          </c:dPt>
          <c:dPt>
            <c:idx val="18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2-27DC-4977-B1A3-355F0827A33F}"/>
              </c:ext>
            </c:extLst>
          </c:dPt>
          <c:dPt>
            <c:idx val="18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3-27DC-4977-B1A3-355F0827A33F}"/>
              </c:ext>
            </c:extLst>
          </c:dPt>
          <c:dPt>
            <c:idx val="18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4-27DC-4977-B1A3-355F0827A33F}"/>
              </c:ext>
            </c:extLst>
          </c:dPt>
          <c:dPt>
            <c:idx val="18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5-27DC-4977-B1A3-355F0827A33F}"/>
              </c:ext>
            </c:extLst>
          </c:dPt>
          <c:dPt>
            <c:idx val="18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6-27DC-4977-B1A3-355F0827A33F}"/>
              </c:ext>
            </c:extLst>
          </c:dPt>
          <c:dPt>
            <c:idx val="18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7-27DC-4977-B1A3-355F0827A33F}"/>
              </c:ext>
            </c:extLst>
          </c:dPt>
          <c:dPt>
            <c:idx val="189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8-27DC-4977-B1A3-355F0827A33F}"/>
              </c:ext>
            </c:extLst>
          </c:dPt>
          <c:dPt>
            <c:idx val="189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9-27DC-4977-B1A3-355F0827A33F}"/>
              </c:ext>
            </c:extLst>
          </c:dPt>
          <c:dPt>
            <c:idx val="189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A-27DC-4977-B1A3-355F0827A33F}"/>
              </c:ext>
            </c:extLst>
          </c:dPt>
          <c:dPt>
            <c:idx val="189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B-27DC-4977-B1A3-355F0827A33F}"/>
              </c:ext>
            </c:extLst>
          </c:dPt>
          <c:dPt>
            <c:idx val="189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C-27DC-4977-B1A3-355F0827A33F}"/>
              </c:ext>
            </c:extLst>
          </c:dPt>
          <c:dPt>
            <c:idx val="189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D-27DC-4977-B1A3-355F0827A33F}"/>
              </c:ext>
            </c:extLst>
          </c:dPt>
          <c:dPt>
            <c:idx val="189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E-27DC-4977-B1A3-355F0827A33F}"/>
              </c:ext>
            </c:extLst>
          </c:dPt>
          <c:dPt>
            <c:idx val="189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6F-27DC-4977-B1A3-355F0827A33F}"/>
              </c:ext>
            </c:extLst>
          </c:dPt>
          <c:dPt>
            <c:idx val="190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0-27DC-4977-B1A3-355F0827A33F}"/>
              </c:ext>
            </c:extLst>
          </c:dPt>
          <c:dPt>
            <c:idx val="190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1-27DC-4977-B1A3-355F0827A33F}"/>
              </c:ext>
            </c:extLst>
          </c:dPt>
          <c:dPt>
            <c:idx val="190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2-27DC-4977-B1A3-355F0827A33F}"/>
              </c:ext>
            </c:extLst>
          </c:dPt>
          <c:dPt>
            <c:idx val="190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3-27DC-4977-B1A3-355F0827A33F}"/>
              </c:ext>
            </c:extLst>
          </c:dPt>
          <c:dPt>
            <c:idx val="190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4-27DC-4977-B1A3-355F0827A33F}"/>
              </c:ext>
            </c:extLst>
          </c:dPt>
          <c:dPt>
            <c:idx val="190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5-27DC-4977-B1A3-355F0827A33F}"/>
              </c:ext>
            </c:extLst>
          </c:dPt>
          <c:dPt>
            <c:idx val="190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6-27DC-4977-B1A3-355F0827A33F}"/>
              </c:ext>
            </c:extLst>
          </c:dPt>
          <c:dPt>
            <c:idx val="190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7-27DC-4977-B1A3-355F0827A33F}"/>
              </c:ext>
            </c:extLst>
          </c:dPt>
          <c:dPt>
            <c:idx val="190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8-27DC-4977-B1A3-355F0827A33F}"/>
              </c:ext>
            </c:extLst>
          </c:dPt>
          <c:dPt>
            <c:idx val="190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9-27DC-4977-B1A3-355F0827A33F}"/>
              </c:ext>
            </c:extLst>
          </c:dPt>
          <c:dPt>
            <c:idx val="191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A-27DC-4977-B1A3-355F0827A33F}"/>
              </c:ext>
            </c:extLst>
          </c:dPt>
          <c:dPt>
            <c:idx val="191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B-27DC-4977-B1A3-355F0827A33F}"/>
              </c:ext>
            </c:extLst>
          </c:dPt>
          <c:dPt>
            <c:idx val="191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C-27DC-4977-B1A3-355F0827A33F}"/>
              </c:ext>
            </c:extLst>
          </c:dPt>
          <c:dPt>
            <c:idx val="191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D-27DC-4977-B1A3-355F0827A33F}"/>
              </c:ext>
            </c:extLst>
          </c:dPt>
          <c:dPt>
            <c:idx val="191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E-27DC-4977-B1A3-355F0827A33F}"/>
              </c:ext>
            </c:extLst>
          </c:dPt>
          <c:dPt>
            <c:idx val="191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7F-27DC-4977-B1A3-355F0827A33F}"/>
              </c:ext>
            </c:extLst>
          </c:dPt>
          <c:dPt>
            <c:idx val="191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0-27DC-4977-B1A3-355F0827A33F}"/>
              </c:ext>
            </c:extLst>
          </c:dPt>
          <c:dPt>
            <c:idx val="191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1-27DC-4977-B1A3-355F0827A33F}"/>
              </c:ext>
            </c:extLst>
          </c:dPt>
          <c:dPt>
            <c:idx val="191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2-27DC-4977-B1A3-355F0827A33F}"/>
              </c:ext>
            </c:extLst>
          </c:dPt>
          <c:dPt>
            <c:idx val="191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3-27DC-4977-B1A3-355F0827A33F}"/>
              </c:ext>
            </c:extLst>
          </c:dPt>
          <c:dPt>
            <c:idx val="192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4-27DC-4977-B1A3-355F0827A33F}"/>
              </c:ext>
            </c:extLst>
          </c:dPt>
          <c:dPt>
            <c:idx val="192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5-27DC-4977-B1A3-355F0827A33F}"/>
              </c:ext>
            </c:extLst>
          </c:dPt>
          <c:dPt>
            <c:idx val="192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6-27DC-4977-B1A3-355F0827A33F}"/>
              </c:ext>
            </c:extLst>
          </c:dPt>
          <c:dPt>
            <c:idx val="192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7-27DC-4977-B1A3-355F0827A33F}"/>
              </c:ext>
            </c:extLst>
          </c:dPt>
          <c:dPt>
            <c:idx val="192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8-27DC-4977-B1A3-355F0827A33F}"/>
              </c:ext>
            </c:extLst>
          </c:dPt>
          <c:dPt>
            <c:idx val="192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9-27DC-4977-B1A3-355F0827A33F}"/>
              </c:ext>
            </c:extLst>
          </c:dPt>
          <c:dPt>
            <c:idx val="192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A-27DC-4977-B1A3-355F0827A33F}"/>
              </c:ext>
            </c:extLst>
          </c:dPt>
          <c:dPt>
            <c:idx val="192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B-27DC-4977-B1A3-355F0827A33F}"/>
              </c:ext>
            </c:extLst>
          </c:dPt>
          <c:dPt>
            <c:idx val="192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C-27DC-4977-B1A3-355F0827A33F}"/>
              </c:ext>
            </c:extLst>
          </c:dPt>
          <c:dPt>
            <c:idx val="192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D-27DC-4977-B1A3-355F0827A33F}"/>
              </c:ext>
            </c:extLst>
          </c:dPt>
          <c:dPt>
            <c:idx val="193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E-27DC-4977-B1A3-355F0827A33F}"/>
              </c:ext>
            </c:extLst>
          </c:dPt>
          <c:dPt>
            <c:idx val="193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8F-27DC-4977-B1A3-355F0827A33F}"/>
              </c:ext>
            </c:extLst>
          </c:dPt>
          <c:dPt>
            <c:idx val="193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0-27DC-4977-B1A3-355F0827A33F}"/>
              </c:ext>
            </c:extLst>
          </c:dPt>
          <c:dPt>
            <c:idx val="193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1-27DC-4977-B1A3-355F0827A33F}"/>
              </c:ext>
            </c:extLst>
          </c:dPt>
          <c:dPt>
            <c:idx val="193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2-27DC-4977-B1A3-355F0827A33F}"/>
              </c:ext>
            </c:extLst>
          </c:dPt>
          <c:dPt>
            <c:idx val="193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3-27DC-4977-B1A3-355F0827A33F}"/>
              </c:ext>
            </c:extLst>
          </c:dPt>
          <c:dPt>
            <c:idx val="193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4-27DC-4977-B1A3-355F0827A33F}"/>
              </c:ext>
            </c:extLst>
          </c:dPt>
          <c:dPt>
            <c:idx val="193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5-27DC-4977-B1A3-355F0827A33F}"/>
              </c:ext>
            </c:extLst>
          </c:dPt>
          <c:dPt>
            <c:idx val="193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6-27DC-4977-B1A3-355F0827A33F}"/>
              </c:ext>
            </c:extLst>
          </c:dPt>
          <c:dPt>
            <c:idx val="193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7-27DC-4977-B1A3-355F0827A33F}"/>
              </c:ext>
            </c:extLst>
          </c:dPt>
          <c:dPt>
            <c:idx val="194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8-27DC-4977-B1A3-355F0827A33F}"/>
              </c:ext>
            </c:extLst>
          </c:dPt>
          <c:dPt>
            <c:idx val="194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9-27DC-4977-B1A3-355F0827A33F}"/>
              </c:ext>
            </c:extLst>
          </c:dPt>
          <c:dPt>
            <c:idx val="194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A-27DC-4977-B1A3-355F0827A33F}"/>
              </c:ext>
            </c:extLst>
          </c:dPt>
          <c:dPt>
            <c:idx val="194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B-27DC-4977-B1A3-355F0827A33F}"/>
              </c:ext>
            </c:extLst>
          </c:dPt>
          <c:dPt>
            <c:idx val="194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C-27DC-4977-B1A3-355F0827A33F}"/>
              </c:ext>
            </c:extLst>
          </c:dPt>
          <c:dPt>
            <c:idx val="194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D-27DC-4977-B1A3-355F0827A33F}"/>
              </c:ext>
            </c:extLst>
          </c:dPt>
          <c:dPt>
            <c:idx val="194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E-27DC-4977-B1A3-355F0827A33F}"/>
              </c:ext>
            </c:extLst>
          </c:dPt>
          <c:dPt>
            <c:idx val="194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9F-27DC-4977-B1A3-355F0827A33F}"/>
              </c:ext>
            </c:extLst>
          </c:dPt>
          <c:dPt>
            <c:idx val="194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0-27DC-4977-B1A3-355F0827A33F}"/>
              </c:ext>
            </c:extLst>
          </c:dPt>
          <c:dPt>
            <c:idx val="194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1-27DC-4977-B1A3-355F0827A33F}"/>
              </c:ext>
            </c:extLst>
          </c:dPt>
          <c:dPt>
            <c:idx val="195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2-27DC-4977-B1A3-355F0827A33F}"/>
              </c:ext>
            </c:extLst>
          </c:dPt>
          <c:dPt>
            <c:idx val="195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3-27DC-4977-B1A3-355F0827A33F}"/>
              </c:ext>
            </c:extLst>
          </c:dPt>
          <c:dPt>
            <c:idx val="195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4-27DC-4977-B1A3-355F0827A33F}"/>
              </c:ext>
            </c:extLst>
          </c:dPt>
          <c:dPt>
            <c:idx val="195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5-27DC-4977-B1A3-355F0827A33F}"/>
              </c:ext>
            </c:extLst>
          </c:dPt>
          <c:dPt>
            <c:idx val="195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6-27DC-4977-B1A3-355F0827A33F}"/>
              </c:ext>
            </c:extLst>
          </c:dPt>
          <c:dPt>
            <c:idx val="195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7-27DC-4977-B1A3-355F0827A33F}"/>
              </c:ext>
            </c:extLst>
          </c:dPt>
          <c:dPt>
            <c:idx val="195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8-27DC-4977-B1A3-355F0827A33F}"/>
              </c:ext>
            </c:extLst>
          </c:dPt>
          <c:dPt>
            <c:idx val="195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9-27DC-4977-B1A3-355F0827A33F}"/>
              </c:ext>
            </c:extLst>
          </c:dPt>
          <c:dPt>
            <c:idx val="195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A-27DC-4977-B1A3-355F0827A33F}"/>
              </c:ext>
            </c:extLst>
          </c:dPt>
          <c:dPt>
            <c:idx val="195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B-27DC-4977-B1A3-355F0827A33F}"/>
              </c:ext>
            </c:extLst>
          </c:dPt>
          <c:dPt>
            <c:idx val="196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C-27DC-4977-B1A3-355F0827A33F}"/>
              </c:ext>
            </c:extLst>
          </c:dPt>
          <c:dPt>
            <c:idx val="196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D-27DC-4977-B1A3-355F0827A33F}"/>
              </c:ext>
            </c:extLst>
          </c:dPt>
          <c:dPt>
            <c:idx val="196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E-27DC-4977-B1A3-355F0827A33F}"/>
              </c:ext>
            </c:extLst>
          </c:dPt>
          <c:dPt>
            <c:idx val="196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AF-27DC-4977-B1A3-355F0827A33F}"/>
              </c:ext>
            </c:extLst>
          </c:dPt>
          <c:dPt>
            <c:idx val="196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0-27DC-4977-B1A3-355F0827A33F}"/>
              </c:ext>
            </c:extLst>
          </c:dPt>
          <c:dPt>
            <c:idx val="196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1-27DC-4977-B1A3-355F0827A33F}"/>
              </c:ext>
            </c:extLst>
          </c:dPt>
          <c:dPt>
            <c:idx val="196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2-27DC-4977-B1A3-355F0827A33F}"/>
              </c:ext>
            </c:extLst>
          </c:dPt>
          <c:dPt>
            <c:idx val="196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3-27DC-4977-B1A3-355F0827A33F}"/>
              </c:ext>
            </c:extLst>
          </c:dPt>
          <c:dPt>
            <c:idx val="196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4-27DC-4977-B1A3-355F0827A33F}"/>
              </c:ext>
            </c:extLst>
          </c:dPt>
          <c:dPt>
            <c:idx val="196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5-27DC-4977-B1A3-355F0827A33F}"/>
              </c:ext>
            </c:extLst>
          </c:dPt>
          <c:dPt>
            <c:idx val="197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6-27DC-4977-B1A3-355F0827A33F}"/>
              </c:ext>
            </c:extLst>
          </c:dPt>
          <c:dPt>
            <c:idx val="197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7-27DC-4977-B1A3-355F0827A33F}"/>
              </c:ext>
            </c:extLst>
          </c:dPt>
          <c:dPt>
            <c:idx val="197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8-27DC-4977-B1A3-355F0827A33F}"/>
              </c:ext>
            </c:extLst>
          </c:dPt>
          <c:dPt>
            <c:idx val="197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9-27DC-4977-B1A3-355F0827A33F}"/>
              </c:ext>
            </c:extLst>
          </c:dPt>
          <c:dPt>
            <c:idx val="197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A-27DC-4977-B1A3-355F0827A33F}"/>
              </c:ext>
            </c:extLst>
          </c:dPt>
          <c:dPt>
            <c:idx val="197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B-27DC-4977-B1A3-355F0827A33F}"/>
              </c:ext>
            </c:extLst>
          </c:dPt>
          <c:dPt>
            <c:idx val="197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C-27DC-4977-B1A3-355F0827A33F}"/>
              </c:ext>
            </c:extLst>
          </c:dPt>
          <c:dPt>
            <c:idx val="197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D-27DC-4977-B1A3-355F0827A33F}"/>
              </c:ext>
            </c:extLst>
          </c:dPt>
          <c:dPt>
            <c:idx val="197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E-27DC-4977-B1A3-355F0827A33F}"/>
              </c:ext>
            </c:extLst>
          </c:dPt>
          <c:dPt>
            <c:idx val="197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BF-27DC-4977-B1A3-355F0827A33F}"/>
              </c:ext>
            </c:extLst>
          </c:dPt>
          <c:dPt>
            <c:idx val="198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0-27DC-4977-B1A3-355F0827A33F}"/>
              </c:ext>
            </c:extLst>
          </c:dPt>
          <c:dPt>
            <c:idx val="198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1-27DC-4977-B1A3-355F0827A33F}"/>
              </c:ext>
            </c:extLst>
          </c:dPt>
          <c:dPt>
            <c:idx val="1982"/>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2-27DC-4977-B1A3-355F0827A33F}"/>
              </c:ext>
            </c:extLst>
          </c:dPt>
          <c:dPt>
            <c:idx val="1983"/>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3-27DC-4977-B1A3-355F0827A33F}"/>
              </c:ext>
            </c:extLst>
          </c:dPt>
          <c:dPt>
            <c:idx val="1984"/>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4-27DC-4977-B1A3-355F0827A33F}"/>
              </c:ext>
            </c:extLst>
          </c:dPt>
          <c:dPt>
            <c:idx val="1985"/>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5-27DC-4977-B1A3-355F0827A33F}"/>
              </c:ext>
            </c:extLst>
          </c:dPt>
          <c:dPt>
            <c:idx val="1986"/>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6-27DC-4977-B1A3-355F0827A33F}"/>
              </c:ext>
            </c:extLst>
          </c:dPt>
          <c:dPt>
            <c:idx val="1987"/>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7-27DC-4977-B1A3-355F0827A33F}"/>
              </c:ext>
            </c:extLst>
          </c:dPt>
          <c:dPt>
            <c:idx val="1988"/>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8-27DC-4977-B1A3-355F0827A33F}"/>
              </c:ext>
            </c:extLst>
          </c:dPt>
          <c:dPt>
            <c:idx val="1989"/>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9-27DC-4977-B1A3-355F0827A33F}"/>
              </c:ext>
            </c:extLst>
          </c:dPt>
          <c:dPt>
            <c:idx val="1990"/>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A-27DC-4977-B1A3-355F0827A33F}"/>
              </c:ext>
            </c:extLst>
          </c:dPt>
          <c:dPt>
            <c:idx val="1991"/>
            <c:bubble3D val="0"/>
            <c:spPr>
              <a:ln w="38100" cap="rnd" cmpd="sng" algn="ctr">
                <a:solidFill>
                  <a:srgbClr val="B8B3A2"/>
                </a:solidFill>
                <a:prstDash val="solid"/>
                <a:round/>
                <a:headEnd type="none" w="med" len="med"/>
                <a:tailEnd type="none" w="med" len="med"/>
              </a:ln>
            </c:spPr>
            <c:extLst>
              <c:ext xmlns:c16="http://schemas.microsoft.com/office/drawing/2014/chart" uri="{C3380CC4-5D6E-409C-BE32-E72D297353CC}">
                <c16:uniqueId val="{000007CB-27DC-4977-B1A3-355F0827A33F}"/>
              </c:ext>
            </c:extLst>
          </c:dPt>
          <c:cat>
            <c:numRef>
              <c:f>'Multiple (2)'!$M$9:$M$2000</c:f>
              <c:numCache>
                <c:formatCode>m/d/yyyy</c:formatCode>
                <c:ptCount val="1992"/>
                <c:pt idx="0">
                  <c:v>42429</c:v>
                </c:pt>
                <c:pt idx="1">
                  <c:v>42460</c:v>
                </c:pt>
                <c:pt idx="2">
                  <c:v>42489</c:v>
                </c:pt>
                <c:pt idx="3">
                  <c:v>42521</c:v>
                </c:pt>
                <c:pt idx="4">
                  <c:v>42551</c:v>
                </c:pt>
                <c:pt idx="5">
                  <c:v>42580</c:v>
                </c:pt>
                <c:pt idx="6">
                  <c:v>42613</c:v>
                </c:pt>
                <c:pt idx="7">
                  <c:v>42643</c:v>
                </c:pt>
                <c:pt idx="8">
                  <c:v>42674</c:v>
                </c:pt>
                <c:pt idx="9">
                  <c:v>42704</c:v>
                </c:pt>
                <c:pt idx="10">
                  <c:v>42734</c:v>
                </c:pt>
                <c:pt idx="11">
                  <c:v>42766</c:v>
                </c:pt>
                <c:pt idx="12">
                  <c:v>42794</c:v>
                </c:pt>
                <c:pt idx="13">
                  <c:v>42825</c:v>
                </c:pt>
                <c:pt idx="14">
                  <c:v>42853</c:v>
                </c:pt>
                <c:pt idx="15">
                  <c:v>42886</c:v>
                </c:pt>
                <c:pt idx="16">
                  <c:v>42916</c:v>
                </c:pt>
                <c:pt idx="17">
                  <c:v>42947</c:v>
                </c:pt>
                <c:pt idx="18">
                  <c:v>42978</c:v>
                </c:pt>
                <c:pt idx="19">
                  <c:v>43007</c:v>
                </c:pt>
                <c:pt idx="20">
                  <c:v>43039</c:v>
                </c:pt>
                <c:pt idx="21">
                  <c:v>43069</c:v>
                </c:pt>
                <c:pt idx="22">
                  <c:v>43098</c:v>
                </c:pt>
                <c:pt idx="23">
                  <c:v>43131</c:v>
                </c:pt>
                <c:pt idx="24">
                  <c:v>43159</c:v>
                </c:pt>
                <c:pt idx="25">
                  <c:v>43189</c:v>
                </c:pt>
                <c:pt idx="26">
                  <c:v>43220</c:v>
                </c:pt>
                <c:pt idx="27">
                  <c:v>43251</c:v>
                </c:pt>
                <c:pt idx="28">
                  <c:v>43280</c:v>
                </c:pt>
                <c:pt idx="29">
                  <c:v>43312</c:v>
                </c:pt>
                <c:pt idx="30">
                  <c:v>43343</c:v>
                </c:pt>
                <c:pt idx="31">
                  <c:v>43371</c:v>
                </c:pt>
                <c:pt idx="32">
                  <c:v>43404</c:v>
                </c:pt>
                <c:pt idx="33">
                  <c:v>43434</c:v>
                </c:pt>
                <c:pt idx="34">
                  <c:v>43465</c:v>
                </c:pt>
                <c:pt idx="35">
                  <c:v>43496</c:v>
                </c:pt>
                <c:pt idx="36">
                  <c:v>43524</c:v>
                </c:pt>
                <c:pt idx="37">
                  <c:v>43553</c:v>
                </c:pt>
                <c:pt idx="38">
                  <c:v>43585</c:v>
                </c:pt>
                <c:pt idx="39">
                  <c:v>43616</c:v>
                </c:pt>
                <c:pt idx="40">
                  <c:v>43644</c:v>
                </c:pt>
                <c:pt idx="41">
                  <c:v>43677</c:v>
                </c:pt>
                <c:pt idx="42">
                  <c:v>43707</c:v>
                </c:pt>
                <c:pt idx="43">
                  <c:v>43738</c:v>
                </c:pt>
                <c:pt idx="44">
                  <c:v>43769</c:v>
                </c:pt>
                <c:pt idx="45">
                  <c:v>43798</c:v>
                </c:pt>
                <c:pt idx="46">
                  <c:v>43830</c:v>
                </c:pt>
                <c:pt idx="47">
                  <c:v>43861</c:v>
                </c:pt>
                <c:pt idx="48">
                  <c:v>43889</c:v>
                </c:pt>
                <c:pt idx="49">
                  <c:v>43921</c:v>
                </c:pt>
                <c:pt idx="50">
                  <c:v>43951</c:v>
                </c:pt>
                <c:pt idx="51">
                  <c:v>43980</c:v>
                </c:pt>
                <c:pt idx="52">
                  <c:v>44012</c:v>
                </c:pt>
                <c:pt idx="53">
                  <c:v>44043</c:v>
                </c:pt>
                <c:pt idx="54">
                  <c:v>44074</c:v>
                </c:pt>
                <c:pt idx="55">
                  <c:v>44104</c:v>
                </c:pt>
                <c:pt idx="56">
                  <c:v>44134</c:v>
                </c:pt>
                <c:pt idx="57">
                  <c:v>44165</c:v>
                </c:pt>
                <c:pt idx="58">
                  <c:v>44196</c:v>
                </c:pt>
                <c:pt idx="59">
                  <c:v>44225</c:v>
                </c:pt>
                <c:pt idx="60">
                  <c:v>44253</c:v>
                </c:pt>
                <c:pt idx="61">
                  <c:v>44286</c:v>
                </c:pt>
                <c:pt idx="62">
                  <c:v>44316</c:v>
                </c:pt>
                <c:pt idx="63">
                  <c:v>44347</c:v>
                </c:pt>
                <c:pt idx="64">
                  <c:v>44377</c:v>
                </c:pt>
                <c:pt idx="65">
                  <c:v>44407</c:v>
                </c:pt>
                <c:pt idx="66">
                  <c:v>44439</c:v>
                </c:pt>
                <c:pt idx="67">
                  <c:v>44469</c:v>
                </c:pt>
                <c:pt idx="68">
                  <c:v>44498</c:v>
                </c:pt>
                <c:pt idx="69">
                  <c:v>44530</c:v>
                </c:pt>
                <c:pt idx="70">
                  <c:v>44561</c:v>
                </c:pt>
                <c:pt idx="71">
                  <c:v>44592</c:v>
                </c:pt>
                <c:pt idx="72">
                  <c:v>44620</c:v>
                </c:pt>
                <c:pt idx="73">
                  <c:v>44651</c:v>
                </c:pt>
                <c:pt idx="74">
                  <c:v>44680</c:v>
                </c:pt>
                <c:pt idx="75">
                  <c:v>44712</c:v>
                </c:pt>
                <c:pt idx="76">
                  <c:v>44742</c:v>
                </c:pt>
                <c:pt idx="77">
                  <c:v>44771</c:v>
                </c:pt>
                <c:pt idx="78">
                  <c:v>44804</c:v>
                </c:pt>
                <c:pt idx="79">
                  <c:v>44834</c:v>
                </c:pt>
                <c:pt idx="80">
                  <c:v>44865</c:v>
                </c:pt>
                <c:pt idx="81">
                  <c:v>44895</c:v>
                </c:pt>
                <c:pt idx="82">
                  <c:v>44925</c:v>
                </c:pt>
                <c:pt idx="83">
                  <c:v>44957</c:v>
                </c:pt>
                <c:pt idx="84">
                  <c:v>44985</c:v>
                </c:pt>
                <c:pt idx="85">
                  <c:v>45016</c:v>
                </c:pt>
                <c:pt idx="86">
                  <c:v>45044</c:v>
                </c:pt>
                <c:pt idx="87">
                  <c:v>45077</c:v>
                </c:pt>
                <c:pt idx="88">
                  <c:v>45107</c:v>
                </c:pt>
                <c:pt idx="89">
                  <c:v>45138</c:v>
                </c:pt>
                <c:pt idx="90">
                  <c:v>45169</c:v>
                </c:pt>
                <c:pt idx="91">
                  <c:v>45198</c:v>
                </c:pt>
                <c:pt idx="92">
                  <c:v>45230</c:v>
                </c:pt>
                <c:pt idx="93">
                  <c:v>45260</c:v>
                </c:pt>
                <c:pt idx="94">
                  <c:v>45289</c:v>
                </c:pt>
                <c:pt idx="95">
                  <c:v>45322</c:v>
                </c:pt>
                <c:pt idx="96">
                  <c:v>45351</c:v>
                </c:pt>
                <c:pt idx="97">
                  <c:v>45380</c:v>
                </c:pt>
                <c:pt idx="98">
                  <c:v>45412</c:v>
                </c:pt>
                <c:pt idx="99">
                  <c:v>45443</c:v>
                </c:pt>
                <c:pt idx="100">
                  <c:v>45471</c:v>
                </c:pt>
                <c:pt idx="101">
                  <c:v>45504</c:v>
                </c:pt>
                <c:pt idx="102">
                  <c:v>45534</c:v>
                </c:pt>
                <c:pt idx="103">
                  <c:v>45565</c:v>
                </c:pt>
                <c:pt idx="104">
                  <c:v>45596</c:v>
                </c:pt>
                <c:pt idx="105">
                  <c:v>45625</c:v>
                </c:pt>
                <c:pt idx="106">
                  <c:v>45657</c:v>
                </c:pt>
                <c:pt idx="107">
                  <c:v>45688</c:v>
                </c:pt>
                <c:pt idx="108">
                  <c:v>45716</c:v>
                </c:pt>
                <c:pt idx="109">
                  <c:v>45747</c:v>
                </c:pt>
                <c:pt idx="110">
                  <c:v>45777</c:v>
                </c:pt>
                <c:pt idx="111">
                  <c:v>45807</c:v>
                </c:pt>
                <c:pt idx="112">
                  <c:v>45838</c:v>
                </c:pt>
                <c:pt idx="113">
                  <c:v>45869</c:v>
                </c:pt>
                <c:pt idx="114">
                  <c:v>45898</c:v>
                </c:pt>
                <c:pt idx="115">
                  <c:v>45930</c:v>
                </c:pt>
                <c:pt idx="116">
                  <c:v>45961</c:v>
                </c:pt>
                <c:pt idx="117">
                  <c:v>45989</c:v>
                </c:pt>
                <c:pt idx="118">
                  <c:v>46022</c:v>
                </c:pt>
                <c:pt idx="119">
                  <c:v>46052</c:v>
                </c:pt>
                <c:pt idx="120">
                  <c:v>46081</c:v>
                </c:pt>
                <c:pt idx="121">
                  <c:v>46112</c:v>
                </c:pt>
                <c:pt idx="122">
                  <c:v>46142</c:v>
                </c:pt>
                <c:pt idx="123">
                  <c:v>46173</c:v>
                </c:pt>
                <c:pt idx="124">
                  <c:v>46203</c:v>
                </c:pt>
                <c:pt idx="125">
                  <c:v>46234</c:v>
                </c:pt>
                <c:pt idx="126">
                  <c:v>46265</c:v>
                </c:pt>
                <c:pt idx="127">
                  <c:v>46295</c:v>
                </c:pt>
                <c:pt idx="128">
                  <c:v>46326</c:v>
                </c:pt>
                <c:pt idx="129">
                  <c:v>46356</c:v>
                </c:pt>
                <c:pt idx="130">
                  <c:v>46387</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cat>
          <c:val>
            <c:numRef>
              <c:f>'Multiple (2)'!$P$9:$P$2000</c:f>
              <c:numCache>
                <c:formatCode>General</c:formatCode>
                <c:ptCount val="1992"/>
                <c:pt idx="0">
                  <c:v>-0.3</c:v>
                </c:pt>
                <c:pt idx="1">
                  <c:v>-0.4</c:v>
                </c:pt>
                <c:pt idx="2">
                  <c:v>-0.4</c:v>
                </c:pt>
                <c:pt idx="3">
                  <c:v>-0.4</c:v>
                </c:pt>
                <c:pt idx="4">
                  <c:v>-0.4</c:v>
                </c:pt>
                <c:pt idx="5">
                  <c:v>-0.4</c:v>
                </c:pt>
                <c:pt idx="6">
                  <c:v>-0.4</c:v>
                </c:pt>
                <c:pt idx="7">
                  <c:v>-0.4</c:v>
                </c:pt>
                <c:pt idx="8">
                  <c:v>-0.4</c:v>
                </c:pt>
                <c:pt idx="9">
                  <c:v>-0.4</c:v>
                </c:pt>
                <c:pt idx="10">
                  <c:v>-0.4</c:v>
                </c:pt>
                <c:pt idx="11">
                  <c:v>-0.4</c:v>
                </c:pt>
                <c:pt idx="12">
                  <c:v>-0.4</c:v>
                </c:pt>
                <c:pt idx="13">
                  <c:v>-0.4</c:v>
                </c:pt>
                <c:pt idx="14">
                  <c:v>-0.4</c:v>
                </c:pt>
                <c:pt idx="15">
                  <c:v>-0.4</c:v>
                </c:pt>
                <c:pt idx="16">
                  <c:v>-0.4</c:v>
                </c:pt>
                <c:pt idx="17">
                  <c:v>-0.4</c:v>
                </c:pt>
                <c:pt idx="18">
                  <c:v>-0.4</c:v>
                </c:pt>
                <c:pt idx="19">
                  <c:v>-0.4</c:v>
                </c:pt>
                <c:pt idx="20">
                  <c:v>-0.4</c:v>
                </c:pt>
                <c:pt idx="21">
                  <c:v>-0.4</c:v>
                </c:pt>
                <c:pt idx="22">
                  <c:v>-0.4</c:v>
                </c:pt>
                <c:pt idx="23">
                  <c:v>-0.4</c:v>
                </c:pt>
                <c:pt idx="24">
                  <c:v>-0.4</c:v>
                </c:pt>
                <c:pt idx="25">
                  <c:v>-0.4</c:v>
                </c:pt>
                <c:pt idx="26">
                  <c:v>-0.4</c:v>
                </c:pt>
                <c:pt idx="27">
                  <c:v>-0.4</c:v>
                </c:pt>
                <c:pt idx="28">
                  <c:v>-0.4</c:v>
                </c:pt>
                <c:pt idx="29">
                  <c:v>-0.4</c:v>
                </c:pt>
                <c:pt idx="30">
                  <c:v>-0.4</c:v>
                </c:pt>
                <c:pt idx="31">
                  <c:v>-0.4</c:v>
                </c:pt>
                <c:pt idx="32">
                  <c:v>-0.4</c:v>
                </c:pt>
                <c:pt idx="33">
                  <c:v>-0.4</c:v>
                </c:pt>
                <c:pt idx="34">
                  <c:v>-0.4</c:v>
                </c:pt>
                <c:pt idx="35">
                  <c:v>-0.4</c:v>
                </c:pt>
                <c:pt idx="36">
                  <c:v>-0.4</c:v>
                </c:pt>
                <c:pt idx="37">
                  <c:v>-0.4</c:v>
                </c:pt>
                <c:pt idx="38">
                  <c:v>-0.4</c:v>
                </c:pt>
                <c:pt idx="39">
                  <c:v>-0.4</c:v>
                </c:pt>
                <c:pt idx="40">
                  <c:v>-0.4</c:v>
                </c:pt>
                <c:pt idx="41">
                  <c:v>-0.4</c:v>
                </c:pt>
                <c:pt idx="42">
                  <c:v>-0.4</c:v>
                </c:pt>
                <c:pt idx="43">
                  <c:v>-0.5</c:v>
                </c:pt>
                <c:pt idx="44">
                  <c:v>-0.5</c:v>
                </c:pt>
                <c:pt idx="45">
                  <c:v>-0.5</c:v>
                </c:pt>
                <c:pt idx="46">
                  <c:v>-0.5</c:v>
                </c:pt>
                <c:pt idx="47">
                  <c:v>-0.5</c:v>
                </c:pt>
                <c:pt idx="48">
                  <c:v>-0.5</c:v>
                </c:pt>
                <c:pt idx="49">
                  <c:v>-0.5</c:v>
                </c:pt>
                <c:pt idx="50">
                  <c:v>-0.5</c:v>
                </c:pt>
                <c:pt idx="51">
                  <c:v>-0.5</c:v>
                </c:pt>
                <c:pt idx="52">
                  <c:v>-0.5</c:v>
                </c:pt>
                <c:pt idx="53">
                  <c:v>-0.5</c:v>
                </c:pt>
                <c:pt idx="54">
                  <c:v>-0.5</c:v>
                </c:pt>
                <c:pt idx="55">
                  <c:v>-0.5</c:v>
                </c:pt>
                <c:pt idx="56">
                  <c:v>-0.5</c:v>
                </c:pt>
                <c:pt idx="57">
                  <c:v>-0.5</c:v>
                </c:pt>
                <c:pt idx="58">
                  <c:v>-0.5</c:v>
                </c:pt>
                <c:pt idx="59">
                  <c:v>-0.5</c:v>
                </c:pt>
                <c:pt idx="60">
                  <c:v>-0.5</c:v>
                </c:pt>
                <c:pt idx="61">
                  <c:v>-0.5</c:v>
                </c:pt>
                <c:pt idx="62">
                  <c:v>-0.5</c:v>
                </c:pt>
                <c:pt idx="63">
                  <c:v>-0.5</c:v>
                </c:pt>
                <c:pt idx="64">
                  <c:v>-0.5</c:v>
                </c:pt>
                <c:pt idx="65">
                  <c:v>-0.5</c:v>
                </c:pt>
                <c:pt idx="66">
                  <c:v>-0.5</c:v>
                </c:pt>
                <c:pt idx="67">
                  <c:v>-0.5</c:v>
                </c:pt>
                <c:pt idx="68">
                  <c:v>-0.5</c:v>
                </c:pt>
                <c:pt idx="69">
                  <c:v>-0.5</c:v>
                </c:pt>
                <c:pt idx="70">
                  <c:v>-0.5</c:v>
                </c:pt>
                <c:pt idx="71">
                  <c:v>-0.5</c:v>
                </c:pt>
                <c:pt idx="72">
                  <c:v>-0.5</c:v>
                </c:pt>
                <c:pt idx="73">
                  <c:v>-0.5</c:v>
                </c:pt>
                <c:pt idx="74">
                  <c:v>-0.5</c:v>
                </c:pt>
                <c:pt idx="75">
                  <c:v>-0.5</c:v>
                </c:pt>
                <c:pt idx="76">
                  <c:v>-0.5</c:v>
                </c:pt>
                <c:pt idx="77">
                  <c:v>0</c:v>
                </c:pt>
                <c:pt idx="78">
                  <c:v>0</c:v>
                </c:pt>
                <c:pt idx="79">
                  <c:v>0.75</c:v>
                </c:pt>
                <c:pt idx="80">
                  <c:v>1.5</c:v>
                </c:pt>
                <c:pt idx="81">
                  <c:v>1.5</c:v>
                </c:pt>
                <c:pt idx="82">
                  <c:v>2</c:v>
                </c:pt>
                <c:pt idx="83">
                  <c:v>2</c:v>
                </c:pt>
                <c:pt idx="84">
                  <c:v>2.5</c:v>
                </c:pt>
                <c:pt idx="85">
                  <c:v>3</c:v>
                </c:pt>
                <c:pt idx="86">
                  <c:v>3</c:v>
                </c:pt>
                <c:pt idx="87">
                  <c:v>3.25</c:v>
                </c:pt>
                <c:pt idx="88">
                  <c:v>3.5</c:v>
                </c:pt>
                <c:pt idx="89">
                  <c:v>3.75</c:v>
                </c:pt>
                <c:pt idx="90">
                  <c:v>3.75</c:v>
                </c:pt>
                <c:pt idx="91">
                  <c:v>4</c:v>
                </c:pt>
                <c:pt idx="92">
                  <c:v>4</c:v>
                </c:pt>
                <c:pt idx="93">
                  <c:v>4</c:v>
                </c:pt>
                <c:pt idx="94">
                  <c:v>4</c:v>
                </c:pt>
                <c:pt idx="95">
                  <c:v>4</c:v>
                </c:pt>
                <c:pt idx="96">
                  <c:v>4</c:v>
                </c:pt>
                <c:pt idx="97">
                  <c:v>4</c:v>
                </c:pt>
                <c:pt idx="98">
                  <c:v>4</c:v>
                </c:pt>
                <c:pt idx="99">
                  <c:v>4</c:v>
                </c:pt>
                <c:pt idx="100">
                  <c:v>3.75</c:v>
                </c:pt>
                <c:pt idx="101">
                  <c:v>3.75</c:v>
                </c:pt>
                <c:pt idx="102">
                  <c:v>3.75</c:v>
                </c:pt>
                <c:pt idx="103">
                  <c:v>3.5</c:v>
                </c:pt>
                <c:pt idx="104">
                  <c:v>3.25</c:v>
                </c:pt>
                <c:pt idx="105">
                  <c:v>3.25</c:v>
                </c:pt>
                <c:pt idx="106">
                  <c:v>3</c:v>
                </c:pt>
                <c:pt idx="107">
                  <c:v>2.75</c:v>
                </c:pt>
                <c:pt idx="108">
                  <c:v>2.75</c:v>
                </c:pt>
                <c:pt idx="109">
                  <c:v>2.5</c:v>
                </c:pt>
                <c:pt idx="110">
                  <c:v>2.25</c:v>
                </c:pt>
                <c:pt idx="111">
                  <c:v>2.25</c:v>
                </c:pt>
                <c:pt idx="112">
                  <c:v>2</c:v>
                </c:pt>
                <c:pt idx="113">
                  <c:v>2</c:v>
                </c:pt>
                <c:pt idx="114">
                  <c:v>2</c:v>
                </c:pt>
                <c:pt idx="115">
                  <c:v>2</c:v>
                </c:pt>
                <c:pt idx="116">
                  <c:v>2</c:v>
                </c:pt>
                <c:pt idx="117">
                  <c:v>2</c:v>
                </c:pt>
                <c:pt idx="118">
                  <c:v>2</c:v>
                </c:pt>
                <c:pt idx="119">
                  <c:v>2</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2-91AB-4A1C-97D8-F3C1AA49E133}"/>
            </c:ext>
          </c:extLst>
        </c:ser>
        <c:ser>
          <c:idx val="3"/>
          <c:order val="3"/>
          <c:tx>
            <c:strRef>
              <c:f>'Multiple (2)'!$Q$8</c:f>
              <c:strCache>
                <c:ptCount val="1"/>
                <c:pt idx="0">
                  <c:v>BoJ</c:v>
                </c:pt>
              </c:strCache>
            </c:strRef>
          </c:tx>
          <c:spPr>
            <a:ln w="25400">
              <a:solidFill>
                <a:srgbClr val="B98E2C"/>
              </a:solidFill>
              <a:prstDash val="solid"/>
            </a:ln>
          </c:spPr>
          <c:marker>
            <c:symbol val="none"/>
          </c:marker>
          <c:cat>
            <c:numRef>
              <c:f>'Multiple (2)'!$M$9:$M$2000</c:f>
              <c:numCache>
                <c:formatCode>m/d/yyyy</c:formatCode>
                <c:ptCount val="1992"/>
                <c:pt idx="0">
                  <c:v>42429</c:v>
                </c:pt>
                <c:pt idx="1">
                  <c:v>42460</c:v>
                </c:pt>
                <c:pt idx="2">
                  <c:v>42489</c:v>
                </c:pt>
                <c:pt idx="3">
                  <c:v>42521</c:v>
                </c:pt>
                <c:pt idx="4">
                  <c:v>42551</c:v>
                </c:pt>
                <c:pt idx="5">
                  <c:v>42580</c:v>
                </c:pt>
                <c:pt idx="6">
                  <c:v>42613</c:v>
                </c:pt>
                <c:pt idx="7">
                  <c:v>42643</c:v>
                </c:pt>
                <c:pt idx="8">
                  <c:v>42674</c:v>
                </c:pt>
                <c:pt idx="9">
                  <c:v>42704</c:v>
                </c:pt>
                <c:pt idx="10">
                  <c:v>42734</c:v>
                </c:pt>
                <c:pt idx="11">
                  <c:v>42766</c:v>
                </c:pt>
                <c:pt idx="12">
                  <c:v>42794</c:v>
                </c:pt>
                <c:pt idx="13">
                  <c:v>42825</c:v>
                </c:pt>
                <c:pt idx="14">
                  <c:v>42853</c:v>
                </c:pt>
                <c:pt idx="15">
                  <c:v>42886</c:v>
                </c:pt>
                <c:pt idx="16">
                  <c:v>42916</c:v>
                </c:pt>
                <c:pt idx="17">
                  <c:v>42947</c:v>
                </c:pt>
                <c:pt idx="18">
                  <c:v>42978</c:v>
                </c:pt>
                <c:pt idx="19">
                  <c:v>43007</c:v>
                </c:pt>
                <c:pt idx="20">
                  <c:v>43039</c:v>
                </c:pt>
                <c:pt idx="21">
                  <c:v>43069</c:v>
                </c:pt>
                <c:pt idx="22">
                  <c:v>43098</c:v>
                </c:pt>
                <c:pt idx="23">
                  <c:v>43131</c:v>
                </c:pt>
                <c:pt idx="24">
                  <c:v>43159</c:v>
                </c:pt>
                <c:pt idx="25">
                  <c:v>43189</c:v>
                </c:pt>
                <c:pt idx="26">
                  <c:v>43220</c:v>
                </c:pt>
                <c:pt idx="27">
                  <c:v>43251</c:v>
                </c:pt>
                <c:pt idx="28">
                  <c:v>43280</c:v>
                </c:pt>
                <c:pt idx="29">
                  <c:v>43312</c:v>
                </c:pt>
                <c:pt idx="30">
                  <c:v>43343</c:v>
                </c:pt>
                <c:pt idx="31">
                  <c:v>43371</c:v>
                </c:pt>
                <c:pt idx="32">
                  <c:v>43404</c:v>
                </c:pt>
                <c:pt idx="33">
                  <c:v>43434</c:v>
                </c:pt>
                <c:pt idx="34">
                  <c:v>43465</c:v>
                </c:pt>
                <c:pt idx="35">
                  <c:v>43496</c:v>
                </c:pt>
                <c:pt idx="36">
                  <c:v>43524</c:v>
                </c:pt>
                <c:pt idx="37">
                  <c:v>43553</c:v>
                </c:pt>
                <c:pt idx="38">
                  <c:v>43585</c:v>
                </c:pt>
                <c:pt idx="39">
                  <c:v>43616</c:v>
                </c:pt>
                <c:pt idx="40">
                  <c:v>43644</c:v>
                </c:pt>
                <c:pt idx="41">
                  <c:v>43677</c:v>
                </c:pt>
                <c:pt idx="42">
                  <c:v>43707</c:v>
                </c:pt>
                <c:pt idx="43">
                  <c:v>43738</c:v>
                </c:pt>
                <c:pt idx="44">
                  <c:v>43769</c:v>
                </c:pt>
                <c:pt idx="45">
                  <c:v>43798</c:v>
                </c:pt>
                <c:pt idx="46">
                  <c:v>43830</c:v>
                </c:pt>
                <c:pt idx="47">
                  <c:v>43861</c:v>
                </c:pt>
                <c:pt idx="48">
                  <c:v>43889</c:v>
                </c:pt>
                <c:pt idx="49">
                  <c:v>43921</c:v>
                </c:pt>
                <c:pt idx="50">
                  <c:v>43951</c:v>
                </c:pt>
                <c:pt idx="51">
                  <c:v>43980</c:v>
                </c:pt>
                <c:pt idx="52">
                  <c:v>44012</c:v>
                </c:pt>
                <c:pt idx="53">
                  <c:v>44043</c:v>
                </c:pt>
                <c:pt idx="54">
                  <c:v>44074</c:v>
                </c:pt>
                <c:pt idx="55">
                  <c:v>44104</c:v>
                </c:pt>
                <c:pt idx="56">
                  <c:v>44134</c:v>
                </c:pt>
                <c:pt idx="57">
                  <c:v>44165</c:v>
                </c:pt>
                <c:pt idx="58">
                  <c:v>44196</c:v>
                </c:pt>
                <c:pt idx="59">
                  <c:v>44225</c:v>
                </c:pt>
                <c:pt idx="60">
                  <c:v>44253</c:v>
                </c:pt>
                <c:pt idx="61">
                  <c:v>44286</c:v>
                </c:pt>
                <c:pt idx="62">
                  <c:v>44316</c:v>
                </c:pt>
                <c:pt idx="63">
                  <c:v>44347</c:v>
                </c:pt>
                <c:pt idx="64">
                  <c:v>44377</c:v>
                </c:pt>
                <c:pt idx="65">
                  <c:v>44407</c:v>
                </c:pt>
                <c:pt idx="66">
                  <c:v>44439</c:v>
                </c:pt>
                <c:pt idx="67">
                  <c:v>44469</c:v>
                </c:pt>
                <c:pt idx="68">
                  <c:v>44498</c:v>
                </c:pt>
                <c:pt idx="69">
                  <c:v>44530</c:v>
                </c:pt>
                <c:pt idx="70">
                  <c:v>44561</c:v>
                </c:pt>
                <c:pt idx="71">
                  <c:v>44592</c:v>
                </c:pt>
                <c:pt idx="72">
                  <c:v>44620</c:v>
                </c:pt>
                <c:pt idx="73">
                  <c:v>44651</c:v>
                </c:pt>
                <c:pt idx="74">
                  <c:v>44680</c:v>
                </c:pt>
                <c:pt idx="75">
                  <c:v>44712</c:v>
                </c:pt>
                <c:pt idx="76">
                  <c:v>44742</c:v>
                </c:pt>
                <c:pt idx="77">
                  <c:v>44771</c:v>
                </c:pt>
                <c:pt idx="78">
                  <c:v>44804</c:v>
                </c:pt>
                <c:pt idx="79">
                  <c:v>44834</c:v>
                </c:pt>
                <c:pt idx="80">
                  <c:v>44865</c:v>
                </c:pt>
                <c:pt idx="81">
                  <c:v>44895</c:v>
                </c:pt>
                <c:pt idx="82">
                  <c:v>44925</c:v>
                </c:pt>
                <c:pt idx="83">
                  <c:v>44957</c:v>
                </c:pt>
                <c:pt idx="84">
                  <c:v>44985</c:v>
                </c:pt>
                <c:pt idx="85">
                  <c:v>45016</c:v>
                </c:pt>
                <c:pt idx="86">
                  <c:v>45044</c:v>
                </c:pt>
                <c:pt idx="87">
                  <c:v>45077</c:v>
                </c:pt>
                <c:pt idx="88">
                  <c:v>45107</c:v>
                </c:pt>
                <c:pt idx="89">
                  <c:v>45138</c:v>
                </c:pt>
                <c:pt idx="90">
                  <c:v>45169</c:v>
                </c:pt>
                <c:pt idx="91">
                  <c:v>45198</c:v>
                </c:pt>
                <c:pt idx="92">
                  <c:v>45230</c:v>
                </c:pt>
                <c:pt idx="93">
                  <c:v>45260</c:v>
                </c:pt>
                <c:pt idx="94">
                  <c:v>45289</c:v>
                </c:pt>
                <c:pt idx="95">
                  <c:v>45322</c:v>
                </c:pt>
                <c:pt idx="96">
                  <c:v>45351</c:v>
                </c:pt>
                <c:pt idx="97">
                  <c:v>45380</c:v>
                </c:pt>
                <c:pt idx="98">
                  <c:v>45412</c:v>
                </c:pt>
                <c:pt idx="99">
                  <c:v>45443</c:v>
                </c:pt>
                <c:pt idx="100">
                  <c:v>45471</c:v>
                </c:pt>
                <c:pt idx="101">
                  <c:v>45504</c:v>
                </c:pt>
                <c:pt idx="102">
                  <c:v>45534</c:v>
                </c:pt>
                <c:pt idx="103">
                  <c:v>45565</c:v>
                </c:pt>
                <c:pt idx="104">
                  <c:v>45596</c:v>
                </c:pt>
                <c:pt idx="105">
                  <c:v>45625</c:v>
                </c:pt>
                <c:pt idx="106">
                  <c:v>45657</c:v>
                </c:pt>
                <c:pt idx="107">
                  <c:v>45688</c:v>
                </c:pt>
                <c:pt idx="108">
                  <c:v>45716</c:v>
                </c:pt>
                <c:pt idx="109">
                  <c:v>45747</c:v>
                </c:pt>
                <c:pt idx="110">
                  <c:v>45777</c:v>
                </c:pt>
                <c:pt idx="111">
                  <c:v>45807</c:v>
                </c:pt>
                <c:pt idx="112">
                  <c:v>45838</c:v>
                </c:pt>
                <c:pt idx="113">
                  <c:v>45869</c:v>
                </c:pt>
                <c:pt idx="114">
                  <c:v>45898</c:v>
                </c:pt>
                <c:pt idx="115">
                  <c:v>45930</c:v>
                </c:pt>
                <c:pt idx="116">
                  <c:v>45961</c:v>
                </c:pt>
                <c:pt idx="117">
                  <c:v>45989</c:v>
                </c:pt>
                <c:pt idx="118">
                  <c:v>46022</c:v>
                </c:pt>
                <c:pt idx="119">
                  <c:v>46052</c:v>
                </c:pt>
                <c:pt idx="120">
                  <c:v>46081</c:v>
                </c:pt>
                <c:pt idx="121">
                  <c:v>46112</c:v>
                </c:pt>
                <c:pt idx="122">
                  <c:v>46142</c:v>
                </c:pt>
                <c:pt idx="123">
                  <c:v>46173</c:v>
                </c:pt>
                <c:pt idx="124">
                  <c:v>46203</c:v>
                </c:pt>
                <c:pt idx="125">
                  <c:v>46234</c:v>
                </c:pt>
                <c:pt idx="126">
                  <c:v>46265</c:v>
                </c:pt>
                <c:pt idx="127">
                  <c:v>46295</c:v>
                </c:pt>
                <c:pt idx="128">
                  <c:v>46326</c:v>
                </c:pt>
                <c:pt idx="129">
                  <c:v>46356</c:v>
                </c:pt>
                <c:pt idx="130">
                  <c:v>46387</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cat>
          <c:val>
            <c:numRef>
              <c:f>'Multiple (2)'!$Q$9:$Q$2000</c:f>
              <c:numCache>
                <c:formatCode>General</c:formatCode>
                <c:ptCount val="1992"/>
                <c:pt idx="0">
                  <c:v>-0.1</c:v>
                </c:pt>
                <c:pt idx="1">
                  <c:v>-0.1</c:v>
                </c:pt>
                <c:pt idx="2">
                  <c:v>-0.1</c:v>
                </c:pt>
                <c:pt idx="3">
                  <c:v>-0.1</c:v>
                </c:pt>
                <c:pt idx="4">
                  <c:v>-0.1</c:v>
                </c:pt>
                <c:pt idx="5">
                  <c:v>-0.1</c:v>
                </c:pt>
                <c:pt idx="6">
                  <c:v>-0.1</c:v>
                </c:pt>
                <c:pt idx="7">
                  <c:v>-0.1</c:v>
                </c:pt>
                <c:pt idx="8">
                  <c:v>-0.1</c:v>
                </c:pt>
                <c:pt idx="9">
                  <c:v>-0.1</c:v>
                </c:pt>
                <c:pt idx="10">
                  <c:v>-0.1</c:v>
                </c:pt>
                <c:pt idx="11">
                  <c:v>-0.1</c:v>
                </c:pt>
                <c:pt idx="12">
                  <c:v>-0.1</c:v>
                </c:pt>
                <c:pt idx="13">
                  <c:v>-0.1</c:v>
                </c:pt>
                <c:pt idx="14">
                  <c:v>-0.1</c:v>
                </c:pt>
                <c:pt idx="15">
                  <c:v>-0.1</c:v>
                </c:pt>
                <c:pt idx="16">
                  <c:v>-0.1</c:v>
                </c:pt>
                <c:pt idx="17">
                  <c:v>-0.1</c:v>
                </c:pt>
                <c:pt idx="18">
                  <c:v>-0.1</c:v>
                </c:pt>
                <c:pt idx="19">
                  <c:v>-0.1</c:v>
                </c:pt>
                <c:pt idx="20">
                  <c:v>-0.1</c:v>
                </c:pt>
                <c:pt idx="21">
                  <c:v>-0.1</c:v>
                </c:pt>
                <c:pt idx="22">
                  <c:v>-0.1</c:v>
                </c:pt>
                <c:pt idx="23">
                  <c:v>-0.1</c:v>
                </c:pt>
                <c:pt idx="24">
                  <c:v>-0.1</c:v>
                </c:pt>
                <c:pt idx="25">
                  <c:v>-0.1</c:v>
                </c:pt>
                <c:pt idx="26">
                  <c:v>-0.1</c:v>
                </c:pt>
                <c:pt idx="27">
                  <c:v>-0.1</c:v>
                </c:pt>
                <c:pt idx="28">
                  <c:v>-0.1</c:v>
                </c:pt>
                <c:pt idx="29">
                  <c:v>-0.1</c:v>
                </c:pt>
                <c:pt idx="30">
                  <c:v>-0.1</c:v>
                </c:pt>
                <c:pt idx="31">
                  <c:v>-0.1</c:v>
                </c:pt>
                <c:pt idx="32">
                  <c:v>-0.1</c:v>
                </c:pt>
                <c:pt idx="33">
                  <c:v>-0.1</c:v>
                </c:pt>
                <c:pt idx="34">
                  <c:v>-0.1</c:v>
                </c:pt>
                <c:pt idx="35">
                  <c:v>-0.1</c:v>
                </c:pt>
                <c:pt idx="36">
                  <c:v>-0.1</c:v>
                </c:pt>
                <c:pt idx="37">
                  <c:v>-0.1</c:v>
                </c:pt>
                <c:pt idx="38">
                  <c:v>-0.1</c:v>
                </c:pt>
                <c:pt idx="39">
                  <c:v>-0.1</c:v>
                </c:pt>
                <c:pt idx="40">
                  <c:v>-0.1</c:v>
                </c:pt>
                <c:pt idx="41">
                  <c:v>-0.1</c:v>
                </c:pt>
                <c:pt idx="42">
                  <c:v>-0.1</c:v>
                </c:pt>
                <c:pt idx="43">
                  <c:v>-0.1</c:v>
                </c:pt>
                <c:pt idx="44">
                  <c:v>-0.1</c:v>
                </c:pt>
                <c:pt idx="45">
                  <c:v>-0.1</c:v>
                </c:pt>
                <c:pt idx="46">
                  <c:v>-0.1</c:v>
                </c:pt>
                <c:pt idx="47">
                  <c:v>-0.1</c:v>
                </c:pt>
                <c:pt idx="48">
                  <c:v>-0.1</c:v>
                </c:pt>
                <c:pt idx="49">
                  <c:v>-0.1</c:v>
                </c:pt>
                <c:pt idx="50">
                  <c:v>-0.1</c:v>
                </c:pt>
                <c:pt idx="51">
                  <c:v>-0.1</c:v>
                </c:pt>
                <c:pt idx="52">
                  <c:v>-0.1</c:v>
                </c:pt>
                <c:pt idx="53">
                  <c:v>-0.1</c:v>
                </c:pt>
                <c:pt idx="54">
                  <c:v>-0.1</c:v>
                </c:pt>
                <c:pt idx="55">
                  <c:v>-0.1</c:v>
                </c:pt>
                <c:pt idx="56">
                  <c:v>-0.1</c:v>
                </c:pt>
                <c:pt idx="57">
                  <c:v>-0.1</c:v>
                </c:pt>
                <c:pt idx="58">
                  <c:v>-0.1</c:v>
                </c:pt>
                <c:pt idx="59">
                  <c:v>-0.1</c:v>
                </c:pt>
                <c:pt idx="60">
                  <c:v>-0.1</c:v>
                </c:pt>
                <c:pt idx="61">
                  <c:v>-0.1</c:v>
                </c:pt>
                <c:pt idx="62">
                  <c:v>-0.1</c:v>
                </c:pt>
                <c:pt idx="63">
                  <c:v>-0.1</c:v>
                </c:pt>
                <c:pt idx="64">
                  <c:v>-0.1</c:v>
                </c:pt>
                <c:pt idx="65">
                  <c:v>-0.1</c:v>
                </c:pt>
                <c:pt idx="66">
                  <c:v>-0.1</c:v>
                </c:pt>
                <c:pt idx="67">
                  <c:v>-0.1</c:v>
                </c:pt>
                <c:pt idx="68">
                  <c:v>-0.1</c:v>
                </c:pt>
                <c:pt idx="69">
                  <c:v>-0.1</c:v>
                </c:pt>
                <c:pt idx="70">
                  <c:v>-0.1</c:v>
                </c:pt>
                <c:pt idx="71">
                  <c:v>-0.1</c:v>
                </c:pt>
                <c:pt idx="72">
                  <c:v>-0.1</c:v>
                </c:pt>
                <c:pt idx="73">
                  <c:v>-0.1</c:v>
                </c:pt>
                <c:pt idx="74">
                  <c:v>-0.1</c:v>
                </c:pt>
                <c:pt idx="75">
                  <c:v>-0.1</c:v>
                </c:pt>
                <c:pt idx="76">
                  <c:v>-0.1</c:v>
                </c:pt>
                <c:pt idx="77">
                  <c:v>-0.1</c:v>
                </c:pt>
                <c:pt idx="78">
                  <c:v>-0.1</c:v>
                </c:pt>
                <c:pt idx="79">
                  <c:v>-0.1</c:v>
                </c:pt>
                <c:pt idx="80">
                  <c:v>-0.1</c:v>
                </c:pt>
                <c:pt idx="81">
                  <c:v>-0.1</c:v>
                </c:pt>
                <c:pt idx="82">
                  <c:v>-0.1</c:v>
                </c:pt>
                <c:pt idx="83">
                  <c:v>-0.1</c:v>
                </c:pt>
                <c:pt idx="84">
                  <c:v>-0.1</c:v>
                </c:pt>
                <c:pt idx="85">
                  <c:v>-0.1</c:v>
                </c:pt>
                <c:pt idx="86">
                  <c:v>-0.1</c:v>
                </c:pt>
                <c:pt idx="87">
                  <c:v>-0.1</c:v>
                </c:pt>
                <c:pt idx="88">
                  <c:v>-0.1</c:v>
                </c:pt>
                <c:pt idx="89">
                  <c:v>-0.1</c:v>
                </c:pt>
                <c:pt idx="90">
                  <c:v>-0.1</c:v>
                </c:pt>
                <c:pt idx="91">
                  <c:v>-0.1</c:v>
                </c:pt>
                <c:pt idx="92">
                  <c:v>-0.1</c:v>
                </c:pt>
                <c:pt idx="93">
                  <c:v>-0.1</c:v>
                </c:pt>
                <c:pt idx="94">
                  <c:v>-0.1</c:v>
                </c:pt>
                <c:pt idx="95">
                  <c:v>-0.1</c:v>
                </c:pt>
                <c:pt idx="96">
                  <c:v>-0.1</c:v>
                </c:pt>
                <c:pt idx="97">
                  <c:v>0.1</c:v>
                </c:pt>
                <c:pt idx="98">
                  <c:v>0.1</c:v>
                </c:pt>
                <c:pt idx="99">
                  <c:v>0.1</c:v>
                </c:pt>
                <c:pt idx="100">
                  <c:v>0.1</c:v>
                </c:pt>
                <c:pt idx="101">
                  <c:v>0.25</c:v>
                </c:pt>
                <c:pt idx="102">
                  <c:v>0.25</c:v>
                </c:pt>
                <c:pt idx="103">
                  <c:v>0.25</c:v>
                </c:pt>
                <c:pt idx="104">
                  <c:v>0.25</c:v>
                </c:pt>
                <c:pt idx="105">
                  <c:v>0.25</c:v>
                </c:pt>
                <c:pt idx="106">
                  <c:v>0.25</c:v>
                </c:pt>
                <c:pt idx="107">
                  <c:v>0.5</c:v>
                </c:pt>
                <c:pt idx="108">
                  <c:v>0.5</c:v>
                </c:pt>
                <c:pt idx="109">
                  <c:v>0.5</c:v>
                </c:pt>
                <c:pt idx="110">
                  <c:v>0.5</c:v>
                </c:pt>
                <c:pt idx="111">
                  <c:v>0.5</c:v>
                </c:pt>
                <c:pt idx="112">
                  <c:v>0.5</c:v>
                </c:pt>
                <c:pt idx="113">
                  <c:v>0.5</c:v>
                </c:pt>
                <c:pt idx="114">
                  <c:v>0.5</c:v>
                </c:pt>
                <c:pt idx="115">
                  <c:v>0.5</c:v>
                </c:pt>
                <c:pt idx="116">
                  <c:v>0.5</c:v>
                </c:pt>
                <c:pt idx="117">
                  <c:v>0.5</c:v>
                </c:pt>
                <c:pt idx="118">
                  <c:v>0.75</c:v>
                </c:pt>
                <c:pt idx="119">
                  <c:v>0.75</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3-91AB-4A1C-97D8-F3C1AA49E133}"/>
            </c:ext>
          </c:extLst>
        </c:ser>
        <c:ser>
          <c:idx val="4"/>
          <c:order val="4"/>
          <c:tx>
            <c:strRef>
              <c:f>'Multiple (2)'!$R$8</c:f>
              <c:strCache>
                <c:ptCount val="1"/>
                <c:pt idx="0">
                  <c:v>A</c:v>
                </c:pt>
              </c:strCache>
            </c:strRef>
          </c:tx>
          <c:spPr>
            <a:ln>
              <a:noFill/>
            </a:ln>
          </c:spPr>
          <c:marker>
            <c:symbol val="diamond"/>
            <c:size val="6"/>
          </c:marker>
          <c:dPt>
            <c:idx val="130"/>
            <c:marker>
              <c:symbol val="diamond"/>
              <c:size val="9"/>
              <c:spPr>
                <a:solidFill>
                  <a:srgbClr val="000000"/>
                </a:solidFill>
                <a:ln>
                  <a:noFill/>
                </a:ln>
              </c:spPr>
            </c:marker>
            <c:bubble3D val="0"/>
            <c:extLst>
              <c:ext xmlns:c16="http://schemas.microsoft.com/office/drawing/2014/chart" uri="{C3380CC4-5D6E-409C-BE32-E72D297353CC}">
                <c16:uniqueId val="{00000004-91AB-4A1C-97D8-F3C1AA49E133}"/>
              </c:ext>
            </c:extLst>
          </c:dPt>
          <c:val>
            <c:numRef>
              <c:f>'Multiple (2)'!$R$9:$R$2000</c:f>
              <c:numCache>
                <c:formatCode>General</c:formatCode>
                <c:ptCount val="1992"/>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3.13</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5-91AB-4A1C-97D8-F3C1AA49E133}"/>
            </c:ext>
          </c:extLst>
        </c:ser>
        <c:ser>
          <c:idx val="5"/>
          <c:order val="5"/>
          <c:tx>
            <c:strRef>
              <c:f>'Multiple (2)'!$S$8</c:f>
              <c:strCache>
                <c:ptCount val="1"/>
                <c:pt idx="0">
                  <c:v>B</c:v>
                </c:pt>
              </c:strCache>
            </c:strRef>
          </c:tx>
          <c:spPr>
            <a:ln>
              <a:noFill/>
            </a:ln>
          </c:spPr>
          <c:marker>
            <c:symbol val="circle"/>
            <c:size val="8"/>
            <c:spPr>
              <a:solidFill>
                <a:srgbClr val="C00000"/>
              </a:solidFill>
              <a:ln>
                <a:noFill/>
              </a:ln>
            </c:spPr>
          </c:marker>
          <c:dPt>
            <c:idx val="130"/>
            <c:marker>
              <c:symbol val="diamond"/>
              <c:size val="8"/>
            </c:marker>
            <c:bubble3D val="0"/>
            <c:extLst>
              <c:ext xmlns:c16="http://schemas.microsoft.com/office/drawing/2014/chart" uri="{C3380CC4-5D6E-409C-BE32-E72D297353CC}">
                <c16:uniqueId val="{0000000B-91AB-4A1C-97D8-F3C1AA49E133}"/>
              </c:ext>
            </c:extLst>
          </c:dPt>
          <c:val>
            <c:numRef>
              <c:f>'Multiple (2)'!$S$9:$S$2000</c:f>
              <c:numCache>
                <c:formatCode>General</c:formatCode>
                <c:ptCount val="1992"/>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3.25</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6-91AB-4A1C-97D8-F3C1AA49E133}"/>
            </c:ext>
          </c:extLst>
        </c:ser>
        <c:ser>
          <c:idx val="6"/>
          <c:order val="6"/>
          <c:tx>
            <c:strRef>
              <c:f>'Multiple (2)'!$T$8</c:f>
              <c:strCache>
                <c:ptCount val="1"/>
                <c:pt idx="0">
                  <c:v>C</c:v>
                </c:pt>
              </c:strCache>
            </c:strRef>
          </c:tx>
          <c:spPr>
            <a:ln>
              <a:noFill/>
            </a:ln>
          </c:spPr>
          <c:marker>
            <c:spPr>
              <a:solidFill>
                <a:schemeClr val="bg1">
                  <a:lumMod val="75000"/>
                </a:schemeClr>
              </a:solidFill>
              <a:ln>
                <a:noFill/>
              </a:ln>
            </c:spPr>
          </c:marker>
          <c:dPt>
            <c:idx val="130"/>
            <c:marker>
              <c:symbol val="diamond"/>
              <c:size val="8"/>
            </c:marker>
            <c:bubble3D val="0"/>
            <c:extLst>
              <c:ext xmlns:c16="http://schemas.microsoft.com/office/drawing/2014/chart" uri="{C3380CC4-5D6E-409C-BE32-E72D297353CC}">
                <c16:uniqueId val="{00000007-91AB-4A1C-97D8-F3C1AA49E133}"/>
              </c:ext>
            </c:extLst>
          </c:dPt>
          <c:val>
            <c:numRef>
              <c:f>'Multiple (2)'!$T$9:$T$2000</c:f>
              <c:numCache>
                <c:formatCode>General</c:formatCode>
                <c:ptCount val="1992"/>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2</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8-91AB-4A1C-97D8-F3C1AA49E133}"/>
            </c:ext>
          </c:extLst>
        </c:ser>
        <c:ser>
          <c:idx val="7"/>
          <c:order val="7"/>
          <c:tx>
            <c:strRef>
              <c:f>'Multiple (2)'!$U$8</c:f>
              <c:strCache>
                <c:ptCount val="1"/>
                <c:pt idx="0">
                  <c:v>D</c:v>
                </c:pt>
              </c:strCache>
            </c:strRef>
          </c:tx>
          <c:spPr>
            <a:ln>
              <a:noFill/>
            </a:ln>
          </c:spPr>
          <c:marker>
            <c:symbol val="diamond"/>
            <c:size val="6"/>
            <c:spPr>
              <a:solidFill>
                <a:schemeClr val="accent1">
                  <a:lumMod val="40000"/>
                  <a:lumOff val="60000"/>
                </a:schemeClr>
              </a:solidFill>
              <a:ln>
                <a:noFill/>
              </a:ln>
            </c:spPr>
          </c:marker>
          <c:dPt>
            <c:idx val="130"/>
            <c:marker>
              <c:symbol val="diamond"/>
              <c:size val="8"/>
              <c:spPr>
                <a:solidFill>
                  <a:srgbClr val="B98E2C"/>
                </a:solidFill>
                <a:ln>
                  <a:noFill/>
                </a:ln>
              </c:spPr>
            </c:marker>
            <c:bubble3D val="0"/>
            <c:extLst>
              <c:ext xmlns:c16="http://schemas.microsoft.com/office/drawing/2014/chart" uri="{C3380CC4-5D6E-409C-BE32-E72D297353CC}">
                <c16:uniqueId val="{00000009-91AB-4A1C-97D8-F3C1AA49E133}"/>
              </c:ext>
            </c:extLst>
          </c:dPt>
          <c:val>
            <c:numRef>
              <c:f>'Multiple (2)'!$U$9:$U$2000</c:f>
              <c:numCache>
                <c:formatCode>General</c:formatCode>
                <c:ptCount val="1992"/>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1</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A-91AB-4A1C-97D8-F3C1AA49E133}"/>
            </c:ext>
          </c:extLst>
        </c:ser>
        <c:dLbls>
          <c:showLegendKey val="0"/>
          <c:showVal val="0"/>
          <c:showCatName val="0"/>
          <c:showSerName val="0"/>
          <c:showPercent val="0"/>
          <c:showBubbleSize val="0"/>
        </c:dLbls>
        <c:smooth val="0"/>
        <c:axId val="922392832"/>
        <c:axId val="923154688"/>
      </c:lineChart>
      <c:dateAx>
        <c:axId val="922392832"/>
        <c:scaling>
          <c:orientation val="minMax"/>
          <c:min val="43890"/>
        </c:scaling>
        <c:delete val="0"/>
        <c:axPos val="b"/>
        <c:numFmt formatCode="[$-409]\ mmm\ yy" sourceLinked="0"/>
        <c:majorTickMark val="out"/>
        <c:minorTickMark val="none"/>
        <c:tickLblPos val="low"/>
        <c:spPr>
          <a:ln w="12700">
            <a:solidFill>
              <a:srgbClr val="000000"/>
            </a:solidFill>
            <a:prstDash val="solid"/>
          </a:ln>
          <a:effectLst/>
        </c:spPr>
        <c:txPr>
          <a:bodyPr rot="0" vert="horz"/>
          <a:lstStyle/>
          <a:p>
            <a:pPr>
              <a:defRPr/>
            </a:pPr>
            <a:endParaRPr lang="en-US"/>
          </a:p>
        </c:txPr>
        <c:crossAx val="923154688"/>
        <c:crossesAt val="0"/>
        <c:auto val="1"/>
        <c:lblOffset val="100"/>
        <c:baseTimeUnit val="days"/>
        <c:majorUnit val="24"/>
        <c:majorTimeUnit val="months"/>
        <c:minorUnit val="6"/>
        <c:minorTimeUnit val="months"/>
      </c:dateAx>
      <c:valAx>
        <c:axId val="923154688"/>
        <c:scaling>
          <c:orientation val="minMax"/>
        </c:scaling>
        <c:delete val="0"/>
        <c:axPos val="l"/>
        <c:majorGridlines>
          <c:spPr>
            <a:ln w="6350" cap="flat" cmpd="sng" algn="ctr">
              <a:solidFill>
                <a:srgbClr val="B8B3A2"/>
              </a:solidFill>
              <a:prstDash val="solid"/>
              <a:round/>
              <a:headEnd type="none" w="med" len="med"/>
              <a:tailEnd type="none" w="med" len="med"/>
            </a:ln>
          </c:spPr>
        </c:majorGridlines>
        <c:numFmt formatCode="General" sourceLinked="1"/>
        <c:majorTickMark val="none"/>
        <c:minorTickMark val="none"/>
        <c:tickLblPos val="low"/>
        <c:spPr>
          <a:ln w="25400">
            <a:noFill/>
          </a:ln>
          <a:effectLst/>
        </c:spPr>
        <c:txPr>
          <a:bodyPr rot="0" vert="horz"/>
          <a:lstStyle/>
          <a:p>
            <a:pPr>
              <a:defRPr/>
            </a:pPr>
            <a:endParaRPr lang="en-US"/>
          </a:p>
        </c:txPr>
        <c:crossAx val="922392832"/>
        <c:crossesAt val="43466"/>
        <c:crossBetween val="between"/>
      </c:valAx>
    </c:plotArea>
    <c:legend>
      <c:legendPos val="b"/>
      <c:legendEntry>
        <c:idx val="4"/>
        <c:delete val="1"/>
      </c:legendEntry>
      <c:legendEntry>
        <c:idx val="5"/>
        <c:delete val="1"/>
      </c:legendEntry>
      <c:legendEntry>
        <c:idx val="6"/>
        <c:delete val="1"/>
      </c:legendEntry>
      <c:legendEntry>
        <c:idx val="7"/>
        <c:delete val="1"/>
      </c:legendEntry>
      <c:layout>
        <c:manualLayout>
          <c:xMode val="edge"/>
          <c:yMode val="edge"/>
          <c:x val="6.1861795292829765E-2"/>
          <c:y val="0.88868317230273752"/>
          <c:w val="0.90543650793650809"/>
          <c:h val="4.6719524262552568E-2"/>
        </c:manualLayout>
      </c:layout>
      <c:overlay val="0"/>
      <c:txPr>
        <a:bodyPr/>
        <a:lstStyle/>
        <a:p>
          <a:pPr>
            <a:defRPr>
              <a:latin typeface="+mj-lt"/>
            </a:defRPr>
          </a:pPr>
          <a:endParaRPr lang="en-US"/>
        </a:p>
      </c:txPr>
    </c:legend>
    <c:plotVisOnly val="1"/>
    <c:dispBlanksAs val="gap"/>
    <c:showDLblsOverMax val="0"/>
  </c:chart>
  <c:spPr>
    <a:ln>
      <a:noFill/>
    </a:ln>
  </c:spPr>
  <c:txPr>
    <a:bodyPr/>
    <a:lstStyle/>
    <a:p>
      <a:pPr>
        <a:defRPr sz="1200" b="0">
          <a:latin typeface="+mj-lt"/>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622195269860527E-2"/>
          <c:y val="6.1857817200954457E-2"/>
          <c:w val="0.90053247759584931"/>
          <c:h val="0.72836627243489993"/>
        </c:manualLayout>
      </c:layout>
      <c:barChart>
        <c:barDir val="col"/>
        <c:grouping val="stacked"/>
        <c:varyColors val="0"/>
        <c:ser>
          <c:idx val="0"/>
          <c:order val="0"/>
          <c:tx>
            <c:strRef>
              <c:f>nuclear!$B$5</c:f>
              <c:strCache>
                <c:ptCount val="1"/>
                <c:pt idx="0">
                  <c:v>In operation</c:v>
                </c:pt>
              </c:strCache>
            </c:strRef>
          </c:tx>
          <c:spPr>
            <a:solidFill>
              <a:srgbClr val="8E8D83"/>
            </a:solidFill>
            <a:ln w="12700" cap="flat" cmpd="sng" algn="ctr">
              <a:solidFill>
                <a:srgbClr val="FFFFFF"/>
              </a:solidFill>
              <a:prstDash val="solid"/>
              <a:round/>
              <a:headEnd type="none" w="med" len="med"/>
              <a:tailEnd type="none" w="med" len="med"/>
            </a:ln>
            <a:effectLst/>
          </c:spPr>
          <c:invertIfNegative val="0"/>
          <c:dLbls>
            <c:delete val="1"/>
          </c:dLbls>
          <c:cat>
            <c:strRef>
              <c:f>nuclear!$A$6:$A$15</c:f>
              <c:strCache>
                <c:ptCount val="10"/>
                <c:pt idx="0">
                  <c:v>USA</c:v>
                </c:pt>
                <c:pt idx="1">
                  <c:v>China</c:v>
                </c:pt>
                <c:pt idx="2">
                  <c:v>France</c:v>
                </c:pt>
                <c:pt idx="3">
                  <c:v>Russia</c:v>
                </c:pt>
                <c:pt idx="4">
                  <c:v>South Korea</c:v>
                </c:pt>
                <c:pt idx="5">
                  <c:v>Japan</c:v>
                </c:pt>
                <c:pt idx="6">
                  <c:v>Ukraine</c:v>
                </c:pt>
                <c:pt idx="7">
                  <c:v>Canada</c:v>
                </c:pt>
                <c:pt idx="8">
                  <c:v>India</c:v>
                </c:pt>
                <c:pt idx="9">
                  <c:v>UK</c:v>
                </c:pt>
              </c:strCache>
            </c:strRef>
          </c:cat>
          <c:val>
            <c:numRef>
              <c:f>nuclear!$B$6:$B$15</c:f>
              <c:numCache>
                <c:formatCode>General</c:formatCode>
                <c:ptCount val="10"/>
                <c:pt idx="0">
                  <c:v>96.951999999999998</c:v>
                </c:pt>
                <c:pt idx="1">
                  <c:v>56.445999999999998</c:v>
                </c:pt>
                <c:pt idx="2">
                  <c:v>63</c:v>
                </c:pt>
                <c:pt idx="3">
                  <c:v>27.969000000000001</c:v>
                </c:pt>
                <c:pt idx="4">
                  <c:v>25.609000000000002</c:v>
                </c:pt>
                <c:pt idx="5">
                  <c:v>12.631</c:v>
                </c:pt>
                <c:pt idx="6">
                  <c:v>13.106999999999999</c:v>
                </c:pt>
                <c:pt idx="7">
                  <c:v>12.714</c:v>
                </c:pt>
                <c:pt idx="8">
                  <c:v>7.55</c:v>
                </c:pt>
                <c:pt idx="9">
                  <c:v>5.883</c:v>
                </c:pt>
              </c:numCache>
            </c:numRef>
          </c:val>
          <c:extLst>
            <c:ext xmlns:c16="http://schemas.microsoft.com/office/drawing/2014/chart" uri="{C3380CC4-5D6E-409C-BE32-E72D297353CC}">
              <c16:uniqueId val="{00000000-021A-49F3-82D5-974F755E46C9}"/>
            </c:ext>
          </c:extLst>
        </c:ser>
        <c:ser>
          <c:idx val="1"/>
          <c:order val="1"/>
          <c:tx>
            <c:strRef>
              <c:f>nuclear!$C$5</c:f>
              <c:strCache>
                <c:ptCount val="1"/>
                <c:pt idx="0">
                  <c:v>Under construction</c:v>
                </c:pt>
              </c:strCache>
            </c:strRef>
          </c:tx>
          <c:spPr>
            <a:solidFill>
              <a:srgbClr val="BD000C"/>
            </a:solidFill>
            <a:ln w="12700" cap="flat" cmpd="sng" algn="ctr">
              <a:solidFill>
                <a:srgbClr val="FFFFFF"/>
              </a:solidFill>
              <a:prstDash val="solid"/>
              <a:round/>
              <a:headEnd type="none" w="med" len="med"/>
              <a:tailEnd type="none" w="med" len="med"/>
            </a:ln>
            <a:effectLst/>
          </c:spPr>
          <c:invertIfNegative val="0"/>
          <c:dLbls>
            <c:delete val="1"/>
          </c:dLbls>
          <c:cat>
            <c:strRef>
              <c:f>nuclear!$A$6:$A$15</c:f>
              <c:strCache>
                <c:ptCount val="10"/>
                <c:pt idx="0">
                  <c:v>USA</c:v>
                </c:pt>
                <c:pt idx="1">
                  <c:v>China</c:v>
                </c:pt>
                <c:pt idx="2">
                  <c:v>France</c:v>
                </c:pt>
                <c:pt idx="3">
                  <c:v>Russia</c:v>
                </c:pt>
                <c:pt idx="4">
                  <c:v>South Korea</c:v>
                </c:pt>
                <c:pt idx="5">
                  <c:v>Japan</c:v>
                </c:pt>
                <c:pt idx="6">
                  <c:v>Ukraine</c:v>
                </c:pt>
                <c:pt idx="7">
                  <c:v>Canada</c:v>
                </c:pt>
                <c:pt idx="8">
                  <c:v>India</c:v>
                </c:pt>
                <c:pt idx="9">
                  <c:v>UK</c:v>
                </c:pt>
              </c:strCache>
            </c:strRef>
          </c:cat>
          <c:val>
            <c:numRef>
              <c:f>nuclear!$C$6:$C$15</c:f>
              <c:numCache>
                <c:formatCode>General</c:formatCode>
                <c:ptCount val="10"/>
                <c:pt idx="0">
                  <c:v>0</c:v>
                </c:pt>
                <c:pt idx="1">
                  <c:v>35.822000000000003</c:v>
                </c:pt>
                <c:pt idx="2">
                  <c:v>0</c:v>
                </c:pt>
                <c:pt idx="3">
                  <c:v>3.8</c:v>
                </c:pt>
                <c:pt idx="4">
                  <c:v>2.68</c:v>
                </c:pt>
                <c:pt idx="5">
                  <c:v>2.653</c:v>
                </c:pt>
                <c:pt idx="6">
                  <c:v>2.0699999999999998</c:v>
                </c:pt>
                <c:pt idx="7">
                  <c:v>0</c:v>
                </c:pt>
                <c:pt idx="8">
                  <c:v>4.7679999999999998</c:v>
                </c:pt>
                <c:pt idx="9">
                  <c:v>3.26</c:v>
                </c:pt>
              </c:numCache>
            </c:numRef>
          </c:val>
          <c:extLst>
            <c:ext xmlns:c16="http://schemas.microsoft.com/office/drawing/2014/chart" uri="{C3380CC4-5D6E-409C-BE32-E72D297353CC}">
              <c16:uniqueId val="{00000001-021A-49F3-82D5-974F755E46C9}"/>
            </c:ext>
          </c:extLst>
        </c:ser>
        <c:dLbls>
          <c:dLblPos val="ctr"/>
          <c:showLegendKey val="0"/>
          <c:showVal val="1"/>
          <c:showCatName val="0"/>
          <c:showSerName val="0"/>
          <c:showPercent val="0"/>
          <c:showBubbleSize val="0"/>
        </c:dLbls>
        <c:gapWidth val="50"/>
        <c:overlap val="100"/>
        <c:axId val="747169488"/>
        <c:axId val="747159408"/>
      </c:barChart>
      <c:catAx>
        <c:axId val="747169488"/>
        <c:scaling>
          <c:orientation val="minMax"/>
        </c:scaling>
        <c:delete val="0"/>
        <c:axPos val="b"/>
        <c:numFmt formatCode="General" sourceLinked="1"/>
        <c:majorTickMark val="none"/>
        <c:minorTickMark val="none"/>
        <c:tickLblPos val="low"/>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crossAx val="747159408"/>
        <c:crosses val="autoZero"/>
        <c:auto val="1"/>
        <c:lblAlgn val="ctr"/>
        <c:lblOffset val="100"/>
        <c:noMultiLvlLbl val="0"/>
      </c:catAx>
      <c:valAx>
        <c:axId val="747159408"/>
        <c:scaling>
          <c:orientation val="minMax"/>
          <c:max val="1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crossAx val="747169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Frutiger 45 Light" panose="020B0603020202020204" pitchFamily="34" charset="0"/>
          <a:ea typeface="+mn-ea"/>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280506704399977E-2"/>
          <c:y val="5.9299979250959652E-2"/>
          <c:w val="0.89716393774004444"/>
          <c:h val="0.75338676211225231"/>
        </c:manualLayout>
      </c:layout>
      <c:lineChart>
        <c:grouping val="standard"/>
        <c:varyColors val="0"/>
        <c:ser>
          <c:idx val="0"/>
          <c:order val="0"/>
          <c:tx>
            <c:strRef>
              <c:f>china!$B$1</c:f>
              <c:strCache>
                <c:ptCount val="1"/>
                <c:pt idx="0">
                  <c:v>CPU</c:v>
                </c:pt>
              </c:strCache>
            </c:strRef>
          </c:tx>
          <c:spPr>
            <a:ln w="25400" cap="rnd" cmpd="sng" algn="ctr">
              <a:solidFill>
                <a:srgbClr val="8E8D83"/>
              </a:solidFill>
              <a:prstDash val="solid"/>
              <a:round/>
              <a:headEnd type="none" w="med" len="med"/>
              <a:tailEnd type="none" w="med" len="med"/>
            </a:ln>
            <a:effectLst/>
          </c:spPr>
          <c:marker>
            <c:symbol val="none"/>
          </c:marker>
          <c:cat>
            <c:strRef>
              <c:f>china!$A$2:$A$9</c:f>
              <c:strCache>
                <c:ptCount val="8"/>
                <c:pt idx="0">
                  <c:v>2020</c:v>
                </c:pt>
                <c:pt idx="1">
                  <c:v>2021</c:v>
                </c:pt>
                <c:pt idx="2">
                  <c:v>2022</c:v>
                </c:pt>
                <c:pt idx="3">
                  <c:v>2023</c:v>
                </c:pt>
                <c:pt idx="4">
                  <c:v>2024</c:v>
                </c:pt>
                <c:pt idx="5">
                  <c:v>2025E</c:v>
                </c:pt>
                <c:pt idx="6">
                  <c:v>2026E</c:v>
                </c:pt>
                <c:pt idx="7">
                  <c:v>2027E</c:v>
                </c:pt>
              </c:strCache>
            </c:strRef>
          </c:cat>
          <c:val>
            <c:numRef>
              <c:f>china!$B$2:$B$9</c:f>
              <c:numCache>
                <c:formatCode>0%</c:formatCode>
                <c:ptCount val="8"/>
                <c:pt idx="0">
                  <c:v>0.01</c:v>
                </c:pt>
                <c:pt idx="1">
                  <c:v>0.04</c:v>
                </c:pt>
                <c:pt idx="2">
                  <c:v>0.06</c:v>
                </c:pt>
                <c:pt idx="3">
                  <c:v>7.0000000000000007E-2</c:v>
                </c:pt>
                <c:pt idx="4">
                  <c:v>0.1</c:v>
                </c:pt>
                <c:pt idx="5">
                  <c:v>0.12</c:v>
                </c:pt>
                <c:pt idx="6">
                  <c:v>0.15</c:v>
                </c:pt>
                <c:pt idx="7">
                  <c:v>0.18</c:v>
                </c:pt>
              </c:numCache>
            </c:numRef>
          </c:val>
          <c:smooth val="0"/>
          <c:extLst>
            <c:ext xmlns:c16="http://schemas.microsoft.com/office/drawing/2014/chart" uri="{C3380CC4-5D6E-409C-BE32-E72D297353CC}">
              <c16:uniqueId val="{00000000-715B-4E8F-91EF-090512A5C420}"/>
            </c:ext>
          </c:extLst>
        </c:ser>
        <c:ser>
          <c:idx val="1"/>
          <c:order val="1"/>
          <c:tx>
            <c:strRef>
              <c:f>china!$C$1</c:f>
              <c:strCache>
                <c:ptCount val="1"/>
                <c:pt idx="0">
                  <c:v>GPU</c:v>
                </c:pt>
              </c:strCache>
            </c:strRef>
          </c:tx>
          <c:spPr>
            <a:ln w="25400" cap="rnd" cmpd="sng" algn="ctr">
              <a:solidFill>
                <a:srgbClr val="5A5D5C"/>
              </a:solidFill>
              <a:prstDash val="solid"/>
              <a:round/>
              <a:headEnd type="none" w="med" len="med"/>
              <a:tailEnd type="none" w="med" len="med"/>
            </a:ln>
            <a:effectLst/>
          </c:spPr>
          <c:marker>
            <c:symbol val="none"/>
          </c:marker>
          <c:cat>
            <c:strRef>
              <c:f>china!$A$2:$A$9</c:f>
              <c:strCache>
                <c:ptCount val="8"/>
                <c:pt idx="0">
                  <c:v>2020</c:v>
                </c:pt>
                <c:pt idx="1">
                  <c:v>2021</c:v>
                </c:pt>
                <c:pt idx="2">
                  <c:v>2022</c:v>
                </c:pt>
                <c:pt idx="3">
                  <c:v>2023</c:v>
                </c:pt>
                <c:pt idx="4">
                  <c:v>2024</c:v>
                </c:pt>
                <c:pt idx="5">
                  <c:v>2025E</c:v>
                </c:pt>
                <c:pt idx="6">
                  <c:v>2026E</c:v>
                </c:pt>
                <c:pt idx="7">
                  <c:v>2027E</c:v>
                </c:pt>
              </c:strCache>
            </c:strRef>
          </c:cat>
          <c:val>
            <c:numRef>
              <c:f>china!$C$2:$C$9</c:f>
              <c:numCache>
                <c:formatCode>0%</c:formatCode>
                <c:ptCount val="8"/>
                <c:pt idx="0">
                  <c:v>0</c:v>
                </c:pt>
                <c:pt idx="1">
                  <c:v>0.11</c:v>
                </c:pt>
                <c:pt idx="2">
                  <c:v>0.2</c:v>
                </c:pt>
                <c:pt idx="3">
                  <c:v>0.24</c:v>
                </c:pt>
                <c:pt idx="4">
                  <c:v>0.34</c:v>
                </c:pt>
                <c:pt idx="5">
                  <c:v>0.27</c:v>
                </c:pt>
                <c:pt idx="6">
                  <c:v>0.39</c:v>
                </c:pt>
                <c:pt idx="7">
                  <c:v>0.5</c:v>
                </c:pt>
              </c:numCache>
            </c:numRef>
          </c:val>
          <c:smooth val="0"/>
          <c:extLst>
            <c:ext xmlns:c16="http://schemas.microsoft.com/office/drawing/2014/chart" uri="{C3380CC4-5D6E-409C-BE32-E72D297353CC}">
              <c16:uniqueId val="{00000001-715B-4E8F-91EF-090512A5C420}"/>
            </c:ext>
          </c:extLst>
        </c:ser>
        <c:ser>
          <c:idx val="2"/>
          <c:order val="2"/>
          <c:tx>
            <c:strRef>
              <c:f>china!$D$1</c:f>
              <c:strCache>
                <c:ptCount val="1"/>
                <c:pt idx="0">
                  <c:v>DRAM</c:v>
                </c:pt>
              </c:strCache>
            </c:strRef>
          </c:tx>
          <c:spPr>
            <a:ln w="25400" cap="rnd" cmpd="sng" algn="ctr">
              <a:solidFill>
                <a:srgbClr val="BD000C"/>
              </a:solidFill>
              <a:prstDash val="solid"/>
              <a:round/>
              <a:headEnd type="none" w="med" len="med"/>
              <a:tailEnd type="none" w="med" len="med"/>
            </a:ln>
            <a:effectLst/>
          </c:spPr>
          <c:marker>
            <c:symbol val="none"/>
          </c:marker>
          <c:cat>
            <c:strRef>
              <c:f>china!$A$2:$A$9</c:f>
              <c:strCache>
                <c:ptCount val="8"/>
                <c:pt idx="0">
                  <c:v>2020</c:v>
                </c:pt>
                <c:pt idx="1">
                  <c:v>2021</c:v>
                </c:pt>
                <c:pt idx="2">
                  <c:v>2022</c:v>
                </c:pt>
                <c:pt idx="3">
                  <c:v>2023</c:v>
                </c:pt>
                <c:pt idx="4">
                  <c:v>2024</c:v>
                </c:pt>
                <c:pt idx="5">
                  <c:v>2025E</c:v>
                </c:pt>
                <c:pt idx="6">
                  <c:v>2026E</c:v>
                </c:pt>
                <c:pt idx="7">
                  <c:v>2027E</c:v>
                </c:pt>
              </c:strCache>
            </c:strRef>
          </c:cat>
          <c:val>
            <c:numRef>
              <c:f>china!$D$2:$D$9</c:f>
              <c:numCache>
                <c:formatCode>0%</c:formatCode>
                <c:ptCount val="8"/>
                <c:pt idx="0">
                  <c:v>0.02</c:v>
                </c:pt>
                <c:pt idx="1">
                  <c:v>0.04</c:v>
                </c:pt>
                <c:pt idx="2">
                  <c:v>0.05</c:v>
                </c:pt>
                <c:pt idx="3">
                  <c:v>0.08</c:v>
                </c:pt>
                <c:pt idx="4">
                  <c:v>0.18</c:v>
                </c:pt>
                <c:pt idx="5">
                  <c:v>0.23</c:v>
                </c:pt>
                <c:pt idx="6">
                  <c:v>0.25</c:v>
                </c:pt>
                <c:pt idx="7">
                  <c:v>0.26</c:v>
                </c:pt>
              </c:numCache>
            </c:numRef>
          </c:val>
          <c:smooth val="0"/>
          <c:extLst>
            <c:ext xmlns:c16="http://schemas.microsoft.com/office/drawing/2014/chart" uri="{C3380CC4-5D6E-409C-BE32-E72D297353CC}">
              <c16:uniqueId val="{00000002-715B-4E8F-91EF-090512A5C420}"/>
            </c:ext>
          </c:extLst>
        </c:ser>
        <c:ser>
          <c:idx val="3"/>
          <c:order val="3"/>
          <c:tx>
            <c:strRef>
              <c:f>china!$E$1</c:f>
              <c:strCache>
                <c:ptCount val="1"/>
                <c:pt idx="0">
                  <c:v>NAND</c:v>
                </c:pt>
              </c:strCache>
            </c:strRef>
          </c:tx>
          <c:spPr>
            <a:ln w="25400" cap="rnd" cmpd="sng" algn="ctr">
              <a:solidFill>
                <a:srgbClr val="B98E2C"/>
              </a:solidFill>
              <a:prstDash val="solid"/>
              <a:round/>
              <a:headEnd type="none" w="med" len="med"/>
              <a:tailEnd type="none" w="med" len="med"/>
            </a:ln>
            <a:effectLst/>
          </c:spPr>
          <c:marker>
            <c:symbol val="none"/>
          </c:marker>
          <c:cat>
            <c:strRef>
              <c:f>china!$A$2:$A$9</c:f>
              <c:strCache>
                <c:ptCount val="8"/>
                <c:pt idx="0">
                  <c:v>2020</c:v>
                </c:pt>
                <c:pt idx="1">
                  <c:v>2021</c:v>
                </c:pt>
                <c:pt idx="2">
                  <c:v>2022</c:v>
                </c:pt>
                <c:pt idx="3">
                  <c:v>2023</c:v>
                </c:pt>
                <c:pt idx="4">
                  <c:v>2024</c:v>
                </c:pt>
                <c:pt idx="5">
                  <c:v>2025E</c:v>
                </c:pt>
                <c:pt idx="6">
                  <c:v>2026E</c:v>
                </c:pt>
                <c:pt idx="7">
                  <c:v>2027E</c:v>
                </c:pt>
              </c:strCache>
            </c:strRef>
          </c:cat>
          <c:val>
            <c:numRef>
              <c:f>china!$E$2:$E$9</c:f>
              <c:numCache>
                <c:formatCode>0%</c:formatCode>
                <c:ptCount val="8"/>
                <c:pt idx="0">
                  <c:v>0.04</c:v>
                </c:pt>
                <c:pt idx="1">
                  <c:v>0.12</c:v>
                </c:pt>
                <c:pt idx="2">
                  <c:v>0.22</c:v>
                </c:pt>
                <c:pt idx="3">
                  <c:v>0.19</c:v>
                </c:pt>
                <c:pt idx="4">
                  <c:v>0.27</c:v>
                </c:pt>
                <c:pt idx="5">
                  <c:v>0.43</c:v>
                </c:pt>
                <c:pt idx="6">
                  <c:v>0.47</c:v>
                </c:pt>
                <c:pt idx="7">
                  <c:v>0.48</c:v>
                </c:pt>
              </c:numCache>
            </c:numRef>
          </c:val>
          <c:smooth val="0"/>
          <c:extLst>
            <c:ext xmlns:c16="http://schemas.microsoft.com/office/drawing/2014/chart" uri="{C3380CC4-5D6E-409C-BE32-E72D297353CC}">
              <c16:uniqueId val="{00000003-715B-4E8F-91EF-090512A5C420}"/>
            </c:ext>
          </c:extLst>
        </c:ser>
        <c:dLbls>
          <c:showLegendKey val="0"/>
          <c:showVal val="0"/>
          <c:showCatName val="0"/>
          <c:showSerName val="0"/>
          <c:showPercent val="0"/>
          <c:showBubbleSize val="0"/>
        </c:dLbls>
        <c:smooth val="0"/>
        <c:axId val="1324806320"/>
        <c:axId val="1324810160"/>
      </c:lineChart>
      <c:catAx>
        <c:axId val="1324806320"/>
        <c:scaling>
          <c:orientation val="minMax"/>
        </c:scaling>
        <c:delete val="0"/>
        <c:axPos val="b"/>
        <c:numFmt formatCode="General" sourceLinked="1"/>
        <c:majorTickMark val="none"/>
        <c:minorTickMark val="none"/>
        <c:tickLblPos val="low"/>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crossAx val="1324810160"/>
        <c:crosses val="autoZero"/>
        <c:auto val="1"/>
        <c:lblAlgn val="ctr"/>
        <c:lblOffset val="100"/>
        <c:noMultiLvlLbl val="0"/>
      </c:catAx>
      <c:valAx>
        <c:axId val="132481016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crossAx val="1324806320"/>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Frutiger 45 Light" panose="020B0603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Frutiger 45 Light" panose="020B0603020202020204" pitchFamily="34" charset="0"/>
          <a:ea typeface="+mn-ea"/>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1124176082862532E-2"/>
          <c:y val="9.0421698872785825E-2"/>
          <c:w val="0.87999246704331435"/>
          <c:h val="0.72859138486312414"/>
        </c:manualLayout>
      </c:layout>
      <c:lineChart>
        <c:grouping val="standard"/>
        <c:varyColors val="0"/>
        <c:ser>
          <c:idx val="0"/>
          <c:order val="0"/>
          <c:tx>
            <c:strRef>
              <c:f>PMI!$N$8</c:f>
              <c:strCache>
                <c:ptCount val="1"/>
                <c:pt idx="0">
                  <c:v>US</c:v>
                </c:pt>
              </c:strCache>
            </c:strRef>
          </c:tx>
          <c:spPr>
            <a:ln w="25400">
              <a:solidFill>
                <a:srgbClr val="000000"/>
              </a:solidFill>
              <a:prstDash val="solid"/>
            </a:ln>
          </c:spPr>
          <c:marker>
            <c:symbol val="none"/>
          </c:marker>
          <c:cat>
            <c:numRef>
              <c:f>PMI!$M$9:$M$2000</c:f>
              <c:numCache>
                <c:formatCode>m/d/yyyy</c:formatCode>
                <c:ptCount val="1992"/>
                <c:pt idx="0">
                  <c:v>45016</c:v>
                </c:pt>
                <c:pt idx="1">
                  <c:v>45046</c:v>
                </c:pt>
                <c:pt idx="2">
                  <c:v>45077</c:v>
                </c:pt>
                <c:pt idx="3">
                  <c:v>45107</c:v>
                </c:pt>
                <c:pt idx="4">
                  <c:v>45138</c:v>
                </c:pt>
                <c:pt idx="5">
                  <c:v>45169</c:v>
                </c:pt>
                <c:pt idx="6">
                  <c:v>45199</c:v>
                </c:pt>
                <c:pt idx="7">
                  <c:v>45230</c:v>
                </c:pt>
                <c:pt idx="8">
                  <c:v>45260</c:v>
                </c:pt>
                <c:pt idx="9">
                  <c:v>45291</c:v>
                </c:pt>
                <c:pt idx="10">
                  <c:v>45322</c:v>
                </c:pt>
                <c:pt idx="11">
                  <c:v>45351</c:v>
                </c:pt>
                <c:pt idx="12">
                  <c:v>45382</c:v>
                </c:pt>
                <c:pt idx="13">
                  <c:v>45412</c:v>
                </c:pt>
                <c:pt idx="14">
                  <c:v>45443</c:v>
                </c:pt>
                <c:pt idx="15">
                  <c:v>45473</c:v>
                </c:pt>
                <c:pt idx="16">
                  <c:v>45504</c:v>
                </c:pt>
                <c:pt idx="17">
                  <c:v>45535</c:v>
                </c:pt>
                <c:pt idx="18">
                  <c:v>45565</c:v>
                </c:pt>
                <c:pt idx="19">
                  <c:v>45596</c:v>
                </c:pt>
                <c:pt idx="20">
                  <c:v>45626</c:v>
                </c:pt>
                <c:pt idx="21">
                  <c:v>45657</c:v>
                </c:pt>
                <c:pt idx="22">
                  <c:v>45688</c:v>
                </c:pt>
                <c:pt idx="23">
                  <c:v>45716</c:v>
                </c:pt>
                <c:pt idx="24">
                  <c:v>45747</c:v>
                </c:pt>
                <c:pt idx="25">
                  <c:v>45777</c:v>
                </c:pt>
                <c:pt idx="26">
                  <c:v>45808</c:v>
                </c:pt>
                <c:pt idx="27">
                  <c:v>45838</c:v>
                </c:pt>
                <c:pt idx="28">
                  <c:v>45869</c:v>
                </c:pt>
                <c:pt idx="29">
                  <c:v>45900</c:v>
                </c:pt>
                <c:pt idx="30">
                  <c:v>45930</c:v>
                </c:pt>
                <c:pt idx="31">
                  <c:v>45961</c:v>
                </c:pt>
                <c:pt idx="32">
                  <c:v>45991</c:v>
                </c:pt>
                <c:pt idx="33">
                  <c:v>46022</c:v>
                </c:pt>
                <c:pt idx="34">
                  <c:v>46053</c:v>
                </c:pt>
                <c:pt idx="35">
                  <c:v>46081</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cat>
          <c:val>
            <c:numRef>
              <c:f>PMI!$N$9:$N$2000</c:f>
              <c:numCache>
                <c:formatCode>General</c:formatCode>
                <c:ptCount val="1992"/>
                <c:pt idx="0">
                  <c:v>46.3</c:v>
                </c:pt>
                <c:pt idx="1">
                  <c:v>46.7</c:v>
                </c:pt>
                <c:pt idx="2">
                  <c:v>46.4</c:v>
                </c:pt>
                <c:pt idx="3">
                  <c:v>46.3</c:v>
                </c:pt>
                <c:pt idx="4">
                  <c:v>47</c:v>
                </c:pt>
                <c:pt idx="5">
                  <c:v>48</c:v>
                </c:pt>
                <c:pt idx="6">
                  <c:v>48.7</c:v>
                </c:pt>
                <c:pt idx="7">
                  <c:v>47.4</c:v>
                </c:pt>
                <c:pt idx="8">
                  <c:v>46.8</c:v>
                </c:pt>
                <c:pt idx="9">
                  <c:v>46.9</c:v>
                </c:pt>
                <c:pt idx="10">
                  <c:v>48.6</c:v>
                </c:pt>
                <c:pt idx="11">
                  <c:v>47.4</c:v>
                </c:pt>
                <c:pt idx="12">
                  <c:v>49.8</c:v>
                </c:pt>
                <c:pt idx="13">
                  <c:v>48.9</c:v>
                </c:pt>
                <c:pt idx="14">
                  <c:v>48.6</c:v>
                </c:pt>
                <c:pt idx="15">
                  <c:v>48.3</c:v>
                </c:pt>
                <c:pt idx="16">
                  <c:v>47.4</c:v>
                </c:pt>
                <c:pt idx="17">
                  <c:v>47.7</c:v>
                </c:pt>
                <c:pt idx="18">
                  <c:v>47.3</c:v>
                </c:pt>
                <c:pt idx="19">
                  <c:v>47</c:v>
                </c:pt>
                <c:pt idx="20">
                  <c:v>48.4</c:v>
                </c:pt>
                <c:pt idx="21">
                  <c:v>49.2</c:v>
                </c:pt>
                <c:pt idx="22">
                  <c:v>50.5</c:v>
                </c:pt>
                <c:pt idx="23">
                  <c:v>50</c:v>
                </c:pt>
                <c:pt idx="24">
                  <c:v>48.9</c:v>
                </c:pt>
                <c:pt idx="25">
                  <c:v>48.8</c:v>
                </c:pt>
                <c:pt idx="26">
                  <c:v>48.6</c:v>
                </c:pt>
                <c:pt idx="27">
                  <c:v>49</c:v>
                </c:pt>
                <c:pt idx="28">
                  <c:v>48.4</c:v>
                </c:pt>
                <c:pt idx="29">
                  <c:v>48.9</c:v>
                </c:pt>
                <c:pt idx="30">
                  <c:v>48.9</c:v>
                </c:pt>
                <c:pt idx="31">
                  <c:v>48.8</c:v>
                </c:pt>
                <c:pt idx="32">
                  <c:v>48</c:v>
                </c:pt>
                <c:pt idx="33">
                  <c:v>47.9</c:v>
                </c:pt>
                <c:pt idx="34">
                  <c:v>52.6</c:v>
                </c:pt>
                <c:pt idx="35">
                  <c:v>52.4</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0-00EA-4D10-919C-3A210D383A2F}"/>
            </c:ext>
          </c:extLst>
        </c:ser>
        <c:ser>
          <c:idx val="1"/>
          <c:order val="1"/>
          <c:tx>
            <c:strRef>
              <c:f>PMI!$O$8</c:f>
              <c:strCache>
                <c:ptCount val="1"/>
                <c:pt idx="0">
                  <c:v>Europe</c:v>
                </c:pt>
              </c:strCache>
            </c:strRef>
          </c:tx>
          <c:spPr>
            <a:ln w="25400">
              <a:solidFill>
                <a:srgbClr val="C00000"/>
              </a:solidFill>
            </a:ln>
          </c:spPr>
          <c:marker>
            <c:symbol val="none"/>
          </c:marker>
          <c:cat>
            <c:numRef>
              <c:f>PMI!$M$9:$M$5000</c:f>
              <c:numCache>
                <c:formatCode>m/d/yyyy</c:formatCode>
                <c:ptCount val="4992"/>
                <c:pt idx="0">
                  <c:v>45016</c:v>
                </c:pt>
                <c:pt idx="1">
                  <c:v>45046</c:v>
                </c:pt>
                <c:pt idx="2">
                  <c:v>45077</c:v>
                </c:pt>
                <c:pt idx="3">
                  <c:v>45107</c:v>
                </c:pt>
                <c:pt idx="4">
                  <c:v>45138</c:v>
                </c:pt>
                <c:pt idx="5">
                  <c:v>45169</c:v>
                </c:pt>
                <c:pt idx="6">
                  <c:v>45199</c:v>
                </c:pt>
                <c:pt idx="7">
                  <c:v>45230</c:v>
                </c:pt>
                <c:pt idx="8">
                  <c:v>45260</c:v>
                </c:pt>
                <c:pt idx="9">
                  <c:v>45291</c:v>
                </c:pt>
                <c:pt idx="10">
                  <c:v>45322</c:v>
                </c:pt>
                <c:pt idx="11">
                  <c:v>45351</c:v>
                </c:pt>
                <c:pt idx="12">
                  <c:v>45382</c:v>
                </c:pt>
                <c:pt idx="13">
                  <c:v>45412</c:v>
                </c:pt>
                <c:pt idx="14">
                  <c:v>45443</c:v>
                </c:pt>
                <c:pt idx="15">
                  <c:v>45473</c:v>
                </c:pt>
                <c:pt idx="16">
                  <c:v>45504</c:v>
                </c:pt>
                <c:pt idx="17">
                  <c:v>45535</c:v>
                </c:pt>
                <c:pt idx="18">
                  <c:v>45565</c:v>
                </c:pt>
                <c:pt idx="19">
                  <c:v>45596</c:v>
                </c:pt>
                <c:pt idx="20">
                  <c:v>45626</c:v>
                </c:pt>
                <c:pt idx="21">
                  <c:v>45657</c:v>
                </c:pt>
                <c:pt idx="22">
                  <c:v>45688</c:v>
                </c:pt>
                <c:pt idx="23">
                  <c:v>45716</c:v>
                </c:pt>
                <c:pt idx="24">
                  <c:v>45747</c:v>
                </c:pt>
                <c:pt idx="25">
                  <c:v>45777</c:v>
                </c:pt>
                <c:pt idx="26">
                  <c:v>45808</c:v>
                </c:pt>
                <c:pt idx="27">
                  <c:v>45838</c:v>
                </c:pt>
                <c:pt idx="28">
                  <c:v>45869</c:v>
                </c:pt>
                <c:pt idx="29">
                  <c:v>45900</c:v>
                </c:pt>
                <c:pt idx="30">
                  <c:v>45930</c:v>
                </c:pt>
                <c:pt idx="31">
                  <c:v>45961</c:v>
                </c:pt>
                <c:pt idx="32">
                  <c:v>45991</c:v>
                </c:pt>
                <c:pt idx="33">
                  <c:v>46022</c:v>
                </c:pt>
                <c:pt idx="34">
                  <c:v>46053</c:v>
                </c:pt>
                <c:pt idx="35">
                  <c:v>46081</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cat>
          <c:val>
            <c:numRef>
              <c:f>PMI!$O$9:$O$2000</c:f>
              <c:numCache>
                <c:formatCode>General</c:formatCode>
                <c:ptCount val="1992"/>
                <c:pt idx="0">
                  <c:v>47.3</c:v>
                </c:pt>
                <c:pt idx="1">
                  <c:v>45.8</c:v>
                </c:pt>
                <c:pt idx="2">
                  <c:v>44.8</c:v>
                </c:pt>
                <c:pt idx="3">
                  <c:v>43.4</c:v>
                </c:pt>
                <c:pt idx="4">
                  <c:v>42.7</c:v>
                </c:pt>
                <c:pt idx="5">
                  <c:v>43.5</c:v>
                </c:pt>
                <c:pt idx="6">
                  <c:v>43.4</c:v>
                </c:pt>
                <c:pt idx="7">
                  <c:v>43.1</c:v>
                </c:pt>
                <c:pt idx="8">
                  <c:v>44.2</c:v>
                </c:pt>
                <c:pt idx="9">
                  <c:v>44.4</c:v>
                </c:pt>
                <c:pt idx="10">
                  <c:v>46.6</c:v>
                </c:pt>
                <c:pt idx="11">
                  <c:v>46.5</c:v>
                </c:pt>
                <c:pt idx="12">
                  <c:v>46.1</c:v>
                </c:pt>
                <c:pt idx="13">
                  <c:v>45.7</c:v>
                </c:pt>
                <c:pt idx="14">
                  <c:v>47.3</c:v>
                </c:pt>
                <c:pt idx="15">
                  <c:v>45.8</c:v>
                </c:pt>
                <c:pt idx="16">
                  <c:v>45.8</c:v>
                </c:pt>
                <c:pt idx="17">
                  <c:v>45.8</c:v>
                </c:pt>
                <c:pt idx="18">
                  <c:v>45</c:v>
                </c:pt>
                <c:pt idx="19">
                  <c:v>46</c:v>
                </c:pt>
                <c:pt idx="20">
                  <c:v>45.2</c:v>
                </c:pt>
                <c:pt idx="21">
                  <c:v>45.1</c:v>
                </c:pt>
                <c:pt idx="22">
                  <c:v>46.6</c:v>
                </c:pt>
                <c:pt idx="23">
                  <c:v>47.6</c:v>
                </c:pt>
                <c:pt idx="24">
                  <c:v>48.6</c:v>
                </c:pt>
                <c:pt idx="25">
                  <c:v>49</c:v>
                </c:pt>
                <c:pt idx="26">
                  <c:v>49.4</c:v>
                </c:pt>
                <c:pt idx="27">
                  <c:v>49.5</c:v>
                </c:pt>
                <c:pt idx="28">
                  <c:v>49.8</c:v>
                </c:pt>
                <c:pt idx="29">
                  <c:v>50.7</c:v>
                </c:pt>
                <c:pt idx="30">
                  <c:v>49.8</c:v>
                </c:pt>
                <c:pt idx="31">
                  <c:v>50</c:v>
                </c:pt>
                <c:pt idx="32">
                  <c:v>49.6</c:v>
                </c:pt>
                <c:pt idx="33">
                  <c:v>48.8</c:v>
                </c:pt>
                <c:pt idx="34">
                  <c:v>49.5</c:v>
                </c:pt>
                <c:pt idx="35">
                  <c:v>50.8</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1-00EA-4D10-919C-3A210D383A2F}"/>
            </c:ext>
          </c:extLst>
        </c:ser>
        <c:ser>
          <c:idx val="2"/>
          <c:order val="2"/>
          <c:tx>
            <c:strRef>
              <c:f>PMI!$P$8</c:f>
              <c:strCache>
                <c:ptCount val="1"/>
                <c:pt idx="0">
                  <c:v>China</c:v>
                </c:pt>
              </c:strCache>
            </c:strRef>
          </c:tx>
          <c:spPr>
            <a:ln w="25400">
              <a:solidFill>
                <a:schemeClr val="bg1">
                  <a:lumMod val="65000"/>
                </a:schemeClr>
              </a:solidFill>
              <a:prstDash val="solid"/>
            </a:ln>
          </c:spPr>
          <c:marker>
            <c:symbol val="none"/>
          </c:marker>
          <c:cat>
            <c:numRef>
              <c:f>PMI!$M$9:$M$2000</c:f>
              <c:numCache>
                <c:formatCode>m/d/yyyy</c:formatCode>
                <c:ptCount val="1992"/>
                <c:pt idx="0">
                  <c:v>45016</c:v>
                </c:pt>
                <c:pt idx="1">
                  <c:v>45046</c:v>
                </c:pt>
                <c:pt idx="2">
                  <c:v>45077</c:v>
                </c:pt>
                <c:pt idx="3">
                  <c:v>45107</c:v>
                </c:pt>
                <c:pt idx="4">
                  <c:v>45138</c:v>
                </c:pt>
                <c:pt idx="5">
                  <c:v>45169</c:v>
                </c:pt>
                <c:pt idx="6">
                  <c:v>45199</c:v>
                </c:pt>
                <c:pt idx="7">
                  <c:v>45230</c:v>
                </c:pt>
                <c:pt idx="8">
                  <c:v>45260</c:v>
                </c:pt>
                <c:pt idx="9">
                  <c:v>45291</c:v>
                </c:pt>
                <c:pt idx="10">
                  <c:v>45322</c:v>
                </c:pt>
                <c:pt idx="11">
                  <c:v>45351</c:v>
                </c:pt>
                <c:pt idx="12">
                  <c:v>45382</c:v>
                </c:pt>
                <c:pt idx="13">
                  <c:v>45412</c:v>
                </c:pt>
                <c:pt idx="14">
                  <c:v>45443</c:v>
                </c:pt>
                <c:pt idx="15">
                  <c:v>45473</c:v>
                </c:pt>
                <c:pt idx="16">
                  <c:v>45504</c:v>
                </c:pt>
                <c:pt idx="17">
                  <c:v>45535</c:v>
                </c:pt>
                <c:pt idx="18">
                  <c:v>45565</c:v>
                </c:pt>
                <c:pt idx="19">
                  <c:v>45596</c:v>
                </c:pt>
                <c:pt idx="20">
                  <c:v>45626</c:v>
                </c:pt>
                <c:pt idx="21">
                  <c:v>45657</c:v>
                </c:pt>
                <c:pt idx="22">
                  <c:v>45688</c:v>
                </c:pt>
                <c:pt idx="23">
                  <c:v>45716</c:v>
                </c:pt>
                <c:pt idx="24">
                  <c:v>45747</c:v>
                </c:pt>
                <c:pt idx="25">
                  <c:v>45777</c:v>
                </c:pt>
                <c:pt idx="26">
                  <c:v>45808</c:v>
                </c:pt>
                <c:pt idx="27">
                  <c:v>45838</c:v>
                </c:pt>
                <c:pt idx="28">
                  <c:v>45869</c:v>
                </c:pt>
                <c:pt idx="29">
                  <c:v>45900</c:v>
                </c:pt>
                <c:pt idx="30">
                  <c:v>45930</c:v>
                </c:pt>
                <c:pt idx="31">
                  <c:v>45961</c:v>
                </c:pt>
                <c:pt idx="32">
                  <c:v>45991</c:v>
                </c:pt>
                <c:pt idx="33">
                  <c:v>46022</c:v>
                </c:pt>
                <c:pt idx="34">
                  <c:v>46053</c:v>
                </c:pt>
                <c:pt idx="35">
                  <c:v>46081</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cat>
          <c:val>
            <c:numRef>
              <c:f>PMI!$P$9:$P$2000</c:f>
              <c:numCache>
                <c:formatCode>General</c:formatCode>
                <c:ptCount val="1992"/>
                <c:pt idx="0">
                  <c:v>51.9</c:v>
                </c:pt>
                <c:pt idx="1">
                  <c:v>49.2</c:v>
                </c:pt>
                <c:pt idx="2">
                  <c:v>48.8</c:v>
                </c:pt>
                <c:pt idx="3">
                  <c:v>49</c:v>
                </c:pt>
                <c:pt idx="4">
                  <c:v>49.3</c:v>
                </c:pt>
                <c:pt idx="5">
                  <c:v>49.7</c:v>
                </c:pt>
                <c:pt idx="6">
                  <c:v>50.2</c:v>
                </c:pt>
                <c:pt idx="7">
                  <c:v>49.5</c:v>
                </c:pt>
                <c:pt idx="8">
                  <c:v>49.4</c:v>
                </c:pt>
                <c:pt idx="9">
                  <c:v>49</c:v>
                </c:pt>
                <c:pt idx="10">
                  <c:v>49.2</c:v>
                </c:pt>
                <c:pt idx="11">
                  <c:v>49.1</c:v>
                </c:pt>
                <c:pt idx="12">
                  <c:v>50.8</c:v>
                </c:pt>
                <c:pt idx="13">
                  <c:v>50.4</c:v>
                </c:pt>
                <c:pt idx="14">
                  <c:v>49.5</c:v>
                </c:pt>
                <c:pt idx="15">
                  <c:v>49.5</c:v>
                </c:pt>
                <c:pt idx="16">
                  <c:v>49.4</c:v>
                </c:pt>
                <c:pt idx="17">
                  <c:v>49.1</c:v>
                </c:pt>
                <c:pt idx="18">
                  <c:v>49.8</c:v>
                </c:pt>
                <c:pt idx="19">
                  <c:v>50.1</c:v>
                </c:pt>
                <c:pt idx="20">
                  <c:v>50.3</c:v>
                </c:pt>
                <c:pt idx="21">
                  <c:v>50.1</c:v>
                </c:pt>
                <c:pt idx="22">
                  <c:v>49.1</c:v>
                </c:pt>
                <c:pt idx="23">
                  <c:v>50.2</c:v>
                </c:pt>
                <c:pt idx="24">
                  <c:v>50.5</c:v>
                </c:pt>
                <c:pt idx="25">
                  <c:v>49</c:v>
                </c:pt>
                <c:pt idx="26">
                  <c:v>49.5</c:v>
                </c:pt>
                <c:pt idx="27">
                  <c:v>49.7</c:v>
                </c:pt>
                <c:pt idx="28">
                  <c:v>49.3</c:v>
                </c:pt>
                <c:pt idx="29">
                  <c:v>49.4</c:v>
                </c:pt>
                <c:pt idx="30">
                  <c:v>49.8</c:v>
                </c:pt>
                <c:pt idx="31">
                  <c:v>49</c:v>
                </c:pt>
                <c:pt idx="32">
                  <c:v>49.2</c:v>
                </c:pt>
                <c:pt idx="33">
                  <c:v>50.1</c:v>
                </c:pt>
                <c:pt idx="34">
                  <c:v>49.3</c:v>
                </c:pt>
                <c:pt idx="35">
                  <c:v>49</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2-00EA-4D10-919C-3A210D383A2F}"/>
            </c:ext>
          </c:extLst>
        </c:ser>
        <c:ser>
          <c:idx val="3"/>
          <c:order val="3"/>
          <c:tx>
            <c:strRef>
              <c:f>PMI!$Q$8</c:f>
              <c:strCache>
                <c:ptCount val="1"/>
                <c:pt idx="0">
                  <c:v>BoJ</c:v>
                </c:pt>
              </c:strCache>
            </c:strRef>
          </c:tx>
          <c:spPr>
            <a:ln w="25400">
              <a:solidFill>
                <a:schemeClr val="accent1">
                  <a:lumMod val="40000"/>
                  <a:lumOff val="60000"/>
                </a:schemeClr>
              </a:solidFill>
              <a:prstDash val="solid"/>
            </a:ln>
          </c:spPr>
          <c:marker>
            <c:symbol val="none"/>
          </c:marker>
          <c:cat>
            <c:numRef>
              <c:f>PMI!$M$9:$M$2000</c:f>
              <c:numCache>
                <c:formatCode>m/d/yyyy</c:formatCode>
                <c:ptCount val="1992"/>
                <c:pt idx="0">
                  <c:v>45016</c:v>
                </c:pt>
                <c:pt idx="1">
                  <c:v>45046</c:v>
                </c:pt>
                <c:pt idx="2">
                  <c:v>45077</c:v>
                </c:pt>
                <c:pt idx="3">
                  <c:v>45107</c:v>
                </c:pt>
                <c:pt idx="4">
                  <c:v>45138</c:v>
                </c:pt>
                <c:pt idx="5">
                  <c:v>45169</c:v>
                </c:pt>
                <c:pt idx="6">
                  <c:v>45199</c:v>
                </c:pt>
                <c:pt idx="7">
                  <c:v>45230</c:v>
                </c:pt>
                <c:pt idx="8">
                  <c:v>45260</c:v>
                </c:pt>
                <c:pt idx="9">
                  <c:v>45291</c:v>
                </c:pt>
                <c:pt idx="10">
                  <c:v>45322</c:v>
                </c:pt>
                <c:pt idx="11">
                  <c:v>45351</c:v>
                </c:pt>
                <c:pt idx="12">
                  <c:v>45382</c:v>
                </c:pt>
                <c:pt idx="13">
                  <c:v>45412</c:v>
                </c:pt>
                <c:pt idx="14">
                  <c:v>45443</c:v>
                </c:pt>
                <c:pt idx="15">
                  <c:v>45473</c:v>
                </c:pt>
                <c:pt idx="16">
                  <c:v>45504</c:v>
                </c:pt>
                <c:pt idx="17">
                  <c:v>45535</c:v>
                </c:pt>
                <c:pt idx="18">
                  <c:v>45565</c:v>
                </c:pt>
                <c:pt idx="19">
                  <c:v>45596</c:v>
                </c:pt>
                <c:pt idx="20">
                  <c:v>45626</c:v>
                </c:pt>
                <c:pt idx="21">
                  <c:v>45657</c:v>
                </c:pt>
                <c:pt idx="22">
                  <c:v>45688</c:v>
                </c:pt>
                <c:pt idx="23">
                  <c:v>45716</c:v>
                </c:pt>
                <c:pt idx="24">
                  <c:v>45747</c:v>
                </c:pt>
                <c:pt idx="25">
                  <c:v>45777</c:v>
                </c:pt>
                <c:pt idx="26">
                  <c:v>45808</c:v>
                </c:pt>
                <c:pt idx="27">
                  <c:v>45838</c:v>
                </c:pt>
                <c:pt idx="28">
                  <c:v>45869</c:v>
                </c:pt>
                <c:pt idx="29">
                  <c:v>45900</c:v>
                </c:pt>
                <c:pt idx="30">
                  <c:v>45930</c:v>
                </c:pt>
                <c:pt idx="31">
                  <c:v>45961</c:v>
                </c:pt>
                <c:pt idx="32">
                  <c:v>45991</c:v>
                </c:pt>
                <c:pt idx="33">
                  <c:v>46022</c:v>
                </c:pt>
                <c:pt idx="34">
                  <c:v>46053</c:v>
                </c:pt>
                <c:pt idx="35">
                  <c:v>46081</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cat>
          <c:val>
            <c:numRef>
              <c:f>PMI!$Q$9:$Q$2000</c:f>
              <c:numCache>
                <c:formatCode>General</c:formatCode>
                <c:ptCount val="1992"/>
                <c:pt idx="0">
                  <c:v>-0.1</c:v>
                </c:pt>
                <c:pt idx="1">
                  <c:v>-0.1</c:v>
                </c:pt>
                <c:pt idx="2">
                  <c:v>-0.1</c:v>
                </c:pt>
                <c:pt idx="3">
                  <c:v>-0.1</c:v>
                </c:pt>
                <c:pt idx="4">
                  <c:v>-0.1</c:v>
                </c:pt>
                <c:pt idx="5">
                  <c:v>-0.1</c:v>
                </c:pt>
                <c:pt idx="6">
                  <c:v>-0.1</c:v>
                </c:pt>
                <c:pt idx="7">
                  <c:v>-0.1</c:v>
                </c:pt>
                <c:pt idx="8">
                  <c:v>-0.1</c:v>
                </c:pt>
                <c:pt idx="9">
                  <c:v>-0.1</c:v>
                </c:pt>
                <c:pt idx="10">
                  <c:v>-0.1</c:v>
                </c:pt>
                <c:pt idx="11">
                  <c:v>-0.1</c:v>
                </c:pt>
                <c:pt idx="12">
                  <c:v>0.1</c:v>
                </c:pt>
                <c:pt idx="13">
                  <c:v>0.1</c:v>
                </c:pt>
                <c:pt idx="14">
                  <c:v>0.1</c:v>
                </c:pt>
                <c:pt idx="15">
                  <c:v>0.1</c:v>
                </c:pt>
                <c:pt idx="16">
                  <c:v>0.25</c:v>
                </c:pt>
                <c:pt idx="17">
                  <c:v>0.25</c:v>
                </c:pt>
                <c:pt idx="18">
                  <c:v>0.25</c:v>
                </c:pt>
                <c:pt idx="19">
                  <c:v>0.25</c:v>
                </c:pt>
                <c:pt idx="20">
                  <c:v>0.25</c:v>
                </c:pt>
                <c:pt idx="21">
                  <c:v>0.25</c:v>
                </c:pt>
                <c:pt idx="22">
                  <c:v>0.5</c:v>
                </c:pt>
                <c:pt idx="23">
                  <c:v>0.5</c:v>
                </c:pt>
                <c:pt idx="24">
                  <c:v>0.5</c:v>
                </c:pt>
                <c:pt idx="25">
                  <c:v>0.5</c:v>
                </c:pt>
                <c:pt idx="26">
                  <c:v>0.5</c:v>
                </c:pt>
                <c:pt idx="27">
                  <c:v>0.5</c:v>
                </c:pt>
                <c:pt idx="28">
                  <c:v>0.5</c:v>
                </c:pt>
                <c:pt idx="29">
                  <c:v>0.5</c:v>
                </c:pt>
                <c:pt idx="30">
                  <c:v>0.5</c:v>
                </c:pt>
                <c:pt idx="31">
                  <c:v>0.5</c:v>
                </c:pt>
                <c:pt idx="32">
                  <c:v>0.5</c:v>
                </c:pt>
                <c:pt idx="33">
                  <c:v>0.75</c:v>
                </c:pt>
                <c:pt idx="34">
                  <c:v>0.75</c:v>
                </c:pt>
                <c:pt idx="35">
                  <c:v>0.75</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N/A</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N/A</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N/A</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N/A</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N/A</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N/A</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N/A</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N/A</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N/A</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N/A</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N/A</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N/A</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N/A</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N/A</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N/A</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N/A</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N/A</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N/A</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N/A</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N/A</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N/A</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N/A</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N/A</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N/A</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N/A</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N/A</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N/A</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N/A</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N/A</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N/A</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N/A</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N/A</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N/A</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N/A</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N/A</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N/A</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N/A</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N/A</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N/A</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N/A</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N/A</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N/A</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N/A</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N/A</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N/A</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N/A</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N/A</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N/A</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N/A</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N/A</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N/A</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N/A</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N/A</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N/A</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N/A</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N/A</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N/A</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N/A</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N/A</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N/A</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N/A</c:v>
                </c:pt>
                <c:pt idx="1983">
                  <c:v>#N/A</c:v>
                </c:pt>
                <c:pt idx="1984">
                  <c:v>#N/A</c:v>
                </c:pt>
                <c:pt idx="1985">
                  <c:v>#N/A</c:v>
                </c:pt>
                <c:pt idx="1986">
                  <c:v>#N/A</c:v>
                </c:pt>
                <c:pt idx="1987">
                  <c:v>#N/A</c:v>
                </c:pt>
                <c:pt idx="1988">
                  <c:v>#N/A</c:v>
                </c:pt>
                <c:pt idx="1989">
                  <c:v>#N/A</c:v>
                </c:pt>
                <c:pt idx="1990">
                  <c:v>#N/A</c:v>
                </c:pt>
                <c:pt idx="1991">
                  <c:v>#N/A</c:v>
                </c:pt>
              </c:numCache>
            </c:numRef>
          </c:val>
          <c:smooth val="0"/>
          <c:extLst>
            <c:ext xmlns:c16="http://schemas.microsoft.com/office/drawing/2014/chart" uri="{C3380CC4-5D6E-409C-BE32-E72D297353CC}">
              <c16:uniqueId val="{00000003-00EA-4D10-919C-3A210D383A2F}"/>
            </c:ext>
          </c:extLst>
        </c:ser>
        <c:dLbls>
          <c:showLegendKey val="0"/>
          <c:showVal val="0"/>
          <c:showCatName val="0"/>
          <c:showSerName val="0"/>
          <c:showPercent val="0"/>
          <c:showBubbleSize val="0"/>
        </c:dLbls>
        <c:smooth val="0"/>
        <c:axId val="922392832"/>
        <c:axId val="923154688"/>
      </c:lineChart>
      <c:dateAx>
        <c:axId val="922392832"/>
        <c:scaling>
          <c:orientation val="minMax"/>
        </c:scaling>
        <c:delete val="0"/>
        <c:axPos val="b"/>
        <c:numFmt formatCode="[$-409]\ mmm\ yy" sourceLinked="0"/>
        <c:majorTickMark val="out"/>
        <c:minorTickMark val="none"/>
        <c:tickLblPos val="low"/>
        <c:spPr>
          <a:ln w="12700">
            <a:noFill/>
            <a:prstDash val="solid"/>
          </a:ln>
          <a:effectLst/>
        </c:spPr>
        <c:txPr>
          <a:bodyPr rot="0" vert="horz"/>
          <a:lstStyle/>
          <a:p>
            <a:pPr>
              <a:defRPr/>
            </a:pPr>
            <a:endParaRPr lang="en-US"/>
          </a:p>
        </c:txPr>
        <c:crossAx val="923154688"/>
        <c:crossesAt val="0"/>
        <c:auto val="1"/>
        <c:lblOffset val="100"/>
        <c:baseTimeUnit val="days"/>
        <c:majorUnit val="6"/>
        <c:majorTimeUnit val="months"/>
        <c:minorUnit val="6"/>
        <c:minorTimeUnit val="months"/>
      </c:dateAx>
      <c:valAx>
        <c:axId val="923154688"/>
        <c:scaling>
          <c:orientation val="minMax"/>
          <c:min val="42"/>
        </c:scaling>
        <c:delete val="0"/>
        <c:axPos val="l"/>
        <c:majorGridlines>
          <c:spPr>
            <a:ln w="3175">
              <a:solidFill>
                <a:srgbClr val="A8A8A8"/>
              </a:solidFill>
              <a:prstDash val="solid"/>
            </a:ln>
          </c:spPr>
        </c:majorGridlines>
        <c:numFmt formatCode="General" sourceLinked="1"/>
        <c:majorTickMark val="none"/>
        <c:minorTickMark val="none"/>
        <c:tickLblPos val="low"/>
        <c:spPr>
          <a:ln w="25400">
            <a:noFill/>
          </a:ln>
          <a:effectLst/>
        </c:spPr>
        <c:txPr>
          <a:bodyPr rot="0" vert="horz"/>
          <a:lstStyle/>
          <a:p>
            <a:pPr>
              <a:defRPr/>
            </a:pPr>
            <a:endParaRPr lang="en-US"/>
          </a:p>
        </c:txPr>
        <c:crossAx val="922392832"/>
        <c:crossesAt val="43466"/>
        <c:crossBetween val="between"/>
      </c:valAx>
    </c:plotArea>
    <c:legend>
      <c:legendPos val="b"/>
      <c:legendEntry>
        <c:idx val="3"/>
        <c:delete val="1"/>
      </c:legendEntry>
      <c:layout>
        <c:manualLayout>
          <c:xMode val="edge"/>
          <c:yMode val="edge"/>
          <c:x val="3.7924528301886791E-3"/>
          <c:y val="0.92687773403324569"/>
          <c:w val="0.97745780922431869"/>
          <c:h val="4.6719524262552568E-2"/>
        </c:manualLayout>
      </c:layout>
      <c:overlay val="0"/>
    </c:legend>
    <c:plotVisOnly val="1"/>
    <c:dispBlanksAs val="gap"/>
    <c:showDLblsOverMax val="0"/>
  </c:chart>
  <c:spPr>
    <a:ln>
      <a:noFill/>
    </a:ln>
  </c:spPr>
  <c:txPr>
    <a:bodyPr/>
    <a:lstStyle/>
    <a:p>
      <a:pPr>
        <a:defRPr sz="1200" b="0">
          <a:latin typeface="Frutiger 45 Light (Headings)"/>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747103504309345"/>
          <c:y val="3.8035447555827384E-2"/>
          <c:w val="0.86763222760572334"/>
          <c:h val="0.77485390561460732"/>
        </c:manualLayout>
      </c:layout>
      <c:barChart>
        <c:barDir val="col"/>
        <c:grouping val="clustered"/>
        <c:varyColors val="0"/>
        <c:ser>
          <c:idx val="2"/>
          <c:order val="2"/>
          <c:tx>
            <c:strRef>
              <c:f>Tables!$E$64:$E$65</c:f>
              <c:strCache>
                <c:ptCount val="2"/>
                <c:pt idx="0">
                  <c:v>2025</c:v>
                </c:pt>
                <c:pt idx="1">
                  <c:v>CIO</c:v>
                </c:pt>
              </c:strCache>
            </c:strRef>
          </c:tx>
          <c:spPr>
            <a:solidFill>
              <a:srgbClr val="8E8D83"/>
            </a:solidFill>
            <a:ln>
              <a:noFill/>
            </a:ln>
            <a:effectLst/>
          </c:spPr>
          <c:invertIfNegative val="0"/>
          <c:cat>
            <c:strRef>
              <c:f>Tables!$B$66:$B$74</c:f>
              <c:strCache>
                <c:ptCount val="9"/>
                <c:pt idx="0">
                  <c:v>AC World</c:v>
                </c:pt>
                <c:pt idx="1">
                  <c:v>US</c:v>
                </c:pt>
                <c:pt idx="2">
                  <c:v>EMU</c:v>
                </c:pt>
                <c:pt idx="3">
                  <c:v>UK</c:v>
                </c:pt>
                <c:pt idx="4">
                  <c:v>Switzerland</c:v>
                </c:pt>
                <c:pt idx="5">
                  <c:v>Japan</c:v>
                </c:pt>
                <c:pt idx="6">
                  <c:v>AxJ$</c:v>
                </c:pt>
                <c:pt idx="7">
                  <c:v>China</c:v>
                </c:pt>
                <c:pt idx="8">
                  <c:v>EM$</c:v>
                </c:pt>
              </c:strCache>
              <c:extLst/>
            </c:strRef>
          </c:cat>
          <c:val>
            <c:numRef>
              <c:f>Tables!$E$66:$E$74</c:f>
              <c:numCache>
                <c:formatCode>0.0%</c:formatCode>
                <c:ptCount val="9"/>
                <c:pt idx="0">
                  <c:v>9.087058429801767E-2</c:v>
                </c:pt>
                <c:pt idx="1">
                  <c:v>0.1080000000000001</c:v>
                </c:pt>
                <c:pt idx="2">
                  <c:v>-2.6033690658499253E-2</c:v>
                </c:pt>
                <c:pt idx="3">
                  <c:v>6.2208398133748011E-2</c:v>
                </c:pt>
                <c:pt idx="4">
                  <c:v>3.9002932551319702E-2</c:v>
                </c:pt>
                <c:pt idx="5">
                  <c:v>5.9717698154180265E-2</c:v>
                </c:pt>
                <c:pt idx="6">
                  <c:v>7.4999999999999956E-2</c:v>
                </c:pt>
                <c:pt idx="7">
                  <c:v>2.3000000000000131E-2</c:v>
                </c:pt>
                <c:pt idx="8">
                  <c:v>0.13121019108280252</c:v>
                </c:pt>
              </c:numCache>
              <c:extLst/>
            </c:numRef>
          </c:val>
          <c:extLst xmlns:c15="http://schemas.microsoft.com/office/drawing/2012/chart">
            <c:ext xmlns:c16="http://schemas.microsoft.com/office/drawing/2014/chart" uri="{C3380CC4-5D6E-409C-BE32-E72D297353CC}">
              <c16:uniqueId val="{00000000-53F9-485B-9708-2115618F4839}"/>
            </c:ext>
          </c:extLst>
        </c:ser>
        <c:ser>
          <c:idx val="4"/>
          <c:order val="4"/>
          <c:tx>
            <c:strRef>
              <c:f>Tables!$G$64:$G$65</c:f>
              <c:strCache>
                <c:ptCount val="2"/>
                <c:pt idx="0">
                  <c:v>2026</c:v>
                </c:pt>
                <c:pt idx="1">
                  <c:v>CIO</c:v>
                </c:pt>
              </c:strCache>
              <c:extLst xmlns:c15="http://schemas.microsoft.com/office/drawing/2012/chart"/>
            </c:strRef>
          </c:tx>
          <c:spPr>
            <a:solidFill>
              <a:srgbClr val="BD000C"/>
            </a:solidFill>
            <a:ln>
              <a:noFill/>
            </a:ln>
            <a:effectLst/>
          </c:spPr>
          <c:invertIfNegative val="0"/>
          <c:cat>
            <c:strRef>
              <c:f>Tables!$B$66:$B$74</c:f>
              <c:strCache>
                <c:ptCount val="9"/>
                <c:pt idx="0">
                  <c:v>AC World</c:v>
                </c:pt>
                <c:pt idx="1">
                  <c:v>US</c:v>
                </c:pt>
                <c:pt idx="2">
                  <c:v>EMU</c:v>
                </c:pt>
                <c:pt idx="3">
                  <c:v>UK</c:v>
                </c:pt>
                <c:pt idx="4">
                  <c:v>Switzerland</c:v>
                </c:pt>
                <c:pt idx="5">
                  <c:v>Japan</c:v>
                </c:pt>
                <c:pt idx="6">
                  <c:v>AxJ$</c:v>
                </c:pt>
                <c:pt idx="7">
                  <c:v>China</c:v>
                </c:pt>
                <c:pt idx="8">
                  <c:v>EM$</c:v>
                </c:pt>
              </c:strCache>
              <c:extLst/>
            </c:strRef>
          </c:cat>
          <c:val>
            <c:numRef>
              <c:f>Tables!$G$66:$G$74</c:f>
              <c:numCache>
                <c:formatCode>0.0%</c:formatCode>
                <c:ptCount val="9"/>
                <c:pt idx="0">
                  <c:v>0.11558268795316153</c:v>
                </c:pt>
                <c:pt idx="1">
                  <c:v>0.11913357400722013</c:v>
                </c:pt>
                <c:pt idx="2">
                  <c:v>6.9182389937106903E-2</c:v>
                </c:pt>
                <c:pt idx="3">
                  <c:v>5.1244509516837455E-2</c:v>
                </c:pt>
                <c:pt idx="4">
                  <c:v>4.9957662997459851E-2</c:v>
                </c:pt>
                <c:pt idx="5">
                  <c:v>8.9651639344262346E-2</c:v>
                </c:pt>
                <c:pt idx="6">
                  <c:v>0.22100000000000009</c:v>
                </c:pt>
                <c:pt idx="7">
                  <c:v>0.1359999999999999</c:v>
                </c:pt>
                <c:pt idx="8">
                  <c:v>0.20045045045045051</c:v>
                </c:pt>
              </c:numCache>
              <c:extLst/>
            </c:numRef>
          </c:val>
          <c:extLst xmlns:c15="http://schemas.microsoft.com/office/drawing/2012/chart">
            <c:ext xmlns:c16="http://schemas.microsoft.com/office/drawing/2014/chart" uri="{C3380CC4-5D6E-409C-BE32-E72D297353CC}">
              <c16:uniqueId val="{00000001-53F9-485B-9708-2115618F4839}"/>
            </c:ext>
          </c:extLst>
        </c:ser>
        <c:dLbls>
          <c:showLegendKey val="0"/>
          <c:showVal val="0"/>
          <c:showCatName val="0"/>
          <c:showSerName val="0"/>
          <c:showPercent val="0"/>
          <c:showBubbleSize val="0"/>
        </c:dLbls>
        <c:gapWidth val="219"/>
        <c:overlap val="-27"/>
        <c:axId val="1755322736"/>
        <c:axId val="1755323696"/>
        <c:extLst>
          <c:ext xmlns:c15="http://schemas.microsoft.com/office/drawing/2012/chart" uri="{02D57815-91ED-43cb-92C2-25804820EDAC}">
            <c15:filteredBarSeries>
              <c15:ser>
                <c:idx val="0"/>
                <c:order val="0"/>
                <c:tx>
                  <c:strRef>
                    <c:extLst>
                      <c:ext uri="{02D57815-91ED-43cb-92C2-25804820EDAC}">
                        <c15:formulaRef>
                          <c15:sqref>Tables!$C$64:$C$65</c15:sqref>
                        </c15:formulaRef>
                      </c:ext>
                    </c:extLst>
                    <c:strCache>
                      <c:ptCount val="2"/>
                      <c:pt idx="0">
                        <c:v>2024</c:v>
                      </c:pt>
                      <c:pt idx="1">
                        <c:v>CIO </c:v>
                      </c:pt>
                    </c:strCache>
                  </c:strRef>
                </c:tx>
                <c:spPr>
                  <a:solidFill>
                    <a:srgbClr val="C00000"/>
                  </a:solidFill>
                  <a:ln>
                    <a:noFill/>
                  </a:ln>
                  <a:effectLst/>
                </c:spPr>
                <c:invertIfNegative val="0"/>
                <c:cat>
                  <c:strRef>
                    <c:extLst>
                      <c:ext uri="{02D57815-91ED-43cb-92C2-25804820EDAC}">
                        <c15:formulaRef>
                          <c15:sqref>Tables!$B$66:$B$74</c15:sqref>
                        </c15:formulaRef>
                      </c:ext>
                    </c:extLst>
                    <c:strCache>
                      <c:ptCount val="9"/>
                      <c:pt idx="0">
                        <c:v>AC World</c:v>
                      </c:pt>
                      <c:pt idx="1">
                        <c:v>US</c:v>
                      </c:pt>
                      <c:pt idx="2">
                        <c:v>EMU</c:v>
                      </c:pt>
                      <c:pt idx="3">
                        <c:v>UK</c:v>
                      </c:pt>
                      <c:pt idx="4">
                        <c:v>Switzerland</c:v>
                      </c:pt>
                      <c:pt idx="5">
                        <c:v>Japan</c:v>
                      </c:pt>
                      <c:pt idx="6">
                        <c:v>AxJ$</c:v>
                      </c:pt>
                      <c:pt idx="7">
                        <c:v>China</c:v>
                      </c:pt>
                      <c:pt idx="8">
                        <c:v>EM$</c:v>
                      </c:pt>
                    </c:strCache>
                  </c:strRef>
                </c:cat>
                <c:val>
                  <c:numRef>
                    <c:extLst>
                      <c:ext uri="{02D57815-91ED-43cb-92C2-25804820EDAC}">
                        <c15:formulaRef>
                          <c15:sqref>Tables!$C$66:$C$74</c15:sqref>
                        </c15:formulaRef>
                      </c:ext>
                    </c:extLst>
                    <c:numCache>
                      <c:formatCode>0.0%</c:formatCode>
                      <c:ptCount val="9"/>
                      <c:pt idx="0">
                        <c:v>#N/A</c:v>
                      </c:pt>
                      <c:pt idx="1">
                        <c:v>#N/A</c:v>
                      </c:pt>
                      <c:pt idx="2">
                        <c:v>#N/A</c:v>
                      </c:pt>
                      <c:pt idx="3">
                        <c:v>#N/A</c:v>
                      </c:pt>
                      <c:pt idx="4">
                        <c:v>#N/A</c:v>
                      </c:pt>
                      <c:pt idx="5">
                        <c:v>#N/A</c:v>
                      </c:pt>
                      <c:pt idx="6">
                        <c:v>#N/A</c:v>
                      </c:pt>
                      <c:pt idx="7">
                        <c:v>#N/A</c:v>
                      </c:pt>
                      <c:pt idx="8">
                        <c:v>#N/A</c:v>
                      </c:pt>
                    </c:numCache>
                  </c:numRef>
                </c:val>
                <c:extLst>
                  <c:ext xmlns:c16="http://schemas.microsoft.com/office/drawing/2014/chart" uri="{C3380CC4-5D6E-409C-BE32-E72D297353CC}">
                    <c16:uniqueId val="{00000002-53F9-485B-9708-2115618F4839}"/>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Tables!$D$64:$D$65</c15:sqref>
                        </c15:formulaRef>
                      </c:ext>
                    </c:extLst>
                    <c:strCache>
                      <c:ptCount val="2"/>
                      <c:pt idx="0">
                        <c:v>2024</c:v>
                      </c:pt>
                      <c:pt idx="1">
                        <c:v>Consensus</c:v>
                      </c:pt>
                    </c:strCache>
                  </c:strRef>
                </c:tx>
                <c:spPr>
                  <a:solidFill>
                    <a:schemeClr val="bg1">
                      <a:lumMod val="65000"/>
                    </a:schemeClr>
                  </a:solidFill>
                  <a:ln>
                    <a:noFill/>
                  </a:ln>
                  <a:effectLst/>
                </c:spPr>
                <c:invertIfNegative val="0"/>
                <c:cat>
                  <c:strRef>
                    <c:extLst xmlns:c15="http://schemas.microsoft.com/office/drawing/2012/chart">
                      <c:ext xmlns:c15="http://schemas.microsoft.com/office/drawing/2012/chart" uri="{02D57815-91ED-43cb-92C2-25804820EDAC}">
                        <c15:formulaRef>
                          <c15:sqref>Tables!$B$66:$B$74</c15:sqref>
                        </c15:formulaRef>
                      </c:ext>
                    </c:extLst>
                    <c:strCache>
                      <c:ptCount val="9"/>
                      <c:pt idx="0">
                        <c:v>AC World</c:v>
                      </c:pt>
                      <c:pt idx="1">
                        <c:v>US</c:v>
                      </c:pt>
                      <c:pt idx="2">
                        <c:v>EMU</c:v>
                      </c:pt>
                      <c:pt idx="3">
                        <c:v>UK</c:v>
                      </c:pt>
                      <c:pt idx="4">
                        <c:v>Switzerland</c:v>
                      </c:pt>
                      <c:pt idx="5">
                        <c:v>Japan</c:v>
                      </c:pt>
                      <c:pt idx="6">
                        <c:v>AxJ$</c:v>
                      </c:pt>
                      <c:pt idx="7">
                        <c:v>China</c:v>
                      </c:pt>
                      <c:pt idx="8">
                        <c:v>EM$</c:v>
                      </c:pt>
                    </c:strCache>
                  </c:strRef>
                </c:cat>
                <c:val>
                  <c:numRef>
                    <c:extLst xmlns:c15="http://schemas.microsoft.com/office/drawing/2012/chart">
                      <c:ext xmlns:c15="http://schemas.microsoft.com/office/drawing/2012/chart" uri="{02D57815-91ED-43cb-92C2-25804820EDAC}">
                        <c15:formulaRef>
                          <c15:sqref>Tables!$D$66:$D$74</c15:sqref>
                        </c15:formulaRef>
                      </c:ext>
                    </c:extLst>
                    <c:numCache>
                      <c:formatCode>0.0%</c:formatCode>
                      <c:ptCount val="9"/>
                      <c:pt idx="0">
                        <c:v>#N/A</c:v>
                      </c:pt>
                      <c:pt idx="1">
                        <c:v>0.11686000000000001</c:v>
                      </c:pt>
                      <c:pt idx="2">
                        <c:v>3.227E-2</c:v>
                      </c:pt>
                      <c:pt idx="3">
                        <c:v>-1.4239999999999999E-2</c:v>
                      </c:pt>
                      <c:pt idx="4">
                        <c:v>0.12189999999999999</c:v>
                      </c:pt>
                      <c:pt idx="5">
                        <c:v>0</c:v>
                      </c:pt>
                      <c:pt idx="6">
                        <c:v>0.26322000000000001</c:v>
                      </c:pt>
                      <c:pt idx="7">
                        <c:v>0.16144999999999998</c:v>
                      </c:pt>
                      <c:pt idx="8">
                        <c:v>0.20640999999999998</c:v>
                      </c:pt>
                    </c:numCache>
                  </c:numRef>
                </c:val>
                <c:extLst xmlns:c15="http://schemas.microsoft.com/office/drawing/2012/chart">
                  <c:ext xmlns:c16="http://schemas.microsoft.com/office/drawing/2014/chart" uri="{C3380CC4-5D6E-409C-BE32-E72D297353CC}">
                    <c16:uniqueId val="{00000003-53F9-485B-9708-2115618F4839}"/>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Tables!$F$64:$F$65</c15:sqref>
                        </c15:formulaRef>
                      </c:ext>
                    </c:extLst>
                    <c:strCache>
                      <c:ptCount val="2"/>
                      <c:pt idx="0">
                        <c:v>2025</c:v>
                      </c:pt>
                      <c:pt idx="1">
                        <c:v>Consensus</c:v>
                      </c:pt>
                    </c:strCache>
                  </c:strRef>
                </c:tx>
                <c:spPr>
                  <a:solidFill>
                    <a:srgbClr val="C00000"/>
                  </a:solidFill>
                  <a:ln>
                    <a:noFill/>
                  </a:ln>
                  <a:effectLst/>
                </c:spPr>
                <c:invertIfNegative val="0"/>
                <c:cat>
                  <c:strRef>
                    <c:extLst xmlns:c15="http://schemas.microsoft.com/office/drawing/2012/chart">
                      <c:ext xmlns:c15="http://schemas.microsoft.com/office/drawing/2012/chart" uri="{02D57815-91ED-43cb-92C2-25804820EDAC}">
                        <c15:formulaRef>
                          <c15:sqref>Tables!$B$66:$B$74</c15:sqref>
                        </c15:formulaRef>
                      </c:ext>
                    </c:extLst>
                    <c:strCache>
                      <c:ptCount val="9"/>
                      <c:pt idx="0">
                        <c:v>AC World</c:v>
                      </c:pt>
                      <c:pt idx="1">
                        <c:v>US</c:v>
                      </c:pt>
                      <c:pt idx="2">
                        <c:v>EMU</c:v>
                      </c:pt>
                      <c:pt idx="3">
                        <c:v>UK</c:v>
                      </c:pt>
                      <c:pt idx="4">
                        <c:v>Switzerland</c:v>
                      </c:pt>
                      <c:pt idx="5">
                        <c:v>Japan</c:v>
                      </c:pt>
                      <c:pt idx="6">
                        <c:v>AxJ$</c:v>
                      </c:pt>
                      <c:pt idx="7">
                        <c:v>China</c:v>
                      </c:pt>
                      <c:pt idx="8">
                        <c:v>EM$</c:v>
                      </c:pt>
                    </c:strCache>
                  </c:strRef>
                </c:cat>
                <c:val>
                  <c:numRef>
                    <c:extLst xmlns:c15="http://schemas.microsoft.com/office/drawing/2012/chart">
                      <c:ext xmlns:c15="http://schemas.microsoft.com/office/drawing/2012/chart" uri="{02D57815-91ED-43cb-92C2-25804820EDAC}">
                        <c15:formulaRef>
                          <c15:sqref>Tables!$F$66:$F$74</c15:sqref>
                        </c15:formulaRef>
                      </c:ext>
                    </c:extLst>
                    <c:numCache>
                      <c:formatCode>0.0%</c:formatCode>
                      <c:ptCount val="9"/>
                      <c:pt idx="0">
                        <c:v>0.10253</c:v>
                      </c:pt>
                      <c:pt idx="1">
                        <c:v>0.13058999999999998</c:v>
                      </c:pt>
                      <c:pt idx="2">
                        <c:v>4.3419999999999993E-2</c:v>
                      </c:pt>
                      <c:pt idx="3">
                        <c:v>5.1180000000000003E-2</c:v>
                      </c:pt>
                      <c:pt idx="4">
                        <c:v>7.4109999999999995E-2</c:v>
                      </c:pt>
                      <c:pt idx="5">
                        <c:v>9.987E-2</c:v>
                      </c:pt>
                      <c:pt idx="6">
                        <c:v>0.11753</c:v>
                      </c:pt>
                      <c:pt idx="7">
                        <c:v>2.6389999999999997E-2</c:v>
                      </c:pt>
                      <c:pt idx="8">
                        <c:v>0.13339999999999999</c:v>
                      </c:pt>
                    </c:numCache>
                  </c:numRef>
                </c:val>
                <c:extLst xmlns:c15="http://schemas.microsoft.com/office/drawing/2012/chart">
                  <c:ext xmlns:c16="http://schemas.microsoft.com/office/drawing/2014/chart" uri="{C3380CC4-5D6E-409C-BE32-E72D297353CC}">
                    <c16:uniqueId val="{00000004-53F9-485B-9708-2115618F4839}"/>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Tables!$H$64:$H$65</c15:sqref>
                        </c15:formulaRef>
                      </c:ext>
                    </c:extLst>
                    <c:strCache>
                      <c:ptCount val="2"/>
                      <c:pt idx="0">
                        <c:v>2026</c:v>
                      </c:pt>
                      <c:pt idx="1">
                        <c:v>Consensus</c:v>
                      </c:pt>
                    </c:strCache>
                  </c:strRef>
                </c:tx>
                <c:spPr>
                  <a:solidFill>
                    <a:schemeClr val="accent6"/>
                  </a:solidFill>
                  <a:ln>
                    <a:noFill/>
                  </a:ln>
                  <a:effectLst/>
                </c:spPr>
                <c:invertIfNegative val="0"/>
                <c:cat>
                  <c:strRef>
                    <c:extLst xmlns:c15="http://schemas.microsoft.com/office/drawing/2012/chart">
                      <c:ext xmlns:c15="http://schemas.microsoft.com/office/drawing/2012/chart" uri="{02D57815-91ED-43cb-92C2-25804820EDAC}">
                        <c15:formulaRef>
                          <c15:sqref>Tables!$B$66:$B$74</c15:sqref>
                        </c15:formulaRef>
                      </c:ext>
                    </c:extLst>
                    <c:strCache>
                      <c:ptCount val="9"/>
                      <c:pt idx="0">
                        <c:v>AC World</c:v>
                      </c:pt>
                      <c:pt idx="1">
                        <c:v>US</c:v>
                      </c:pt>
                      <c:pt idx="2">
                        <c:v>EMU</c:v>
                      </c:pt>
                      <c:pt idx="3">
                        <c:v>UK</c:v>
                      </c:pt>
                      <c:pt idx="4">
                        <c:v>Switzerland</c:v>
                      </c:pt>
                      <c:pt idx="5">
                        <c:v>Japan</c:v>
                      </c:pt>
                      <c:pt idx="6">
                        <c:v>AxJ$</c:v>
                      </c:pt>
                      <c:pt idx="7">
                        <c:v>China</c:v>
                      </c:pt>
                      <c:pt idx="8">
                        <c:v>EM$</c:v>
                      </c:pt>
                    </c:strCache>
                  </c:strRef>
                </c:cat>
                <c:val>
                  <c:numRef>
                    <c:extLst xmlns:c15="http://schemas.microsoft.com/office/drawing/2012/chart">
                      <c:ext xmlns:c15="http://schemas.microsoft.com/office/drawing/2012/chart" uri="{02D57815-91ED-43cb-92C2-25804820EDAC}">
                        <c15:formulaRef>
                          <c15:sqref>Tables!$H$66:$H$74</c15:sqref>
                        </c15:formulaRef>
                      </c:ext>
                    </c:extLst>
                    <c:numCache>
                      <c:formatCode>0.0%</c:formatCode>
                      <c:ptCount val="9"/>
                      <c:pt idx="0">
                        <c:v>0.14964</c:v>
                      </c:pt>
                      <c:pt idx="1">
                        <c:v>0.15548000000000001</c:v>
                      </c:pt>
                      <c:pt idx="2">
                        <c:v>0.10575</c:v>
                      </c:pt>
                      <c:pt idx="3">
                        <c:v>0.10643000000000001</c:v>
                      </c:pt>
                      <c:pt idx="4">
                        <c:v>7.893E-2</c:v>
                      </c:pt>
                      <c:pt idx="5">
                        <c:v>6.785999999999999E-2</c:v>
                      </c:pt>
                      <c:pt idx="6">
                        <c:v>0.22010000000000002</c:v>
                      </c:pt>
                      <c:pt idx="7">
                        <c:v>0.12597</c:v>
                      </c:pt>
                      <c:pt idx="8">
                        <c:v>0.19957</c:v>
                      </c:pt>
                    </c:numCache>
                  </c:numRef>
                </c:val>
                <c:extLst xmlns:c15="http://schemas.microsoft.com/office/drawing/2012/chart">
                  <c:ext xmlns:c16="http://schemas.microsoft.com/office/drawing/2014/chart" uri="{C3380CC4-5D6E-409C-BE32-E72D297353CC}">
                    <c16:uniqueId val="{00000005-53F9-485B-9708-2115618F4839}"/>
                  </c:ext>
                </c:extLst>
              </c15:ser>
            </c15:filteredBarSeries>
          </c:ext>
        </c:extLst>
      </c:barChart>
      <c:catAx>
        <c:axId val="1755322736"/>
        <c:scaling>
          <c:orientation val="minMax"/>
        </c:scaling>
        <c:delete val="0"/>
        <c:axPos val="b"/>
        <c:numFmt formatCode="General" sourceLinked="1"/>
        <c:majorTickMark val="none"/>
        <c:minorTickMark val="none"/>
        <c:tickLblPos val="nextTo"/>
        <c:spPr>
          <a:noFill/>
          <a:ln w="6350" cap="flat" cmpd="sng" algn="ctr">
            <a:solidFill>
              <a:srgbClr val="ECEBE4"/>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755323696"/>
        <c:crosses val="autoZero"/>
        <c:auto val="1"/>
        <c:lblAlgn val="ctr"/>
        <c:lblOffset val="100"/>
        <c:noMultiLvlLbl val="0"/>
      </c:catAx>
      <c:valAx>
        <c:axId val="1755323696"/>
        <c:scaling>
          <c:orientation val="minMax"/>
        </c:scaling>
        <c:delete val="0"/>
        <c:axPos val="l"/>
        <c:majorGridlines>
          <c:spPr>
            <a:ln w="6350" cap="flat" cmpd="sng" algn="ctr">
              <a:solidFill>
                <a:srgbClr val="ECEBE4"/>
              </a:solidFill>
              <a:prstDash val="solid"/>
              <a:round/>
              <a:headEnd type="none" w="med" len="med"/>
              <a:tailEnd type="none" w="med" len="me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7553227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lumMod val="65000"/>
              <a:lumOff val="35000"/>
            </a:schemeClr>
          </a:solidFill>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5398477381668813E-2"/>
          <c:y val="3.9235799228800106E-2"/>
          <c:w val="0.92546526012822272"/>
          <c:h val="0.71454553120618958"/>
        </c:manualLayout>
      </c:layout>
      <c:stockChart>
        <c:ser>
          <c:idx val="0"/>
          <c:order val="0"/>
          <c:tx>
            <c:strRef>
              <c:f>Regions_MSCI!$AA$6</c:f>
              <c:strCache>
                <c:ptCount val="1"/>
                <c:pt idx="0">
                  <c:v>02.01.2026</c:v>
                </c:pt>
              </c:strCache>
            </c:strRef>
          </c:tx>
          <c:spPr>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8E8D83"/>
                  </a:solidFill>
                  <a:prstDash val="solid"/>
                  <a:round/>
                  <a:headEnd type="none" w="med" len="med"/>
                  <a:tailEnd type="none" w="med" len="med"/>
                </a14:hiddenLine>
              </a:ext>
            </a:extLst>
          </c:spPr>
          <c:marker>
            <c:symbol val="diamond"/>
            <c:size val="11"/>
            <c:spPr>
              <a:solidFill>
                <a:srgbClr val="8E8D83"/>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8E8D83"/>
                    </a:solidFill>
                    <a:prstDash val="solid"/>
                    <a:round/>
                    <a:headEnd type="none" w="med" len="med"/>
                    <a:tailEnd type="none" w="med" len="med"/>
                  </a14:hiddenLine>
                </a:ext>
              </a:extLst>
            </c:spPr>
          </c:marker>
          <c:cat>
            <c:strRef>
              <c:f>Regions_MSCI!$AB$1:$AM$1</c:f>
              <c:strCache>
                <c:ptCount val="12"/>
                <c:pt idx="0">
                  <c:v>AC World</c:v>
                </c:pt>
                <c:pt idx="1">
                  <c:v>World</c:v>
                </c:pt>
                <c:pt idx="2">
                  <c:v>USA</c:v>
                </c:pt>
                <c:pt idx="3">
                  <c:v>EMU</c:v>
                </c:pt>
                <c:pt idx="4">
                  <c:v>Switzerland</c:v>
                </c:pt>
                <c:pt idx="5">
                  <c:v>UK</c:v>
                </c:pt>
                <c:pt idx="6">
                  <c:v>Japan</c:v>
                </c:pt>
                <c:pt idx="7">
                  <c:v>Australia</c:v>
                </c:pt>
                <c:pt idx="8">
                  <c:v>Canada</c:v>
                </c:pt>
                <c:pt idx="9">
                  <c:v>EM</c:v>
                </c:pt>
                <c:pt idx="10">
                  <c:v>China</c:v>
                </c:pt>
                <c:pt idx="11">
                  <c:v>AxJ$</c:v>
                </c:pt>
              </c:strCache>
            </c:strRef>
          </c:cat>
          <c:val>
            <c:numRef>
              <c:f>Regions_MSCI!$AB$6:$AM$6</c:f>
              <c:numCache>
                <c:formatCode>0.0</c:formatCode>
                <c:ptCount val="12"/>
                <c:pt idx="0">
                  <c:v>19.190657231047204</c:v>
                </c:pt>
                <c:pt idx="1">
                  <c:v>20.158503126799783</c:v>
                </c:pt>
                <c:pt idx="2">
                  <c:v>22.417161090208186</c:v>
                </c:pt>
                <c:pt idx="3">
                  <c:v>15.263488512176233</c:v>
                </c:pt>
                <c:pt idx="4">
                  <c:v>18.648775204314958</c:v>
                </c:pt>
                <c:pt idx="5">
                  <c:v>13.398192224866825</c:v>
                </c:pt>
                <c:pt idx="6">
                  <c:v>16.244188581126316</c:v>
                </c:pt>
                <c:pt idx="7">
                  <c:v>18.772331628160977</c:v>
                </c:pt>
                <c:pt idx="8">
                  <c:v>17.217097474141017</c:v>
                </c:pt>
                <c:pt idx="9">
                  <c:v>13.860231735104474</c:v>
                </c:pt>
                <c:pt idx="10">
                  <c:v>12.847894500224786</c:v>
                </c:pt>
                <c:pt idx="11">
                  <c:v>14.888446788111219</c:v>
                </c:pt>
              </c:numCache>
            </c:numRef>
          </c:val>
          <c:smooth val="0"/>
          <c:extLst>
            <c:ext xmlns:c16="http://schemas.microsoft.com/office/drawing/2014/chart" uri="{C3380CC4-5D6E-409C-BE32-E72D297353CC}">
              <c16:uniqueId val="{00000000-675C-4241-A6FB-06D7BC31DC2B}"/>
            </c:ext>
          </c:extLst>
        </c:ser>
        <c:ser>
          <c:idx val="1"/>
          <c:order val="1"/>
          <c:spPr>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5A5D5C"/>
                  </a:solidFill>
                  <a:prstDash val="solid"/>
                  <a:round/>
                  <a:headEnd type="none" w="med" len="med"/>
                  <a:tailEnd type="none" w="med" len="med"/>
                </a14:hiddenLine>
              </a:ext>
            </a:extLst>
          </c:spPr>
          <c:marker>
            <c:symbol val="none"/>
          </c:marker>
          <c:cat>
            <c:strRef>
              <c:f>Regions_MSCI!$AB$1:$AM$1</c:f>
              <c:strCache>
                <c:ptCount val="12"/>
                <c:pt idx="0">
                  <c:v>AC World</c:v>
                </c:pt>
                <c:pt idx="1">
                  <c:v>World</c:v>
                </c:pt>
                <c:pt idx="2">
                  <c:v>USA</c:v>
                </c:pt>
                <c:pt idx="3">
                  <c:v>EMU</c:v>
                </c:pt>
                <c:pt idx="4">
                  <c:v>Switzerland</c:v>
                </c:pt>
                <c:pt idx="5">
                  <c:v>UK</c:v>
                </c:pt>
                <c:pt idx="6">
                  <c:v>Japan</c:v>
                </c:pt>
                <c:pt idx="7">
                  <c:v>Australia</c:v>
                </c:pt>
                <c:pt idx="8">
                  <c:v>Canada</c:v>
                </c:pt>
                <c:pt idx="9">
                  <c:v>EM</c:v>
                </c:pt>
                <c:pt idx="10">
                  <c:v>China</c:v>
                </c:pt>
                <c:pt idx="11">
                  <c:v>AxJ$</c:v>
                </c:pt>
              </c:strCache>
            </c:strRef>
          </c:cat>
          <c:val>
            <c:numRef>
              <c:f>Regions_MSCI!$AB$4:$AM$4</c:f>
              <c:numCache>
                <c:formatCode>0.0</c:formatCode>
                <c:ptCount val="12"/>
                <c:pt idx="0">
                  <c:v>11.280968187292542</c:v>
                </c:pt>
                <c:pt idx="1">
                  <c:v>11.636693129571389</c:v>
                </c:pt>
                <c:pt idx="2">
                  <c:v>13.119395381417993</c:v>
                </c:pt>
                <c:pt idx="3">
                  <c:v>9.6828476945155053</c:v>
                </c:pt>
                <c:pt idx="4">
                  <c:v>14.237374583016704</c:v>
                </c:pt>
                <c:pt idx="5">
                  <c:v>8.4556922789496927</c:v>
                </c:pt>
                <c:pt idx="6">
                  <c:v>10.438111583230681</c:v>
                </c:pt>
                <c:pt idx="7">
                  <c:v>11.85391166206573</c:v>
                </c:pt>
                <c:pt idx="8">
                  <c:v>9.8123332121370108</c:v>
                </c:pt>
                <c:pt idx="9">
                  <c:v>9.2979827089337164</c:v>
                </c:pt>
                <c:pt idx="10">
                  <c:v>8.0082457558609548</c:v>
                </c:pt>
                <c:pt idx="11">
                  <c:v>10.206860007744513</c:v>
                </c:pt>
              </c:numCache>
            </c:numRef>
          </c:val>
          <c:smooth val="0"/>
          <c:extLst>
            <c:ext xmlns:c16="http://schemas.microsoft.com/office/drawing/2014/chart" uri="{C3380CC4-5D6E-409C-BE32-E72D297353CC}">
              <c16:uniqueId val="{00000001-675C-4241-A6FB-06D7BC31DC2B}"/>
            </c:ext>
          </c:extLst>
        </c:ser>
        <c:ser>
          <c:idx val="2"/>
          <c:order val="2"/>
          <c:spPr>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BD000C"/>
                  </a:solidFill>
                  <a:prstDash val="solid"/>
                  <a:round/>
                  <a:headEnd type="none" w="med" len="med"/>
                  <a:tailEnd type="none" w="med" len="med"/>
                </a14:hiddenLine>
              </a:ext>
            </a:extLst>
          </c:spPr>
          <c:marker>
            <c:symbol val="dot"/>
            <c:size val="3"/>
            <c:spPr>
              <a:solidFill>
                <a:srgbClr val="BD000C"/>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BD000C"/>
                    </a:solidFill>
                    <a:prstDash val="solid"/>
                    <a:round/>
                    <a:headEnd type="none" w="med" len="med"/>
                    <a:tailEnd type="none" w="med" len="med"/>
                  </a14:hiddenLine>
                </a:ext>
              </a:extLst>
            </c:spPr>
          </c:marker>
          <c:cat>
            <c:strRef>
              <c:f>Regions_MSCI!$AB$1:$AM$1</c:f>
              <c:strCache>
                <c:ptCount val="12"/>
                <c:pt idx="0">
                  <c:v>AC World</c:v>
                </c:pt>
                <c:pt idx="1">
                  <c:v>World</c:v>
                </c:pt>
                <c:pt idx="2">
                  <c:v>USA</c:v>
                </c:pt>
                <c:pt idx="3">
                  <c:v>EMU</c:v>
                </c:pt>
                <c:pt idx="4">
                  <c:v>Switzerland</c:v>
                </c:pt>
                <c:pt idx="5">
                  <c:v>UK</c:v>
                </c:pt>
                <c:pt idx="6">
                  <c:v>Japan</c:v>
                </c:pt>
                <c:pt idx="7">
                  <c:v>Australia</c:v>
                </c:pt>
                <c:pt idx="8">
                  <c:v>Canada</c:v>
                </c:pt>
                <c:pt idx="9">
                  <c:v>EM</c:v>
                </c:pt>
                <c:pt idx="10">
                  <c:v>China</c:v>
                </c:pt>
                <c:pt idx="11">
                  <c:v>AxJ$</c:v>
                </c:pt>
              </c:strCache>
            </c:strRef>
          </c:cat>
          <c:val>
            <c:numRef>
              <c:f>Regions_MSCI!$AB$5:$AM$5</c:f>
              <c:numCache>
                <c:formatCode>0.0</c:formatCode>
                <c:ptCount val="12"/>
                <c:pt idx="0">
                  <c:v>20.417664513876769</c:v>
                </c:pt>
                <c:pt idx="1">
                  <c:v>21.48191695973965</c:v>
                </c:pt>
                <c:pt idx="2">
                  <c:v>23.662258780688784</c:v>
                </c:pt>
                <c:pt idx="3">
                  <c:v>18.170683760683762</c:v>
                </c:pt>
                <c:pt idx="4">
                  <c:v>20.631639254255091</c:v>
                </c:pt>
                <c:pt idx="5">
                  <c:v>16.240400909112811</c:v>
                </c:pt>
                <c:pt idx="6">
                  <c:v>18.603057696184084</c:v>
                </c:pt>
                <c:pt idx="7">
                  <c:v>20.120071582450901</c:v>
                </c:pt>
                <c:pt idx="8">
                  <c:v>18.022547823278181</c:v>
                </c:pt>
                <c:pt idx="9">
                  <c:v>16.510560576968107</c:v>
                </c:pt>
                <c:pt idx="10">
                  <c:v>18.27324996406497</c:v>
                </c:pt>
                <c:pt idx="11">
                  <c:v>18.037741307156772</c:v>
                </c:pt>
              </c:numCache>
            </c:numRef>
          </c:val>
          <c:smooth val="0"/>
          <c:extLst>
            <c:ext xmlns:c16="http://schemas.microsoft.com/office/drawing/2014/chart" uri="{C3380CC4-5D6E-409C-BE32-E72D297353CC}">
              <c16:uniqueId val="{00000002-675C-4241-A6FB-06D7BC31DC2B}"/>
            </c:ext>
          </c:extLst>
        </c:ser>
        <c:ser>
          <c:idx val="3"/>
          <c:order val="3"/>
          <c:tx>
            <c:strRef>
              <c:f>Regions_MSCI!$AA$2</c:f>
              <c:strCache>
                <c:ptCount val="1"/>
                <c:pt idx="0">
                  <c:v>10Y average</c:v>
                </c:pt>
              </c:strCache>
            </c:strRef>
          </c:tx>
          <c:spPr>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8A000A"/>
                  </a:solidFill>
                  <a:prstDash val="solid"/>
                  <a:round/>
                  <a:headEnd type="none" w="med" len="med"/>
                  <a:tailEnd type="none" w="med" len="med"/>
                </a14:hiddenLine>
              </a:ext>
            </a:extLst>
          </c:spPr>
          <c:marker>
            <c:symbol val="square"/>
            <c:size val="8"/>
            <c:spPr>
              <a:solidFill>
                <a:srgbClr val="8A000A"/>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8A000A"/>
                    </a:solidFill>
                    <a:prstDash val="solid"/>
                    <a:round/>
                    <a:headEnd type="none" w="med" len="med"/>
                    <a:tailEnd type="none" w="med" len="med"/>
                  </a14:hiddenLine>
                </a:ext>
              </a:extLst>
            </c:spPr>
          </c:marker>
          <c:cat>
            <c:strRef>
              <c:f>Regions_MSCI!$AB$1:$AM$1</c:f>
              <c:strCache>
                <c:ptCount val="12"/>
                <c:pt idx="0">
                  <c:v>AC World</c:v>
                </c:pt>
                <c:pt idx="1">
                  <c:v>World</c:v>
                </c:pt>
                <c:pt idx="2">
                  <c:v>USA</c:v>
                </c:pt>
                <c:pt idx="3">
                  <c:v>EMU</c:v>
                </c:pt>
                <c:pt idx="4">
                  <c:v>Switzerland</c:v>
                </c:pt>
                <c:pt idx="5">
                  <c:v>UK</c:v>
                </c:pt>
                <c:pt idx="6">
                  <c:v>Japan</c:v>
                </c:pt>
                <c:pt idx="7">
                  <c:v>Australia</c:v>
                </c:pt>
                <c:pt idx="8">
                  <c:v>Canada</c:v>
                </c:pt>
                <c:pt idx="9">
                  <c:v>EM</c:v>
                </c:pt>
                <c:pt idx="10">
                  <c:v>China</c:v>
                </c:pt>
                <c:pt idx="11">
                  <c:v>AxJ$</c:v>
                </c:pt>
              </c:strCache>
            </c:strRef>
          </c:cat>
          <c:val>
            <c:numRef>
              <c:f>Regions_MSCI!$AB$2:$AM$2</c:f>
              <c:numCache>
                <c:formatCode>0.0</c:formatCode>
                <c:ptCount val="12"/>
                <c:pt idx="0">
                  <c:v>16.530348894228034</c:v>
                </c:pt>
                <c:pt idx="1">
                  <c:v>17.283804026304413</c:v>
                </c:pt>
                <c:pt idx="2">
                  <c:v>19.210796417596821</c:v>
                </c:pt>
                <c:pt idx="3">
                  <c:v>13.860058667976997</c:v>
                </c:pt>
                <c:pt idx="4">
                  <c:v>17.5282057801262</c:v>
                </c:pt>
                <c:pt idx="5">
                  <c:v>12.606718890626642</c:v>
                </c:pt>
                <c:pt idx="6">
                  <c:v>14.167186800899348</c:v>
                </c:pt>
                <c:pt idx="7">
                  <c:v>16.270410403141209</c:v>
                </c:pt>
                <c:pt idx="8">
                  <c:v>14.603796937833136</c:v>
                </c:pt>
                <c:pt idx="9">
                  <c:v>12.279891843270573</c:v>
                </c:pt>
                <c:pt idx="10">
                  <c:v>11.693113502522593</c:v>
                </c:pt>
                <c:pt idx="11">
                  <c:v>13.091141523394052</c:v>
                </c:pt>
              </c:numCache>
            </c:numRef>
          </c:val>
          <c:smooth val="0"/>
          <c:extLst>
            <c:ext xmlns:c16="http://schemas.microsoft.com/office/drawing/2014/chart" uri="{C3380CC4-5D6E-409C-BE32-E72D297353CC}">
              <c16:uniqueId val="{00000003-675C-4241-A6FB-06D7BC31DC2B}"/>
            </c:ext>
          </c:extLst>
        </c:ser>
        <c:ser>
          <c:idx val="4"/>
          <c:order val="4"/>
          <c:tx>
            <c:strRef>
              <c:f>Regions_MSCI!$AN$2</c:f>
              <c:strCache>
                <c:ptCount val="1"/>
                <c:pt idx="0">
                  <c:v>+1 std</c:v>
                </c:pt>
              </c:strCache>
            </c:strRef>
          </c:tx>
          <c:spPr>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B98E2C"/>
                  </a:solidFill>
                  <a:prstDash val="solid"/>
                  <a:round/>
                  <a:headEnd type="none" w="med" len="med"/>
                  <a:tailEnd type="none" w="med" len="med"/>
                </a14:hiddenLine>
              </a:ext>
            </a:extLst>
          </c:spPr>
          <c:marker>
            <c:symbol val="dash"/>
            <c:size val="18"/>
            <c:spPr>
              <a:solidFill>
                <a:srgbClr val="B98E2C"/>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B98E2C"/>
                    </a:solidFill>
                    <a:prstDash val="solid"/>
                    <a:round/>
                    <a:headEnd type="none" w="med" len="med"/>
                    <a:tailEnd type="none" w="med" len="med"/>
                  </a14:hiddenLine>
                </a:ext>
              </a:extLst>
            </c:spPr>
          </c:marker>
          <c:cat>
            <c:strRef>
              <c:f>Regions_MSCI!$AB$1:$AM$1</c:f>
              <c:strCache>
                <c:ptCount val="12"/>
                <c:pt idx="0">
                  <c:v>AC World</c:v>
                </c:pt>
                <c:pt idx="1">
                  <c:v>World</c:v>
                </c:pt>
                <c:pt idx="2">
                  <c:v>USA</c:v>
                </c:pt>
                <c:pt idx="3">
                  <c:v>EMU</c:v>
                </c:pt>
                <c:pt idx="4">
                  <c:v>Switzerland</c:v>
                </c:pt>
                <c:pt idx="5">
                  <c:v>UK</c:v>
                </c:pt>
                <c:pt idx="6">
                  <c:v>Japan</c:v>
                </c:pt>
                <c:pt idx="7">
                  <c:v>Australia</c:v>
                </c:pt>
                <c:pt idx="8">
                  <c:v>Canada</c:v>
                </c:pt>
                <c:pt idx="9">
                  <c:v>EM</c:v>
                </c:pt>
                <c:pt idx="10">
                  <c:v>China</c:v>
                </c:pt>
                <c:pt idx="11">
                  <c:v>AxJ$</c:v>
                </c:pt>
              </c:strCache>
            </c:strRef>
          </c:cat>
          <c:val>
            <c:numRef>
              <c:f>Regions_MSCI!$AO$3:$AZ$3</c:f>
              <c:numCache>
                <c:formatCode>0.0</c:formatCode>
                <c:ptCount val="12"/>
                <c:pt idx="0">
                  <c:v>14.752175053560922</c:v>
                </c:pt>
                <c:pt idx="1">
                  <c:v>15.322979360378678</c:v>
                </c:pt>
                <c:pt idx="2">
                  <c:v>16.818309979263848</c:v>
                </c:pt>
                <c:pt idx="3">
                  <c:v>12.14067961530834</c:v>
                </c:pt>
                <c:pt idx="4">
                  <c:v>16.377083235607298</c:v>
                </c:pt>
                <c:pt idx="5">
                  <c:v>10.875453594388397</c:v>
                </c:pt>
                <c:pt idx="6">
                  <c:v>12.549387987860387</c:v>
                </c:pt>
                <c:pt idx="7">
                  <c:v>14.584205168851883</c:v>
                </c:pt>
                <c:pt idx="8">
                  <c:v>13.029167409911091</c:v>
                </c:pt>
                <c:pt idx="9">
                  <c:v>11.131642475063915</c:v>
                </c:pt>
                <c:pt idx="10">
                  <c:v>9.8133165477672843</c:v>
                </c:pt>
                <c:pt idx="11">
                  <c:v>11.793469048558549</c:v>
                </c:pt>
              </c:numCache>
            </c:numRef>
          </c:val>
          <c:smooth val="0"/>
          <c:extLst>
            <c:ext xmlns:c16="http://schemas.microsoft.com/office/drawing/2014/chart" uri="{C3380CC4-5D6E-409C-BE32-E72D297353CC}">
              <c16:uniqueId val="{00000004-675C-4241-A6FB-06D7BC31DC2B}"/>
            </c:ext>
          </c:extLst>
        </c:ser>
        <c:ser>
          <c:idx val="5"/>
          <c:order val="5"/>
          <c:tx>
            <c:strRef>
              <c:f>Regions_MSCI!$AN$2</c:f>
              <c:strCache>
                <c:ptCount val="1"/>
                <c:pt idx="0">
                  <c:v>+1 std</c:v>
                </c:pt>
              </c:strCache>
            </c:strRef>
          </c:tx>
          <c:spPr>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946F29"/>
                  </a:solidFill>
                  <a:prstDash val="solid"/>
                  <a:round/>
                  <a:headEnd type="none" w="med" len="med"/>
                  <a:tailEnd type="none" w="med" len="med"/>
                </a14:hiddenLine>
              </a:ext>
            </a:extLst>
          </c:spPr>
          <c:marker>
            <c:symbol val="dash"/>
            <c:size val="18"/>
            <c:spPr>
              <a:solidFill>
                <a:srgbClr val="946F29"/>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946F29"/>
                    </a:solidFill>
                    <a:prstDash val="solid"/>
                    <a:round/>
                    <a:headEnd type="none" w="med" len="med"/>
                    <a:tailEnd type="none" w="med" len="med"/>
                  </a14:hiddenLine>
                </a:ext>
              </a:extLst>
            </c:spPr>
          </c:marker>
          <c:cat>
            <c:strRef>
              <c:f>Regions_MSCI!$AB$1:$AM$1</c:f>
              <c:strCache>
                <c:ptCount val="12"/>
                <c:pt idx="0">
                  <c:v>AC World</c:v>
                </c:pt>
                <c:pt idx="1">
                  <c:v>World</c:v>
                </c:pt>
                <c:pt idx="2">
                  <c:v>USA</c:v>
                </c:pt>
                <c:pt idx="3">
                  <c:v>EMU</c:v>
                </c:pt>
                <c:pt idx="4">
                  <c:v>Switzerland</c:v>
                </c:pt>
                <c:pt idx="5">
                  <c:v>UK</c:v>
                </c:pt>
                <c:pt idx="6">
                  <c:v>Japan</c:v>
                </c:pt>
                <c:pt idx="7">
                  <c:v>Australia</c:v>
                </c:pt>
                <c:pt idx="8">
                  <c:v>Canada</c:v>
                </c:pt>
                <c:pt idx="9">
                  <c:v>EM</c:v>
                </c:pt>
                <c:pt idx="10">
                  <c:v>China</c:v>
                </c:pt>
                <c:pt idx="11">
                  <c:v>AxJ$</c:v>
                </c:pt>
              </c:strCache>
            </c:strRef>
          </c:cat>
          <c:val>
            <c:numRef>
              <c:f>Regions_MSCI!$AO$2:$AZ$2</c:f>
              <c:numCache>
                <c:formatCode>0.0</c:formatCode>
                <c:ptCount val="12"/>
                <c:pt idx="0">
                  <c:v>18.308522734895146</c:v>
                </c:pt>
                <c:pt idx="1">
                  <c:v>19.244628692230147</c:v>
                </c:pt>
                <c:pt idx="2">
                  <c:v>21.603282855929795</c:v>
                </c:pt>
                <c:pt idx="3">
                  <c:v>15.579437720645654</c:v>
                </c:pt>
                <c:pt idx="4">
                  <c:v>18.679328324645102</c:v>
                </c:pt>
                <c:pt idx="5">
                  <c:v>14.337984186864887</c:v>
                </c:pt>
                <c:pt idx="6">
                  <c:v>15.784985613938309</c:v>
                </c:pt>
                <c:pt idx="7">
                  <c:v>17.956615637430534</c:v>
                </c:pt>
                <c:pt idx="8">
                  <c:v>16.17842646575518</c:v>
                </c:pt>
                <c:pt idx="9">
                  <c:v>13.42814121147723</c:v>
                </c:pt>
                <c:pt idx="10">
                  <c:v>13.572910457277901</c:v>
                </c:pt>
                <c:pt idx="11">
                  <c:v>14.388813998229555</c:v>
                </c:pt>
              </c:numCache>
            </c:numRef>
          </c:val>
          <c:smooth val="0"/>
          <c:extLst>
            <c:ext xmlns:c16="http://schemas.microsoft.com/office/drawing/2014/chart" uri="{C3380CC4-5D6E-409C-BE32-E72D297353CC}">
              <c16:uniqueId val="{00000005-675C-4241-A6FB-06D7BC31DC2B}"/>
            </c:ext>
          </c:extLst>
        </c:ser>
        <c:dLbls>
          <c:showLegendKey val="0"/>
          <c:showVal val="0"/>
          <c:showCatName val="0"/>
          <c:showSerName val="0"/>
          <c:showPercent val="0"/>
          <c:showBubbleSize val="0"/>
        </c:dLbls>
        <c:hiLowLines>
          <c:spPr>
            <a:ln w="28575" cap="flat" cmpd="sng" algn="ctr">
              <a:solidFill>
                <a:schemeClr val="tx1"/>
              </a:solidFill>
              <a:prstDash val="solid"/>
              <a:round/>
            </a:ln>
            <a:effectLst/>
          </c:spPr>
        </c:hiLowLines>
        <c:axId val="-1764689664"/>
        <c:axId val="-1761992704"/>
      </c:stockChart>
      <c:catAx>
        <c:axId val="-1764689664"/>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Frutiger 45 Light" panose="020B0603020202020204" pitchFamily="34" charset="0"/>
                    <a:ea typeface="+mn-ea"/>
                    <a:cs typeface="+mn-cs"/>
                  </a:defRPr>
                </a:pPr>
                <a:r>
                  <a:rPr lang="en-US" b="0"/>
                  <a:t>12m forward PE</a:t>
                </a:r>
              </a:p>
            </c:rich>
          </c:tx>
          <c:layout>
            <c:manualLayout>
              <c:xMode val="edge"/>
              <c:yMode val="edge"/>
              <c:x val="1.5568013871654039E-3"/>
              <c:y val="6.8129457812007149E-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Frutiger 45 Light" panose="020B0603020202020204" pitchFamily="34" charset="0"/>
                  <a:ea typeface="+mn-ea"/>
                  <a:cs typeface="+mn-cs"/>
                </a:defRPr>
              </a:pPr>
              <a:endParaRPr lang="en-US"/>
            </a:p>
          </c:txPr>
        </c:title>
        <c:numFmt formatCode="General" sourceLinked="0"/>
        <c:majorTickMark val="none"/>
        <c:minorTickMark val="none"/>
        <c:tickLblPos val="low"/>
        <c:spPr>
          <a:noFill/>
          <a:ln w="12700" cap="flat" cmpd="sng" algn="ctr">
            <a:solidFill>
              <a:srgbClr val="000000"/>
            </a:solidFill>
            <a:prstDash val="solid"/>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61992704"/>
        <c:crosses val="autoZero"/>
        <c:auto val="1"/>
        <c:lblAlgn val="ctr"/>
        <c:lblOffset val="100"/>
        <c:noMultiLvlLbl val="0"/>
      </c:catAx>
      <c:valAx>
        <c:axId val="-1761992704"/>
        <c:scaling>
          <c:orientation val="minMax"/>
          <c:max val="27"/>
          <c:min val="5"/>
        </c:scaling>
        <c:delete val="0"/>
        <c:axPos val="l"/>
        <c:majorGridlines>
          <c:spPr>
            <a:ln w="6350" cap="flat" cmpd="sng" algn="ctr">
              <a:solidFill>
                <a:srgbClr val="ECEBE4"/>
              </a:solidFill>
              <a:prstDash val="solid"/>
              <a:round/>
              <a:headEnd type="none" w="med" len="med"/>
              <a:tailEnd type="none" w="med" len="med"/>
            </a:ln>
            <a:effectLst/>
          </c:spPr>
        </c:majorGridlines>
        <c:numFmt formatCode="0.0;\ \(0.0\)" sourceLinked="0"/>
        <c:majorTickMark val="none"/>
        <c:minorTickMark val="none"/>
        <c:tickLblPos val="nextTo"/>
        <c:spPr>
          <a:noFill/>
          <a:ln w="25400"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64689664"/>
        <c:crosses val="autoZero"/>
        <c:crossBetween val="between"/>
      </c:valAx>
      <c:spPr>
        <a:noFill/>
        <a:ln w="25400">
          <a:noFill/>
        </a:ln>
        <a:effectLst/>
      </c:spPr>
    </c:plotArea>
    <c:legend>
      <c:legendPos val="b"/>
      <c:legendEntry>
        <c:idx val="1"/>
        <c:delete val="1"/>
      </c:legendEntry>
      <c:legendEntry>
        <c:idx val="2"/>
        <c:delete val="1"/>
      </c:legendEntry>
      <c:layout>
        <c:manualLayout>
          <c:xMode val="edge"/>
          <c:yMode val="edge"/>
          <c:x val="0.21565109807190885"/>
          <c:y val="0.9441619473591718"/>
          <c:w val="0.56869763765289039"/>
          <c:h val="5.5838052640828105E-2"/>
        </c:manualLayout>
      </c:layout>
      <c:overlay val="0"/>
      <c:spPr>
        <a:noFill/>
        <a:ln w="25400">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legend>
    <c:plotVisOnly val="1"/>
    <c:dispBlanksAs val="gap"/>
    <c:showDLblsOverMax val="0"/>
  </c:chart>
  <c:spPr>
    <a:solidFill>
      <a:srgbClr val="FFFFFF"/>
    </a:solidFill>
    <a:ln w="12700" cap="flat" cmpd="sng" algn="ctr">
      <a:noFill/>
      <a:prstDash val="solid"/>
      <a:round/>
    </a:ln>
    <a:effectLst/>
  </c:spPr>
  <c:txPr>
    <a:bodyPr/>
    <a:lstStyle/>
    <a:p>
      <a:pPr>
        <a:defRPr sz="1200">
          <a:latin typeface="Frutiger 45 Light" panose="020B0603020202020204" pitchFamily="34" charset="0"/>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8403105861767277E-2"/>
          <c:y val="4.6120541000976463E-2"/>
          <c:w val="0.81017607174103246"/>
          <c:h val="0.78011947725284336"/>
        </c:manualLayout>
      </c:layout>
      <c:barChart>
        <c:barDir val="col"/>
        <c:grouping val="clustered"/>
        <c:varyColors val="0"/>
        <c:ser>
          <c:idx val="0"/>
          <c:order val="0"/>
          <c:tx>
            <c:strRef>
              <c:f>'ai capex'!$C$7</c:f>
              <c:strCache>
                <c:ptCount val="1"/>
                <c:pt idx="0">
                  <c:v>AI capex forecasts, USD bn</c:v>
                </c:pt>
              </c:strCache>
            </c:strRef>
          </c:tx>
          <c:spPr>
            <a:solidFill>
              <a:srgbClr val="8E8D83"/>
            </a:solidFill>
            <a:ln w="38100" cap="rnd">
              <a:noFill/>
              <a:round/>
            </a:ln>
            <a:effectLst/>
          </c:spPr>
          <c:invertIfNegative val="0"/>
          <c:dPt>
            <c:idx val="0"/>
            <c:invertIfNegative val="0"/>
            <c:bubble3D val="0"/>
            <c:spPr>
              <a:solidFill>
                <a:srgbClr val="8E8D83"/>
              </a:solidFill>
              <a:ln w="38100" cap="rnd">
                <a:noFill/>
                <a:round/>
              </a:ln>
              <a:effectLst/>
            </c:spPr>
            <c:extLst>
              <c:ext xmlns:c16="http://schemas.microsoft.com/office/drawing/2014/chart" uri="{C3380CC4-5D6E-409C-BE32-E72D297353CC}">
                <c16:uniqueId val="{00000001-8B6A-4073-A7F3-1FD5F0542956}"/>
              </c:ext>
            </c:extLst>
          </c:dPt>
          <c:dPt>
            <c:idx val="1"/>
            <c:invertIfNegative val="0"/>
            <c:bubble3D val="0"/>
            <c:spPr>
              <a:solidFill>
                <a:srgbClr val="8E8D83"/>
              </a:solidFill>
              <a:ln w="38100" cap="rnd">
                <a:noFill/>
                <a:round/>
              </a:ln>
              <a:effectLst/>
            </c:spPr>
            <c:extLst>
              <c:ext xmlns:c16="http://schemas.microsoft.com/office/drawing/2014/chart" uri="{C3380CC4-5D6E-409C-BE32-E72D297353CC}">
                <c16:uniqueId val="{00000003-8B6A-4073-A7F3-1FD5F0542956}"/>
              </c:ext>
            </c:extLst>
          </c:dPt>
          <c:cat>
            <c:strRef>
              <c:f>'ai capex'!$B$10:$B$17</c:f>
              <c:strCache>
                <c:ptCount val="8"/>
                <c:pt idx="0">
                  <c:v>2023</c:v>
                </c:pt>
                <c:pt idx="1">
                  <c:v>2024</c:v>
                </c:pt>
                <c:pt idx="2">
                  <c:v>2025E</c:v>
                </c:pt>
                <c:pt idx="3">
                  <c:v>2026E</c:v>
                </c:pt>
                <c:pt idx="4">
                  <c:v>2027E</c:v>
                </c:pt>
                <c:pt idx="5">
                  <c:v>2028E</c:v>
                </c:pt>
                <c:pt idx="6">
                  <c:v>2029E</c:v>
                </c:pt>
                <c:pt idx="7">
                  <c:v>2030E</c:v>
                </c:pt>
              </c:strCache>
            </c:strRef>
          </c:cat>
          <c:val>
            <c:numRef>
              <c:f>'ai capex'!$C$10:$C$17</c:f>
              <c:numCache>
                <c:formatCode>General</c:formatCode>
                <c:ptCount val="8"/>
                <c:pt idx="0">
                  <c:v>60</c:v>
                </c:pt>
                <c:pt idx="1">
                  <c:v>225</c:v>
                </c:pt>
                <c:pt idx="2">
                  <c:v>423</c:v>
                </c:pt>
                <c:pt idx="3" formatCode="0">
                  <c:v>573.14217966980004</c:v>
                </c:pt>
                <c:pt idx="4" formatCode="0">
                  <c:v>748.11379818969999</c:v>
                </c:pt>
                <c:pt idx="5" formatCode="0">
                  <c:v>952.41417474399998</c:v>
                </c:pt>
                <c:pt idx="6" formatCode="0">
                  <c:v>1127.8189021978001</c:v>
                </c:pt>
                <c:pt idx="7" formatCode="0">
                  <c:v>1304.0353933793999</c:v>
                </c:pt>
              </c:numCache>
            </c:numRef>
          </c:val>
          <c:extLst>
            <c:ext xmlns:c16="http://schemas.microsoft.com/office/drawing/2014/chart" uri="{C3380CC4-5D6E-409C-BE32-E72D297353CC}">
              <c16:uniqueId val="{00000004-8B6A-4073-A7F3-1FD5F0542956}"/>
            </c:ext>
          </c:extLst>
        </c:ser>
        <c:dLbls>
          <c:showLegendKey val="0"/>
          <c:showVal val="0"/>
          <c:showCatName val="0"/>
          <c:showSerName val="0"/>
          <c:showPercent val="0"/>
          <c:showBubbleSize val="0"/>
        </c:dLbls>
        <c:gapWidth val="30"/>
        <c:overlap val="-30"/>
        <c:axId val="1724917967"/>
        <c:axId val="1724918383"/>
      </c:barChart>
      <c:catAx>
        <c:axId val="1724917967"/>
        <c:scaling>
          <c:orientation val="minMax"/>
        </c:scaling>
        <c:delete val="0"/>
        <c:axPos val="b"/>
        <c:numFmt formatCode="yyyy" sourceLinked="0"/>
        <c:majorTickMark val="none"/>
        <c:minorTickMark val="none"/>
        <c:tickLblPos val="low"/>
        <c:spPr>
          <a:noFill/>
          <a:ln w="9525" cap="flat" cmpd="sng" algn="ctr">
            <a:solidFill>
              <a:sysClr val="windowText" lastClr="000000"/>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24918383"/>
        <c:crosses val="autoZero"/>
        <c:auto val="1"/>
        <c:lblAlgn val="ctr"/>
        <c:lblOffset val="100"/>
        <c:noMultiLvlLbl val="0"/>
      </c:catAx>
      <c:valAx>
        <c:axId val="1724918383"/>
        <c:scaling>
          <c:orientation val="minMax"/>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724917967"/>
        <c:crosses val="autoZero"/>
        <c:crossBetween val="between"/>
      </c:valAx>
      <c:spPr>
        <a:solidFill>
          <a:srgbClr val="FFFFFF"/>
        </a:solid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a:solidFill>
            <a:srgbClr val="000000"/>
          </a:solidFill>
          <a:latin typeface="Frutiger 45 Light" panose="020B0603020202020204" pitchFamily="34" charset="0"/>
          <a:ea typeface="+mn-ea"/>
        </a:defRPr>
      </a:pPr>
      <a:endParaRPr lang="en-US"/>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07051412521368E-2"/>
          <c:y val="4.4400973315835514E-2"/>
          <c:w val="0.89981427582838069"/>
          <c:h val="0.6369239391951006"/>
        </c:manualLayout>
      </c:layout>
      <c:barChart>
        <c:barDir val="col"/>
        <c:grouping val="stacked"/>
        <c:varyColors val="0"/>
        <c:ser>
          <c:idx val="0"/>
          <c:order val="0"/>
          <c:tx>
            <c:strRef>
              <c:f>'P&amp;R'!$A$8</c:f>
              <c:strCache>
                <c:ptCount val="1"/>
                <c:pt idx="0">
                  <c:v>Power generation</c:v>
                </c:pt>
              </c:strCache>
            </c:strRef>
          </c:tx>
          <c:spPr>
            <a:solidFill>
              <a:srgbClr val="8E8D83"/>
            </a:solidFill>
            <a:ln w="12700" cap="flat" cmpd="sng" algn="ctr">
              <a:solidFill>
                <a:srgbClr val="FFFFFF"/>
              </a:solidFill>
              <a:prstDash val="solid"/>
              <a:round/>
              <a:headEnd type="none" w="med" len="med"/>
              <a:tailEnd type="none" w="med" len="med"/>
            </a:ln>
            <a:effectLst/>
          </c:spPr>
          <c:invertIfNegative val="0"/>
          <c:cat>
            <c:strRef>
              <c:f>'P&amp;R'!$D$7:$N$7</c:f>
              <c:strCache>
                <c:ptCount val="6"/>
                <c:pt idx="0">
                  <c:v>2025E</c:v>
                </c:pt>
                <c:pt idx="1">
                  <c:v>2027E</c:v>
                </c:pt>
                <c:pt idx="2">
                  <c:v>2029E</c:v>
                </c:pt>
                <c:pt idx="3">
                  <c:v>2031E</c:v>
                </c:pt>
                <c:pt idx="4">
                  <c:v>2033E</c:v>
                </c:pt>
                <c:pt idx="5">
                  <c:v>2035E</c:v>
                </c:pt>
              </c:strCache>
              <c:extLst/>
            </c:strRef>
          </c:cat>
          <c:val>
            <c:numRef>
              <c:f>'P&amp;R'!$D$8:$N$8</c:f>
              <c:numCache>
                <c:formatCode>_("£"* #,##0_);_("£"* \(#,##0\);_("£"* "-"??_);_(@_)</c:formatCode>
                <c:ptCount val="6"/>
                <c:pt idx="0">
                  <c:v>900</c:v>
                </c:pt>
                <c:pt idx="1">
                  <c:v>900</c:v>
                </c:pt>
                <c:pt idx="2">
                  <c:v>900</c:v>
                </c:pt>
                <c:pt idx="3">
                  <c:v>900</c:v>
                </c:pt>
                <c:pt idx="4">
                  <c:v>900</c:v>
                </c:pt>
                <c:pt idx="5">
                  <c:v>900</c:v>
                </c:pt>
              </c:numCache>
              <c:extLst/>
            </c:numRef>
          </c:val>
          <c:extLst>
            <c:ext xmlns:c16="http://schemas.microsoft.com/office/drawing/2014/chart" uri="{C3380CC4-5D6E-409C-BE32-E72D297353CC}">
              <c16:uniqueId val="{00000000-0645-4677-AE37-5E3FF78C2423}"/>
            </c:ext>
          </c:extLst>
        </c:ser>
        <c:ser>
          <c:idx val="1"/>
          <c:order val="1"/>
          <c:tx>
            <c:strRef>
              <c:f>'P&amp;R'!$A$9</c:f>
              <c:strCache>
                <c:ptCount val="1"/>
                <c:pt idx="0">
                  <c:v>Battery storage</c:v>
                </c:pt>
              </c:strCache>
            </c:strRef>
          </c:tx>
          <c:spPr>
            <a:solidFill>
              <a:srgbClr val="5A5D5C"/>
            </a:solidFill>
            <a:ln w="12700" cap="flat" cmpd="sng" algn="ctr">
              <a:solidFill>
                <a:srgbClr val="FFFFFF"/>
              </a:solidFill>
              <a:prstDash val="solid"/>
              <a:round/>
              <a:headEnd type="none" w="med" len="med"/>
              <a:tailEnd type="none" w="med" len="med"/>
            </a:ln>
            <a:effectLst/>
          </c:spPr>
          <c:invertIfNegative val="0"/>
          <c:cat>
            <c:strRef>
              <c:f>'P&amp;R'!$D$7:$N$7</c:f>
              <c:strCache>
                <c:ptCount val="6"/>
                <c:pt idx="0">
                  <c:v>2025E</c:v>
                </c:pt>
                <c:pt idx="1">
                  <c:v>2027E</c:v>
                </c:pt>
                <c:pt idx="2">
                  <c:v>2029E</c:v>
                </c:pt>
                <c:pt idx="3">
                  <c:v>2031E</c:v>
                </c:pt>
                <c:pt idx="4">
                  <c:v>2033E</c:v>
                </c:pt>
                <c:pt idx="5">
                  <c:v>2035E</c:v>
                </c:pt>
              </c:strCache>
              <c:extLst/>
            </c:strRef>
          </c:cat>
          <c:val>
            <c:numRef>
              <c:f>'P&amp;R'!$D$9:$N$9</c:f>
              <c:numCache>
                <c:formatCode>_("£"* #,##0_);_("£"* \(#,##0\);_("£"* "-"??_);_(@_)</c:formatCode>
                <c:ptCount val="6"/>
                <c:pt idx="0">
                  <c:v>24.375</c:v>
                </c:pt>
                <c:pt idx="1">
                  <c:v>43.725000000000001</c:v>
                </c:pt>
                <c:pt idx="2">
                  <c:v>55.625</c:v>
                </c:pt>
                <c:pt idx="3">
                  <c:v>70.724999999999994</c:v>
                </c:pt>
                <c:pt idx="4">
                  <c:v>81.900000000000006</c:v>
                </c:pt>
                <c:pt idx="5">
                  <c:v>104.375</c:v>
                </c:pt>
              </c:numCache>
              <c:extLst/>
            </c:numRef>
          </c:val>
          <c:extLst>
            <c:ext xmlns:c16="http://schemas.microsoft.com/office/drawing/2014/chart" uri="{C3380CC4-5D6E-409C-BE32-E72D297353CC}">
              <c16:uniqueId val="{00000001-0645-4677-AE37-5E3FF78C2423}"/>
            </c:ext>
          </c:extLst>
        </c:ser>
        <c:ser>
          <c:idx val="2"/>
          <c:order val="2"/>
          <c:tx>
            <c:strRef>
              <c:f>'P&amp;R'!$A$10</c:f>
              <c:strCache>
                <c:ptCount val="1"/>
                <c:pt idx="0">
                  <c:v>Grid</c:v>
                </c:pt>
              </c:strCache>
            </c:strRef>
          </c:tx>
          <c:spPr>
            <a:solidFill>
              <a:srgbClr val="000000"/>
            </a:solidFill>
            <a:ln w="12700" cap="flat" cmpd="sng" algn="ctr">
              <a:solidFill>
                <a:srgbClr val="FFFFFF"/>
              </a:solidFill>
              <a:prstDash val="solid"/>
              <a:round/>
              <a:headEnd type="none" w="med" len="med"/>
              <a:tailEnd type="none" w="med" len="med"/>
            </a:ln>
            <a:effectLst/>
          </c:spPr>
          <c:invertIfNegative val="0"/>
          <c:cat>
            <c:strRef>
              <c:f>'P&amp;R'!$D$7:$N$7</c:f>
              <c:strCache>
                <c:ptCount val="6"/>
                <c:pt idx="0">
                  <c:v>2025E</c:v>
                </c:pt>
                <c:pt idx="1">
                  <c:v>2027E</c:v>
                </c:pt>
                <c:pt idx="2">
                  <c:v>2029E</c:v>
                </c:pt>
                <c:pt idx="3">
                  <c:v>2031E</c:v>
                </c:pt>
                <c:pt idx="4">
                  <c:v>2033E</c:v>
                </c:pt>
                <c:pt idx="5">
                  <c:v>2035E</c:v>
                </c:pt>
              </c:strCache>
              <c:extLst/>
            </c:strRef>
          </c:cat>
          <c:val>
            <c:numRef>
              <c:f>'P&amp;R'!$D$10:$N$10</c:f>
              <c:numCache>
                <c:formatCode>_("$"* #,##0_);_("$"* \(#,##0\);_("$"* "-"??_);_(@_)</c:formatCode>
                <c:ptCount val="6"/>
                <c:pt idx="0">
                  <c:v>479</c:v>
                </c:pt>
                <c:pt idx="1">
                  <c:v>577</c:v>
                </c:pt>
                <c:pt idx="2">
                  <c:v>673.01280000000008</c:v>
                </c:pt>
                <c:pt idx="3">
                  <c:v>756.19718208000006</c:v>
                </c:pt>
                <c:pt idx="4">
                  <c:v>817.90287213772808</c:v>
                </c:pt>
                <c:pt idx="5">
                  <c:v>850.94614817209231</c:v>
                </c:pt>
              </c:numCache>
              <c:extLst/>
            </c:numRef>
          </c:val>
          <c:extLst>
            <c:ext xmlns:c16="http://schemas.microsoft.com/office/drawing/2014/chart" uri="{C3380CC4-5D6E-409C-BE32-E72D297353CC}">
              <c16:uniqueId val="{00000002-0645-4677-AE37-5E3FF78C2423}"/>
            </c:ext>
          </c:extLst>
        </c:ser>
        <c:ser>
          <c:idx val="3"/>
          <c:order val="3"/>
          <c:tx>
            <c:strRef>
              <c:f>'P&amp;R'!$A$11</c:f>
              <c:strCache>
                <c:ptCount val="1"/>
                <c:pt idx="0">
                  <c:v>DC infrastructure</c:v>
                </c:pt>
              </c:strCache>
            </c:strRef>
          </c:tx>
          <c:spPr>
            <a:solidFill>
              <a:srgbClr val="BD000C"/>
            </a:solidFill>
            <a:ln w="12700" cap="flat" cmpd="sng" algn="ctr">
              <a:solidFill>
                <a:srgbClr val="FFFFFF"/>
              </a:solidFill>
              <a:prstDash val="solid"/>
              <a:round/>
              <a:headEnd type="none" w="med" len="med"/>
              <a:tailEnd type="none" w="med" len="med"/>
            </a:ln>
            <a:effectLst/>
          </c:spPr>
          <c:invertIfNegative val="0"/>
          <c:cat>
            <c:strRef>
              <c:f>'P&amp;R'!$D$7:$N$7</c:f>
              <c:strCache>
                <c:ptCount val="6"/>
                <c:pt idx="0">
                  <c:v>2025E</c:v>
                </c:pt>
                <c:pt idx="1">
                  <c:v>2027E</c:v>
                </c:pt>
                <c:pt idx="2">
                  <c:v>2029E</c:v>
                </c:pt>
                <c:pt idx="3">
                  <c:v>2031E</c:v>
                </c:pt>
                <c:pt idx="4">
                  <c:v>2033E</c:v>
                </c:pt>
                <c:pt idx="5">
                  <c:v>2035E</c:v>
                </c:pt>
              </c:strCache>
              <c:extLst/>
            </c:strRef>
          </c:cat>
          <c:val>
            <c:numRef>
              <c:f>'P&amp;R'!$D$11:$N$11</c:f>
              <c:numCache>
                <c:formatCode>_("£"* #,##0_);_("£"* \(#,##0\);_("£"* "-"??_);_(@_)</c:formatCode>
                <c:ptCount val="6"/>
                <c:pt idx="0">
                  <c:v>97.45920000000001</c:v>
                </c:pt>
                <c:pt idx="1">
                  <c:v>158.16490167414076</c:v>
                </c:pt>
                <c:pt idx="2">
                  <c:v>228.92102324060102</c:v>
                </c:pt>
                <c:pt idx="3">
                  <c:v>291.46736698161254</c:v>
                </c:pt>
                <c:pt idx="4">
                  <c:v>332.46334057722783</c:v>
                </c:pt>
                <c:pt idx="5">
                  <c:v>353.99058529397774</c:v>
                </c:pt>
              </c:numCache>
              <c:extLst/>
            </c:numRef>
          </c:val>
          <c:extLst>
            <c:ext xmlns:c16="http://schemas.microsoft.com/office/drawing/2014/chart" uri="{C3380CC4-5D6E-409C-BE32-E72D297353CC}">
              <c16:uniqueId val="{00000003-0645-4677-AE37-5E3FF78C2423}"/>
            </c:ext>
          </c:extLst>
        </c:ser>
        <c:ser>
          <c:idx val="4"/>
          <c:order val="4"/>
          <c:tx>
            <c:strRef>
              <c:f>'P&amp;R'!$A$12</c:f>
              <c:strCache>
                <c:ptCount val="1"/>
                <c:pt idx="0">
                  <c:v>Buildings</c:v>
                </c:pt>
              </c:strCache>
            </c:strRef>
          </c:tx>
          <c:spPr>
            <a:solidFill>
              <a:srgbClr val="8A000A"/>
            </a:solidFill>
            <a:ln w="12700" cap="flat" cmpd="sng" algn="ctr">
              <a:solidFill>
                <a:srgbClr val="FFFFFF"/>
              </a:solidFill>
              <a:prstDash val="solid"/>
              <a:round/>
              <a:headEnd type="none" w="med" len="med"/>
              <a:tailEnd type="none" w="med" len="med"/>
            </a:ln>
            <a:effectLst/>
          </c:spPr>
          <c:invertIfNegative val="0"/>
          <c:cat>
            <c:strRef>
              <c:f>'P&amp;R'!$D$7:$N$7</c:f>
              <c:strCache>
                <c:ptCount val="6"/>
                <c:pt idx="0">
                  <c:v>2025E</c:v>
                </c:pt>
                <c:pt idx="1">
                  <c:v>2027E</c:v>
                </c:pt>
                <c:pt idx="2">
                  <c:v>2029E</c:v>
                </c:pt>
                <c:pt idx="3">
                  <c:v>2031E</c:v>
                </c:pt>
                <c:pt idx="4">
                  <c:v>2033E</c:v>
                </c:pt>
                <c:pt idx="5">
                  <c:v>2035E</c:v>
                </c:pt>
              </c:strCache>
              <c:extLst/>
            </c:strRef>
          </c:cat>
          <c:val>
            <c:numRef>
              <c:f>'P&amp;R'!$D$12:$N$12</c:f>
              <c:numCache>
                <c:formatCode>_("£"* #,##0_);_("£"* \(#,##0\);_("£"* "-"??_);_(@_)</c:formatCode>
                <c:ptCount val="6"/>
                <c:pt idx="0">
                  <c:v>382.0822220429468</c:v>
                </c:pt>
                <c:pt idx="1">
                  <c:v>435.40179612904001</c:v>
                </c:pt>
                <c:pt idx="2">
                  <c:v>493.84360221446036</c:v>
                </c:pt>
                <c:pt idx="3">
                  <c:v>560.12975972169625</c:v>
                </c:pt>
                <c:pt idx="4">
                  <c:v>635.31317672034083</c:v>
                </c:pt>
                <c:pt idx="5">
                  <c:v>720.58808786562849</c:v>
                </c:pt>
              </c:numCache>
              <c:extLst/>
            </c:numRef>
          </c:val>
          <c:extLst>
            <c:ext xmlns:c16="http://schemas.microsoft.com/office/drawing/2014/chart" uri="{C3380CC4-5D6E-409C-BE32-E72D297353CC}">
              <c16:uniqueId val="{00000004-0645-4677-AE37-5E3FF78C2423}"/>
            </c:ext>
          </c:extLst>
        </c:ser>
        <c:ser>
          <c:idx val="5"/>
          <c:order val="5"/>
          <c:tx>
            <c:strRef>
              <c:f>'P&amp;R'!$A$13</c:f>
              <c:strCache>
                <c:ptCount val="1"/>
                <c:pt idx="0">
                  <c:v>Transport</c:v>
                </c:pt>
              </c:strCache>
            </c:strRef>
          </c:tx>
          <c:spPr>
            <a:solidFill>
              <a:srgbClr val="B98E2C"/>
            </a:solidFill>
            <a:ln w="12700" cap="flat" cmpd="sng" algn="ctr">
              <a:solidFill>
                <a:srgbClr val="FFFFFF"/>
              </a:solidFill>
              <a:prstDash val="solid"/>
              <a:round/>
              <a:headEnd type="none" w="med" len="med"/>
              <a:tailEnd type="none" w="med" len="med"/>
            </a:ln>
            <a:effectLst/>
          </c:spPr>
          <c:invertIfNegative val="0"/>
          <c:cat>
            <c:strRef>
              <c:f>'P&amp;R'!$D$7:$N$7</c:f>
              <c:strCache>
                <c:ptCount val="6"/>
                <c:pt idx="0">
                  <c:v>2025E</c:v>
                </c:pt>
                <c:pt idx="1">
                  <c:v>2027E</c:v>
                </c:pt>
                <c:pt idx="2">
                  <c:v>2029E</c:v>
                </c:pt>
                <c:pt idx="3">
                  <c:v>2031E</c:v>
                </c:pt>
                <c:pt idx="4">
                  <c:v>2033E</c:v>
                </c:pt>
                <c:pt idx="5">
                  <c:v>2035E</c:v>
                </c:pt>
              </c:strCache>
              <c:extLst/>
            </c:strRef>
          </c:cat>
          <c:val>
            <c:numRef>
              <c:f>'P&amp;R'!$D$13:$N$13</c:f>
              <c:numCache>
                <c:formatCode>_("£"* #,##0_);_("£"* \(#,##0\);_("£"* "-"??_);_(@_)</c:formatCode>
                <c:ptCount val="6"/>
                <c:pt idx="0">
                  <c:v>267.98367989302676</c:v>
                </c:pt>
                <c:pt idx="1">
                  <c:v>312.57616422722646</c:v>
                </c:pt>
                <c:pt idx="2">
                  <c:v>367.96466052829101</c:v>
                </c:pt>
                <c:pt idx="3">
                  <c:v>441.18962797342101</c:v>
                </c:pt>
                <c:pt idx="4">
                  <c:v>533.83944984783955</c:v>
                </c:pt>
                <c:pt idx="5">
                  <c:v>669.64820588913005</c:v>
                </c:pt>
              </c:numCache>
              <c:extLst/>
            </c:numRef>
          </c:val>
          <c:extLst>
            <c:ext xmlns:c16="http://schemas.microsoft.com/office/drawing/2014/chart" uri="{C3380CC4-5D6E-409C-BE32-E72D297353CC}">
              <c16:uniqueId val="{00000005-0645-4677-AE37-5E3FF78C2423}"/>
            </c:ext>
          </c:extLst>
        </c:ser>
        <c:ser>
          <c:idx val="6"/>
          <c:order val="6"/>
          <c:tx>
            <c:strRef>
              <c:f>'P&amp;R'!$A$14</c:f>
              <c:strCache>
                <c:ptCount val="1"/>
                <c:pt idx="0">
                  <c:v>Industry</c:v>
                </c:pt>
              </c:strCache>
            </c:strRef>
          </c:tx>
          <c:spPr>
            <a:solidFill>
              <a:srgbClr val="946F29"/>
            </a:solidFill>
            <a:ln w="12700" cap="flat" cmpd="sng" algn="ctr">
              <a:solidFill>
                <a:srgbClr val="FFFFFF"/>
              </a:solidFill>
              <a:prstDash val="solid"/>
              <a:round/>
              <a:headEnd type="none" w="med" len="med"/>
              <a:tailEnd type="none" w="med" len="med"/>
            </a:ln>
            <a:effectLst/>
          </c:spPr>
          <c:invertIfNegative val="0"/>
          <c:cat>
            <c:strRef>
              <c:f>'P&amp;R'!$D$7:$N$7</c:f>
              <c:strCache>
                <c:ptCount val="6"/>
                <c:pt idx="0">
                  <c:v>2025E</c:v>
                </c:pt>
                <c:pt idx="1">
                  <c:v>2027E</c:v>
                </c:pt>
                <c:pt idx="2">
                  <c:v>2029E</c:v>
                </c:pt>
                <c:pt idx="3">
                  <c:v>2031E</c:v>
                </c:pt>
                <c:pt idx="4">
                  <c:v>2033E</c:v>
                </c:pt>
                <c:pt idx="5">
                  <c:v>2035E</c:v>
                </c:pt>
              </c:strCache>
              <c:extLst/>
            </c:strRef>
          </c:cat>
          <c:val>
            <c:numRef>
              <c:f>'P&amp;R'!$D$14:$N$14</c:f>
              <c:numCache>
                <c:formatCode>_("£"* #,##0_);_("£"* \(#,##0\);_("£"* "-"??_);_(@_)</c:formatCode>
                <c:ptCount val="6"/>
                <c:pt idx="0">
                  <c:v>51.955006590705473</c:v>
                </c:pt>
                <c:pt idx="1">
                  <c:v>57.280394766252783</c:v>
                </c:pt>
                <c:pt idx="2">
                  <c:v>63.151635229793698</c:v>
                </c:pt>
                <c:pt idx="3">
                  <c:v>69.624677840847554</c:v>
                </c:pt>
                <c:pt idx="4">
                  <c:v>76.761207319534435</c:v>
                </c:pt>
                <c:pt idx="5">
                  <c:v>84.629231069786726</c:v>
                </c:pt>
              </c:numCache>
              <c:extLst/>
            </c:numRef>
          </c:val>
          <c:extLst>
            <c:ext xmlns:c16="http://schemas.microsoft.com/office/drawing/2014/chart" uri="{C3380CC4-5D6E-409C-BE32-E72D297353CC}">
              <c16:uniqueId val="{00000006-0645-4677-AE37-5E3FF78C2423}"/>
            </c:ext>
          </c:extLst>
        </c:ser>
        <c:dLbls>
          <c:showLegendKey val="0"/>
          <c:showVal val="0"/>
          <c:showCatName val="0"/>
          <c:showSerName val="0"/>
          <c:showPercent val="0"/>
          <c:showBubbleSize val="0"/>
        </c:dLbls>
        <c:gapWidth val="50"/>
        <c:overlap val="100"/>
        <c:axId val="1630501664"/>
        <c:axId val="1630482464"/>
      </c:barChart>
      <c:catAx>
        <c:axId val="1630501664"/>
        <c:scaling>
          <c:orientation val="minMax"/>
        </c:scaling>
        <c:delete val="0"/>
        <c:axPos val="b"/>
        <c:numFmt formatCode="General" sourceLinked="1"/>
        <c:majorTickMark val="none"/>
        <c:minorTickMark val="none"/>
        <c:tickLblPos val="low"/>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630482464"/>
        <c:crosses val="autoZero"/>
        <c:auto val="1"/>
        <c:lblAlgn val="ctr"/>
        <c:lblOffset val="100"/>
        <c:noMultiLvlLbl val="0"/>
      </c:catAx>
      <c:valAx>
        <c:axId val="1630482464"/>
        <c:scaling>
          <c:orientation val="minMax"/>
          <c:max val="40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crossAx val="1630501664"/>
        <c:crosses val="autoZero"/>
        <c:crossBetween val="between"/>
      </c:valAx>
      <c:spPr>
        <a:noFill/>
        <a:ln>
          <a:noFill/>
        </a:ln>
        <a:effectLst/>
      </c:spPr>
    </c:plotArea>
    <c:legend>
      <c:legendPos val="b"/>
      <c:layout>
        <c:manualLayout>
          <c:xMode val="edge"/>
          <c:yMode val="edge"/>
          <c:x val="8.8828740157480312E-4"/>
          <c:y val="0.80823490813648291"/>
          <c:w val="0.99911171259842502"/>
          <c:h val="0.1917650918635170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Frutiger 45 Light" panose="020B0603020202020204" pitchFamily="34" charset="0"/>
              <a:ea typeface="+mn-ea"/>
              <a:cs typeface="+mn-cs"/>
            </a:defRPr>
          </a:pPr>
          <a:endParaRPr lang="en-US"/>
        </a:p>
      </c:txPr>
    </c:legend>
    <c:plotVisOnly val="1"/>
    <c:dispBlanksAs val="gap"/>
    <c:showDLblsOverMax val="0"/>
  </c:chart>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a:solidFill>
            <a:srgbClr val="000000"/>
          </a:solidFill>
          <a:latin typeface="Frutiger 45 Light" panose="020B0603020202020204" pitchFamily="34" charset="0"/>
          <a:ea typeface="+mn-ea"/>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4583</cdr:x>
      <cdr:y>0.17489</cdr:y>
    </cdr:from>
    <cdr:to>
      <cdr:x>0.54583</cdr:x>
      <cdr:y>0.4457</cdr:y>
    </cdr:to>
    <cdr:sp macro="" textlink="">
      <cdr:nvSpPr>
        <cdr:cNvPr id="2" name="TextBox 1">
          <a:extLst xmlns:a="http://schemas.openxmlformats.org/drawingml/2006/main">
            <a:ext uri="{FF2B5EF4-FFF2-40B4-BE49-F238E27FC236}">
              <a16:creationId xmlns:a16="http://schemas.microsoft.com/office/drawing/2014/main" id="{39846C3F-1951-467C-A09E-A1531D0F1906}"/>
            </a:ext>
          </a:extLst>
        </cdr:cNvPr>
        <cdr:cNvSpPr txBox="1"/>
      </cdr:nvSpPr>
      <cdr:spPr>
        <a:xfrm xmlns:a="http://schemas.openxmlformats.org/drawingml/2006/main">
          <a:off x="1581150" y="59055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3958</cdr:x>
      <cdr:y>0.23131</cdr:y>
    </cdr:from>
    <cdr:to>
      <cdr:x>0.35417</cdr:x>
      <cdr:y>0.24485</cdr:y>
    </cdr:to>
    <cdr:sp macro="" textlink="">
      <cdr:nvSpPr>
        <cdr:cNvPr id="3" name="TextBox 2">
          <a:extLst xmlns:a="http://schemas.openxmlformats.org/drawingml/2006/main">
            <a:ext uri="{FF2B5EF4-FFF2-40B4-BE49-F238E27FC236}">
              <a16:creationId xmlns:a16="http://schemas.microsoft.com/office/drawing/2014/main" id="{69D4CBBA-2622-44CA-8A99-5FC8D7A8FD8A}"/>
            </a:ext>
          </a:extLst>
        </cdr:cNvPr>
        <cdr:cNvSpPr txBox="1"/>
      </cdr:nvSpPr>
      <cdr:spPr>
        <a:xfrm xmlns:a="http://schemas.openxmlformats.org/drawingml/2006/main">
          <a:off x="1552575" y="781050"/>
          <a:ext cx="66675" cy="4571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22656</cdr:x>
      <cdr:y>0.11979</cdr:y>
    </cdr:from>
    <cdr:to>
      <cdr:x>0.73438</cdr:x>
      <cdr:y>0.57031</cdr:y>
    </cdr:to>
    <cdr:cxnSp macro="">
      <cdr:nvCxnSpPr>
        <cdr:cNvPr id="5" name="Straight Arrow Connector 4">
          <a:extLst xmlns:a="http://schemas.openxmlformats.org/drawingml/2006/main">
            <a:ext uri="{FF2B5EF4-FFF2-40B4-BE49-F238E27FC236}">
              <a16:creationId xmlns:a16="http://schemas.microsoft.com/office/drawing/2014/main" id="{5586B563-30CE-69AD-82AF-3B071B14F92E}"/>
            </a:ext>
          </a:extLst>
        </cdr:cNvPr>
        <cdr:cNvCxnSpPr/>
      </cdr:nvCxnSpPr>
      <cdr:spPr>
        <a:xfrm xmlns:a="http://schemas.openxmlformats.org/drawingml/2006/main" flipV="1">
          <a:off x="828675" y="438150"/>
          <a:ext cx="1857375" cy="1647825"/>
        </a:xfrm>
        <a:prstGeom xmlns:a="http://schemas.openxmlformats.org/drawingml/2006/main" prst="straightConnector1">
          <a:avLst/>
        </a:prstGeom>
        <a:ln xmlns:a="http://schemas.openxmlformats.org/drawingml/2006/main" w="19050">
          <a:solidFill>
            <a:srgbClr val="E60000"/>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10.xml><?xml version="1.0" encoding="utf-8"?>
<c:userShapes xmlns:c="http://schemas.openxmlformats.org/drawingml/2006/chart">
  <cdr:relSizeAnchor xmlns:cdr="http://schemas.openxmlformats.org/drawingml/2006/chartDrawing">
    <cdr:from>
      <cdr:x>0.79844</cdr:x>
      <cdr:y>0</cdr:y>
    </cdr:from>
    <cdr:to>
      <cdr:x>0.97199</cdr:x>
      <cdr:y>0.28526</cdr:y>
    </cdr:to>
    <cdr:sp macro="" textlink="">
      <cdr:nvSpPr>
        <cdr:cNvPr id="2" name="Arc 1">
          <a:extLst xmlns:a="http://schemas.openxmlformats.org/drawingml/2006/main">
            <a:ext uri="{FF2B5EF4-FFF2-40B4-BE49-F238E27FC236}">
              <a16:creationId xmlns:a16="http://schemas.microsoft.com/office/drawing/2014/main" id="{1AC8CB1D-E7AD-4BBE-2447-9754237ACCC9}"/>
            </a:ext>
          </a:extLst>
        </cdr:cNvPr>
        <cdr:cNvSpPr/>
      </cdr:nvSpPr>
      <cdr:spPr>
        <a:xfrm xmlns:a="http://schemas.openxmlformats.org/drawingml/2006/main" rot="10248670">
          <a:off x="3105453" y="-2506092"/>
          <a:ext cx="675005" cy="1228299"/>
        </a:xfrm>
        <a:prstGeom xmlns:a="http://schemas.openxmlformats.org/drawingml/2006/main" prst="arc">
          <a:avLst>
            <a:gd name="adj1" fmla="val 12619736"/>
            <a:gd name="adj2" fmla="val 16638602"/>
          </a:avLst>
        </a:prstGeom>
        <a:ln xmlns:a="http://schemas.openxmlformats.org/drawingml/2006/main">
          <a:solidFill>
            <a:schemeClr val="tx2"/>
          </a:solidFill>
          <a:headEnd type="triangle" w="med" len="med"/>
          <a:tailEnd type="non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kern="1200"/>
        </a:p>
      </cdr:txBody>
    </cdr:sp>
  </cdr:relSizeAnchor>
</c:userShapes>
</file>

<file path=ppt/drawings/drawing11.xml><?xml version="1.0" encoding="utf-8"?>
<c:userShapes xmlns:c="http://schemas.openxmlformats.org/drawingml/2006/chart">
  <cdr:relSizeAnchor xmlns:cdr="http://schemas.openxmlformats.org/drawingml/2006/chartDrawing">
    <cdr:from>
      <cdr:x>0.80882</cdr:x>
      <cdr:y>0.84771</cdr:y>
    </cdr:from>
    <cdr:to>
      <cdr:x>1</cdr:x>
      <cdr:y>0.9638</cdr:y>
    </cdr:to>
    <cdr:sp macro="" textlink="">
      <cdr:nvSpPr>
        <cdr:cNvPr id="3" name="テキスト ボックス 1">
          <a:extLst xmlns:a="http://schemas.openxmlformats.org/drawingml/2006/main">
            <a:ext uri="{FF2B5EF4-FFF2-40B4-BE49-F238E27FC236}">
              <a16:creationId xmlns:a16="http://schemas.microsoft.com/office/drawing/2014/main" id="{A4A2EF33-A4E7-F769-BAE7-D249D0BCA6D2}"/>
            </a:ext>
          </a:extLst>
        </cdr:cNvPr>
        <cdr:cNvSpPr txBox="1"/>
      </cdr:nvSpPr>
      <cdr:spPr>
        <a:xfrm xmlns:a="http://schemas.openxmlformats.org/drawingml/2006/main">
          <a:off x="4804735" y="3268787"/>
          <a:ext cx="1135690" cy="447648"/>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altLang="ja-JP" sz="1200" dirty="0">
              <a:solidFill>
                <a:schemeClr val="tx1">
                  <a:lumMod val="65000"/>
                  <a:lumOff val="35000"/>
                </a:schemeClr>
              </a:solidFill>
            </a:rPr>
            <a:t>(month)</a:t>
          </a:r>
          <a:endParaRPr lang="en-US" sz="1200" dirty="0">
            <a:solidFill>
              <a:schemeClr val="tx1">
                <a:lumMod val="65000"/>
                <a:lumOff val="35000"/>
              </a:schemeClr>
            </a:solidFill>
          </a:endParaRPr>
        </a:p>
      </cdr:txBody>
    </cdr:sp>
  </cdr:relSizeAnchor>
  <cdr:relSizeAnchor xmlns:cdr="http://schemas.openxmlformats.org/drawingml/2006/chartDrawing">
    <cdr:from>
      <cdr:x>0.01229</cdr:x>
      <cdr:y>0.01815</cdr:y>
    </cdr:from>
    <cdr:to>
      <cdr:x>0.19881</cdr:x>
      <cdr:y>0.11822</cdr:y>
    </cdr:to>
    <cdr:sp macro="" textlink="">
      <cdr:nvSpPr>
        <cdr:cNvPr id="4" name="テキスト ボックス 1">
          <a:extLst xmlns:a="http://schemas.openxmlformats.org/drawingml/2006/main">
            <a:ext uri="{FF2B5EF4-FFF2-40B4-BE49-F238E27FC236}">
              <a16:creationId xmlns:a16="http://schemas.microsoft.com/office/drawing/2014/main" id="{F4A7A5C5-C149-1758-81E8-E06A4AF35934}"/>
            </a:ext>
          </a:extLst>
        </cdr:cNvPr>
        <cdr:cNvSpPr txBox="1"/>
      </cdr:nvSpPr>
      <cdr:spPr>
        <a:xfrm xmlns:a="http://schemas.openxmlformats.org/drawingml/2006/main">
          <a:off x="50800" y="50800"/>
          <a:ext cx="771282" cy="280136"/>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900" dirty="0">
              <a:effectLst/>
              <a:latin typeface="+mj-lt"/>
            </a:rPr>
            <a:t>(</a:t>
          </a:r>
          <a:r>
            <a:rPr lang="en-US" sz="900" err="1">
              <a:effectLst/>
              <a:latin typeface="+mj-lt"/>
            </a:rPr>
            <a:t>JPYtn</a:t>
          </a:r>
          <a:r>
            <a:rPr lang="ja-JP" altLang="en-US" sz="900">
              <a:latin typeface="+mj-lt"/>
            </a:rPr>
            <a:t>）</a:t>
          </a:r>
          <a:r>
            <a:rPr lang="en-US" altLang="ja-JP" sz="900">
              <a:latin typeface="+mj-lt"/>
            </a:rPr>
            <a:t>)</a:t>
          </a:r>
          <a:endParaRPr lang="en-US" sz="900" dirty="0">
            <a:latin typeface="+mj-lt"/>
          </a:endParaRPr>
        </a:p>
      </cdr:txBody>
    </cdr:sp>
  </cdr:relSizeAnchor>
</c:userShapes>
</file>

<file path=ppt/drawings/drawing12.xml><?xml version="1.0" encoding="utf-8"?>
<c:userShapes xmlns:c="http://schemas.openxmlformats.org/drawingml/2006/chart">
  <cdr:relSizeAnchor xmlns:cdr="http://schemas.openxmlformats.org/drawingml/2006/chartDrawing">
    <cdr:from>
      <cdr:x>0.24112</cdr:x>
      <cdr:y>0.00823</cdr:y>
    </cdr:from>
    <cdr:to>
      <cdr:x>0.24112</cdr:x>
      <cdr:y>0.75358</cdr:y>
    </cdr:to>
    <cdr:cxnSp macro="">
      <cdr:nvCxnSpPr>
        <cdr:cNvPr id="3" name="Straight Connector 2">
          <a:extLst xmlns:a="http://schemas.openxmlformats.org/drawingml/2006/main">
            <a:ext uri="{FF2B5EF4-FFF2-40B4-BE49-F238E27FC236}">
              <a16:creationId xmlns:a16="http://schemas.microsoft.com/office/drawing/2014/main" id="{CBA1B425-89CE-0260-B032-4CF2523C5A66}"/>
            </a:ext>
          </a:extLst>
        </cdr:cNvPr>
        <cdr:cNvCxnSpPr/>
      </cdr:nvCxnSpPr>
      <cdr:spPr>
        <a:xfrm xmlns:a="http://schemas.openxmlformats.org/drawingml/2006/main">
          <a:off x="1432355" y="35067"/>
          <a:ext cx="0" cy="3175806"/>
        </a:xfrm>
        <a:prstGeom xmlns:a="http://schemas.openxmlformats.org/drawingml/2006/main" prst="line">
          <a:avLst/>
        </a:prstGeom>
        <a:ln xmlns:a="http://schemas.openxmlformats.org/drawingml/2006/main" w="12700">
          <a:solidFill>
            <a:schemeClr val="tx1">
              <a:lumMod val="65000"/>
              <a:lumOff val="35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9506</cdr:x>
      <cdr:y>0.84122</cdr:y>
    </cdr:from>
    <cdr:to>
      <cdr:x>0.64631</cdr:x>
      <cdr:y>0.88293</cdr:y>
    </cdr:to>
    <cdr:sp macro="" textlink="">
      <cdr:nvSpPr>
        <cdr:cNvPr id="10" name="TextBox 9">
          <a:extLst xmlns:a="http://schemas.openxmlformats.org/drawingml/2006/main">
            <a:ext uri="{FF2B5EF4-FFF2-40B4-BE49-F238E27FC236}">
              <a16:creationId xmlns:a16="http://schemas.microsoft.com/office/drawing/2014/main" id="{BC8E4493-C277-CD6E-4CF4-E8652BCE0A6B}"/>
            </a:ext>
          </a:extLst>
        </cdr:cNvPr>
        <cdr:cNvSpPr txBox="1"/>
      </cdr:nvSpPr>
      <cdr:spPr>
        <a:xfrm xmlns:a="http://schemas.openxmlformats.org/drawingml/2006/main">
          <a:off x="2346804" y="3584315"/>
          <a:ext cx="1492532" cy="17772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1000" dirty="0"/>
            <a:t>Number</a:t>
          </a:r>
          <a:r>
            <a:rPr lang="en-US" sz="1000" baseline="0" dirty="0"/>
            <a:t> </a:t>
          </a:r>
          <a:r>
            <a:rPr lang="en-US" sz="1000" baseline="0" dirty="0" err="1"/>
            <a:t>of</a:t>
          </a:r>
          <a:r>
            <a:rPr lang="en-US" sz="1000" baseline="0" dirty="0"/>
            <a:t> </a:t>
          </a:r>
          <a:r>
            <a:rPr lang="en-US" sz="1000" baseline="0" dirty="0" err="1"/>
            <a:t>weeks</a:t>
          </a:r>
          <a:endParaRPr lang="en-US" sz="1000" dirty="0"/>
        </a:p>
      </cdr:txBody>
    </cdr:sp>
  </cdr:relSizeAnchor>
</c:userShapes>
</file>

<file path=ppt/drawings/drawing13.xml><?xml version="1.0" encoding="utf-8"?>
<c:userShapes xmlns:c="http://schemas.openxmlformats.org/drawingml/2006/chart">
  <cdr:relSizeAnchor xmlns:cdr="http://schemas.openxmlformats.org/drawingml/2006/chartDrawing">
    <cdr:from>
      <cdr:x>0.34583</cdr:x>
      <cdr:y>0.17489</cdr:y>
    </cdr:from>
    <cdr:to>
      <cdr:x>0.54583</cdr:x>
      <cdr:y>0.4457</cdr:y>
    </cdr:to>
    <cdr:sp macro="" textlink="">
      <cdr:nvSpPr>
        <cdr:cNvPr id="2" name="TextBox 1">
          <a:extLst xmlns:a="http://schemas.openxmlformats.org/drawingml/2006/main">
            <a:ext uri="{FF2B5EF4-FFF2-40B4-BE49-F238E27FC236}">
              <a16:creationId xmlns:a16="http://schemas.microsoft.com/office/drawing/2014/main" id="{39846C3F-1951-467C-A09E-A1531D0F1906}"/>
            </a:ext>
          </a:extLst>
        </cdr:cNvPr>
        <cdr:cNvSpPr txBox="1"/>
      </cdr:nvSpPr>
      <cdr:spPr>
        <a:xfrm xmlns:a="http://schemas.openxmlformats.org/drawingml/2006/main">
          <a:off x="1581150" y="59055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3958</cdr:x>
      <cdr:y>0.23131</cdr:y>
    </cdr:from>
    <cdr:to>
      <cdr:x>0.35417</cdr:x>
      <cdr:y>0.24485</cdr:y>
    </cdr:to>
    <cdr:sp macro="" textlink="">
      <cdr:nvSpPr>
        <cdr:cNvPr id="3" name="TextBox 2">
          <a:extLst xmlns:a="http://schemas.openxmlformats.org/drawingml/2006/main">
            <a:ext uri="{FF2B5EF4-FFF2-40B4-BE49-F238E27FC236}">
              <a16:creationId xmlns:a16="http://schemas.microsoft.com/office/drawing/2014/main" id="{69D4CBBA-2622-44CA-8A99-5FC8D7A8FD8A}"/>
            </a:ext>
          </a:extLst>
        </cdr:cNvPr>
        <cdr:cNvSpPr txBox="1"/>
      </cdr:nvSpPr>
      <cdr:spPr>
        <a:xfrm xmlns:a="http://schemas.openxmlformats.org/drawingml/2006/main">
          <a:off x="1552575" y="781050"/>
          <a:ext cx="66675" cy="4571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14.xml><?xml version="1.0" encoding="utf-8"?>
<c:userShapes xmlns:c="http://schemas.openxmlformats.org/drawingml/2006/chart">
  <cdr:relSizeAnchor xmlns:cdr="http://schemas.openxmlformats.org/drawingml/2006/chartDrawing">
    <cdr:from>
      <cdr:x>0.34583</cdr:x>
      <cdr:y>0.17489</cdr:y>
    </cdr:from>
    <cdr:to>
      <cdr:x>0.54583</cdr:x>
      <cdr:y>0.4457</cdr:y>
    </cdr:to>
    <cdr:sp macro="" textlink="">
      <cdr:nvSpPr>
        <cdr:cNvPr id="2" name="TextBox 1">
          <a:extLst xmlns:a="http://schemas.openxmlformats.org/drawingml/2006/main">
            <a:ext uri="{FF2B5EF4-FFF2-40B4-BE49-F238E27FC236}">
              <a16:creationId xmlns:a16="http://schemas.microsoft.com/office/drawing/2014/main" id="{39846C3F-1951-467C-A09E-A1531D0F1906}"/>
            </a:ext>
          </a:extLst>
        </cdr:cNvPr>
        <cdr:cNvSpPr txBox="1"/>
      </cdr:nvSpPr>
      <cdr:spPr>
        <a:xfrm xmlns:a="http://schemas.openxmlformats.org/drawingml/2006/main">
          <a:off x="1581150" y="59055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3958</cdr:x>
      <cdr:y>0.23131</cdr:y>
    </cdr:from>
    <cdr:to>
      <cdr:x>0.35417</cdr:x>
      <cdr:y>0.24485</cdr:y>
    </cdr:to>
    <cdr:sp macro="" textlink="">
      <cdr:nvSpPr>
        <cdr:cNvPr id="3" name="TextBox 2">
          <a:extLst xmlns:a="http://schemas.openxmlformats.org/drawingml/2006/main">
            <a:ext uri="{FF2B5EF4-FFF2-40B4-BE49-F238E27FC236}">
              <a16:creationId xmlns:a16="http://schemas.microsoft.com/office/drawing/2014/main" id="{69D4CBBA-2622-44CA-8A99-5FC8D7A8FD8A}"/>
            </a:ext>
          </a:extLst>
        </cdr:cNvPr>
        <cdr:cNvSpPr txBox="1"/>
      </cdr:nvSpPr>
      <cdr:spPr>
        <a:xfrm xmlns:a="http://schemas.openxmlformats.org/drawingml/2006/main">
          <a:off x="1552575" y="781050"/>
          <a:ext cx="66675" cy="4571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34583</cdr:x>
      <cdr:y>0.17489</cdr:y>
    </cdr:from>
    <cdr:to>
      <cdr:x>0.54583</cdr:x>
      <cdr:y>0.4457</cdr:y>
    </cdr:to>
    <cdr:sp macro="" textlink="">
      <cdr:nvSpPr>
        <cdr:cNvPr id="2" name="TextBox 1">
          <a:extLst xmlns:a="http://schemas.openxmlformats.org/drawingml/2006/main">
            <a:ext uri="{FF2B5EF4-FFF2-40B4-BE49-F238E27FC236}">
              <a16:creationId xmlns:a16="http://schemas.microsoft.com/office/drawing/2014/main" id="{39846C3F-1951-467C-A09E-A1531D0F1906}"/>
            </a:ext>
          </a:extLst>
        </cdr:cNvPr>
        <cdr:cNvSpPr txBox="1"/>
      </cdr:nvSpPr>
      <cdr:spPr>
        <a:xfrm xmlns:a="http://schemas.openxmlformats.org/drawingml/2006/main">
          <a:off x="1581150" y="59055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3958</cdr:x>
      <cdr:y>0.23131</cdr:y>
    </cdr:from>
    <cdr:to>
      <cdr:x>0.35417</cdr:x>
      <cdr:y>0.24485</cdr:y>
    </cdr:to>
    <cdr:sp macro="" textlink="">
      <cdr:nvSpPr>
        <cdr:cNvPr id="3" name="TextBox 2">
          <a:extLst xmlns:a="http://schemas.openxmlformats.org/drawingml/2006/main">
            <a:ext uri="{FF2B5EF4-FFF2-40B4-BE49-F238E27FC236}">
              <a16:creationId xmlns:a16="http://schemas.microsoft.com/office/drawing/2014/main" id="{69D4CBBA-2622-44CA-8A99-5FC8D7A8FD8A}"/>
            </a:ext>
          </a:extLst>
        </cdr:cNvPr>
        <cdr:cNvSpPr txBox="1"/>
      </cdr:nvSpPr>
      <cdr:spPr>
        <a:xfrm xmlns:a="http://schemas.openxmlformats.org/drawingml/2006/main">
          <a:off x="1552575" y="781050"/>
          <a:ext cx="66675" cy="4571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34583</cdr:x>
      <cdr:y>0.17489</cdr:y>
    </cdr:from>
    <cdr:to>
      <cdr:x>0.54583</cdr:x>
      <cdr:y>0.4457</cdr:y>
    </cdr:to>
    <cdr:sp macro="" textlink="">
      <cdr:nvSpPr>
        <cdr:cNvPr id="2" name="TextBox 1">
          <a:extLst xmlns:a="http://schemas.openxmlformats.org/drawingml/2006/main">
            <a:ext uri="{FF2B5EF4-FFF2-40B4-BE49-F238E27FC236}">
              <a16:creationId xmlns:a16="http://schemas.microsoft.com/office/drawing/2014/main" id="{39846C3F-1951-467C-A09E-A1531D0F1906}"/>
            </a:ext>
          </a:extLst>
        </cdr:cNvPr>
        <cdr:cNvSpPr txBox="1"/>
      </cdr:nvSpPr>
      <cdr:spPr>
        <a:xfrm xmlns:a="http://schemas.openxmlformats.org/drawingml/2006/main">
          <a:off x="1581150" y="59055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3958</cdr:x>
      <cdr:y>0.23131</cdr:y>
    </cdr:from>
    <cdr:to>
      <cdr:x>0.35417</cdr:x>
      <cdr:y>0.24485</cdr:y>
    </cdr:to>
    <cdr:sp macro="" textlink="">
      <cdr:nvSpPr>
        <cdr:cNvPr id="3" name="TextBox 2">
          <a:extLst xmlns:a="http://schemas.openxmlformats.org/drawingml/2006/main">
            <a:ext uri="{FF2B5EF4-FFF2-40B4-BE49-F238E27FC236}">
              <a16:creationId xmlns:a16="http://schemas.microsoft.com/office/drawing/2014/main" id="{69D4CBBA-2622-44CA-8A99-5FC8D7A8FD8A}"/>
            </a:ext>
          </a:extLst>
        </cdr:cNvPr>
        <cdr:cNvSpPr txBox="1"/>
      </cdr:nvSpPr>
      <cdr:spPr>
        <a:xfrm xmlns:a="http://schemas.openxmlformats.org/drawingml/2006/main">
          <a:off x="1552575" y="781050"/>
          <a:ext cx="66675" cy="4571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7031</cdr:x>
      <cdr:y>0.81859</cdr:y>
    </cdr:from>
    <cdr:to>
      <cdr:x>1</cdr:x>
      <cdr:y>0.8889</cdr:y>
    </cdr:to>
    <cdr:sp macro="" textlink="">
      <cdr:nvSpPr>
        <cdr:cNvPr id="4" name="TextBox 3">
          <a:extLst xmlns:a="http://schemas.openxmlformats.org/drawingml/2006/main">
            <a:ext uri="{FF2B5EF4-FFF2-40B4-BE49-F238E27FC236}">
              <a16:creationId xmlns:a16="http://schemas.microsoft.com/office/drawing/2014/main" id="{56FCF4AA-7BB2-EF51-3BAE-5480F14829F9}"/>
            </a:ext>
          </a:extLst>
        </cdr:cNvPr>
        <cdr:cNvSpPr txBox="1"/>
      </cdr:nvSpPr>
      <cdr:spPr>
        <a:xfrm xmlns:a="http://schemas.openxmlformats.org/drawingml/2006/main">
          <a:off x="257044" y="3360203"/>
          <a:ext cx="3398824" cy="2886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Frutiger 45 Light" panose="020B0603020202020204" pitchFamily="34" charset="0"/>
              <a:ea typeface="+mn-ea"/>
              <a:cs typeface="+mn-cs"/>
            </a:defRPr>
          </a:pPr>
          <a:r>
            <a:rPr kumimoji="0" lang="en-US" sz="1200" b="1" i="0" u="none" strike="noStrike" kern="1200" cap="none" spc="0" normalizeH="0" baseline="0" noProof="0" dirty="0">
              <a:ln>
                <a:noFill/>
              </a:ln>
              <a:solidFill>
                <a:srgbClr val="000000"/>
              </a:solidFill>
              <a:effectLst/>
              <a:uLnTx/>
              <a:uFillTx/>
              <a:latin typeface="Frutiger 45 Light" panose="020B0603020202020204" pitchFamily="34" charset="0"/>
            </a:rPr>
            <a:t>Months before/after first Fed rate cut</a:t>
          </a:r>
        </a:p>
        <a:p xmlns:a="http://schemas.openxmlformats.org/drawingml/2006/main">
          <a:endParaRPr lang="en-US" sz="1050" kern="1200" dirty="0"/>
        </a:p>
      </cdr:txBody>
    </cdr:sp>
  </cdr:relSizeAnchor>
</c:userShapes>
</file>

<file path=ppt/drawings/drawing4.xml><?xml version="1.0" encoding="utf-8"?>
<c:userShapes xmlns:c="http://schemas.openxmlformats.org/drawingml/2006/chart">
  <cdr:relSizeAnchor xmlns:cdr="http://schemas.openxmlformats.org/drawingml/2006/chartDrawing">
    <cdr:from>
      <cdr:x>0.42083</cdr:x>
      <cdr:y>0.61806</cdr:y>
    </cdr:from>
    <cdr:to>
      <cdr:x>0.61041</cdr:x>
      <cdr:y>0.84006</cdr:y>
    </cdr:to>
    <cdr:sp macro="" textlink="">
      <cdr:nvSpPr>
        <cdr:cNvPr id="2" name="TextBox 1">
          <a:extLst xmlns:a="http://schemas.openxmlformats.org/drawingml/2006/main">
            <a:ext uri="{FF2B5EF4-FFF2-40B4-BE49-F238E27FC236}">
              <a16:creationId xmlns:a16="http://schemas.microsoft.com/office/drawing/2014/main" id="{2FDBC25F-6935-2745-F394-D4CDACA29D74}"/>
            </a:ext>
          </a:extLst>
        </cdr:cNvPr>
        <cdr:cNvSpPr txBox="1"/>
      </cdr:nvSpPr>
      <cdr:spPr>
        <a:xfrm xmlns:a="http://schemas.openxmlformats.org/drawingml/2006/main">
          <a:off x="1924050" y="1695462"/>
          <a:ext cx="866760" cy="608991"/>
        </a:xfrm>
        <a:prstGeom xmlns:a="http://schemas.openxmlformats.org/drawingml/2006/main" prst="rect">
          <a:avLst/>
        </a:prstGeom>
        <a:solidFill xmlns:a="http://schemas.openxmlformats.org/drawingml/2006/main">
          <a:srgbClr val="FFFFFF"/>
        </a:solidFill>
      </cdr:spPr>
      <cdr:txBody>
        <a:bodyPr xmlns:a="http://schemas.openxmlformats.org/drawingml/2006/main" vertOverflow="clip" wrap="square" lIns="45720" rIns="45720" rtlCol="0">
          <a:spAutoFit/>
        </a:bodyPr>
        <a:lstStyle xmlns:a="http://schemas.openxmlformats.org/drawingml/2006/main"/>
        <a:p xmlns:a="http://schemas.openxmlformats.org/drawingml/2006/main">
          <a:r>
            <a:rPr lang="en-US" sz="1100" kern="1200"/>
            <a:t>Court</a:t>
          </a:r>
          <a:r>
            <a:rPr lang="en-US" sz="1100" kern="1200" baseline="0"/>
            <a:t> of International Trade</a:t>
          </a:r>
          <a:r>
            <a:rPr lang="en-US" sz="1100" kern="1200"/>
            <a:t> ruling</a:t>
          </a:r>
        </a:p>
      </cdr:txBody>
    </cdr:sp>
  </cdr:relSizeAnchor>
  <cdr:relSizeAnchor xmlns:cdr="http://schemas.openxmlformats.org/drawingml/2006/chartDrawing">
    <cdr:from>
      <cdr:x>0.64167</cdr:x>
      <cdr:y>0.56019</cdr:y>
    </cdr:from>
    <cdr:to>
      <cdr:x>0.82708</cdr:x>
      <cdr:y>0.84498</cdr:y>
    </cdr:to>
    <cdr:sp macro="" textlink="">
      <cdr:nvSpPr>
        <cdr:cNvPr id="3" name="TextBox 1">
          <a:extLst xmlns:a="http://schemas.openxmlformats.org/drawingml/2006/main">
            <a:ext uri="{FF2B5EF4-FFF2-40B4-BE49-F238E27FC236}">
              <a16:creationId xmlns:a16="http://schemas.microsoft.com/office/drawing/2014/main" id="{E5254F3D-72D3-910D-96F0-FC9E51DA1528}"/>
            </a:ext>
          </a:extLst>
        </cdr:cNvPr>
        <cdr:cNvSpPr txBox="1"/>
      </cdr:nvSpPr>
      <cdr:spPr>
        <a:xfrm xmlns:a="http://schemas.openxmlformats.org/drawingml/2006/main">
          <a:off x="2933715" y="1536713"/>
          <a:ext cx="847695" cy="781236"/>
        </a:xfrm>
        <a:prstGeom xmlns:a="http://schemas.openxmlformats.org/drawingml/2006/main" prst="rect">
          <a:avLst/>
        </a:prstGeom>
        <a:solidFill xmlns:a="http://schemas.openxmlformats.org/drawingml/2006/main">
          <a:srgbClr val="FFFFFF"/>
        </a:solidFill>
      </cdr:spPr>
      <cdr:txBody>
        <a:bodyPr xmlns:a="http://schemas.openxmlformats.org/drawingml/2006/main" wrap="square" lIns="45720" tIns="45720" rIns="45720" bIns="4572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kern="1200"/>
            <a:t>Federal</a:t>
          </a:r>
          <a:r>
            <a:rPr lang="en-US" sz="1100" kern="1200" baseline="0"/>
            <a:t> circuit a</a:t>
          </a:r>
          <a:r>
            <a:rPr lang="en-US" sz="1100" kern="1200"/>
            <a:t>ppeals court ruling</a:t>
          </a:r>
        </a:p>
      </cdr:txBody>
    </cdr:sp>
  </cdr:relSizeAnchor>
</c:userShapes>
</file>

<file path=ppt/drawings/drawing5.xml><?xml version="1.0" encoding="utf-8"?>
<c:userShapes xmlns:c="http://schemas.openxmlformats.org/drawingml/2006/chart">
  <cdr:relSizeAnchor xmlns:cdr="http://schemas.openxmlformats.org/drawingml/2006/chartDrawing">
    <cdr:from>
      <cdr:x>0</cdr:x>
      <cdr:y>0</cdr:y>
    </cdr:from>
    <cdr:to>
      <cdr:x>0.84066</cdr:x>
      <cdr:y>0.10028</cdr:y>
    </cdr:to>
    <cdr:sp macro="" textlink="">
      <cdr:nvSpPr>
        <cdr:cNvPr id="2" name="TextBox 1">
          <a:extLst xmlns:a="http://schemas.openxmlformats.org/drawingml/2006/main">
            <a:ext uri="{FF2B5EF4-FFF2-40B4-BE49-F238E27FC236}">
              <a16:creationId xmlns:a16="http://schemas.microsoft.com/office/drawing/2014/main" id="{A4B732B5-5855-642D-5ECF-E0991EECAC9C}"/>
            </a:ext>
          </a:extLst>
        </cdr:cNvPr>
        <cdr:cNvSpPr txBox="1"/>
      </cdr:nvSpPr>
      <cdr:spPr>
        <a:xfrm xmlns:a="http://schemas.openxmlformats.org/drawingml/2006/main">
          <a:off x="0" y="0"/>
          <a:ext cx="4095750" cy="342900"/>
        </a:xfrm>
        <a:prstGeom xmlns:a="http://schemas.openxmlformats.org/drawingml/2006/main" prst="rect">
          <a:avLst/>
        </a:prstGeom>
      </cdr:spPr>
      <cdr:txBody>
        <a:bodyPr xmlns:a="http://schemas.openxmlformats.org/drawingml/2006/main" vertOverflow="overflow" horzOverflow="overflow" wrap="square" rtlCol="0"/>
        <a:lstStyle xmlns:a="http://schemas.openxmlformats.org/drawingml/2006/main"/>
        <a:p xmlns:a="http://schemas.openxmlformats.org/drawingml/2006/main">
          <a:r>
            <a:rPr lang="en-US" sz="1000" dirty="0">
              <a:latin typeface="Frutiger 45 Light" panose="020B0603020202020204" pitchFamily="34" charset="0"/>
            </a:rPr>
            <a:t>Fiscal policy</a:t>
          </a:r>
          <a:r>
            <a:rPr lang="en-US" sz="1000" baseline="0" dirty="0">
              <a:latin typeface="Frutiger 45 Light" panose="020B0603020202020204" pitchFamily="34" charset="0"/>
            </a:rPr>
            <a:t> (pp contribution to real GDP growth)</a:t>
          </a:r>
          <a:endParaRPr lang="en-US" sz="1000" dirty="0">
            <a:latin typeface="Frutiger 45 Light" panose="020B060302020202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7708</cdr:x>
      <cdr:y>0.58334</cdr:y>
    </cdr:from>
    <cdr:to>
      <cdr:x>0.36666</cdr:x>
      <cdr:y>0.77106</cdr:y>
    </cdr:to>
    <cdr:sp macro="" textlink="">
      <cdr:nvSpPr>
        <cdr:cNvPr id="2" name="TextBox 1">
          <a:extLst xmlns:a="http://schemas.openxmlformats.org/drawingml/2006/main">
            <a:ext uri="{FF2B5EF4-FFF2-40B4-BE49-F238E27FC236}">
              <a16:creationId xmlns:a16="http://schemas.microsoft.com/office/drawing/2014/main" id="{2FDBC25F-6935-2745-F394-D4CDACA29D74}"/>
            </a:ext>
          </a:extLst>
        </cdr:cNvPr>
        <cdr:cNvSpPr txBox="1"/>
      </cdr:nvSpPr>
      <cdr:spPr>
        <a:xfrm xmlns:a="http://schemas.openxmlformats.org/drawingml/2006/main">
          <a:off x="809610" y="1600212"/>
          <a:ext cx="866760" cy="514949"/>
        </a:xfrm>
        <a:prstGeom xmlns:a="http://schemas.openxmlformats.org/drawingml/2006/main" prst="rect">
          <a:avLst/>
        </a:prstGeom>
        <a:solidFill xmlns:a="http://schemas.openxmlformats.org/drawingml/2006/main">
          <a:srgbClr val="FFFFFF"/>
        </a:solidFill>
      </cdr:spPr>
      <cdr:txBody>
        <a:bodyPr xmlns:a="http://schemas.openxmlformats.org/drawingml/2006/main" vertOverflow="clip" wrap="square" lIns="45720" rIns="45720" rtlCol="0">
          <a:spAutoFit/>
        </a:bodyPr>
        <a:lstStyle xmlns:a="http://schemas.openxmlformats.org/drawingml/2006/main"/>
        <a:p xmlns:a="http://schemas.openxmlformats.org/drawingml/2006/main">
          <a:r>
            <a:rPr lang="en-US" sz="900" kern="1200"/>
            <a:t>Court</a:t>
          </a:r>
          <a:r>
            <a:rPr lang="en-US" sz="900" kern="1200" baseline="0"/>
            <a:t> of International Trade</a:t>
          </a:r>
          <a:r>
            <a:rPr lang="en-US" sz="900" kern="1200"/>
            <a:t> ruling</a:t>
          </a:r>
        </a:p>
      </cdr:txBody>
    </cdr:sp>
  </cdr:relSizeAnchor>
  <cdr:relSizeAnchor xmlns:cdr="http://schemas.openxmlformats.org/drawingml/2006/chartDrawing">
    <cdr:from>
      <cdr:x>0.33334</cdr:x>
      <cdr:y>0.57061</cdr:y>
    </cdr:from>
    <cdr:to>
      <cdr:x>0.51875</cdr:x>
      <cdr:y>0.75832</cdr:y>
    </cdr:to>
    <cdr:sp macro="" textlink="">
      <cdr:nvSpPr>
        <cdr:cNvPr id="3" name="TextBox 1">
          <a:extLst xmlns:a="http://schemas.openxmlformats.org/drawingml/2006/main">
            <a:ext uri="{FF2B5EF4-FFF2-40B4-BE49-F238E27FC236}">
              <a16:creationId xmlns:a16="http://schemas.microsoft.com/office/drawing/2014/main" id="{E5254F3D-72D3-910D-96F0-FC9E51DA1528}"/>
            </a:ext>
          </a:extLst>
        </cdr:cNvPr>
        <cdr:cNvSpPr txBox="1"/>
      </cdr:nvSpPr>
      <cdr:spPr>
        <a:xfrm xmlns:a="http://schemas.openxmlformats.org/drawingml/2006/main">
          <a:off x="1524015" y="1565288"/>
          <a:ext cx="847695" cy="514949"/>
        </a:xfrm>
        <a:prstGeom xmlns:a="http://schemas.openxmlformats.org/drawingml/2006/main" prst="rect">
          <a:avLst/>
        </a:prstGeom>
        <a:solidFill xmlns:a="http://schemas.openxmlformats.org/drawingml/2006/main">
          <a:srgbClr val="FFFFFF"/>
        </a:solidFill>
      </cdr:spPr>
      <cdr:txBody>
        <a:bodyPr xmlns:a="http://schemas.openxmlformats.org/drawingml/2006/main" wrap="square" lIns="45720" tIns="45720" rIns="45720" bIns="4572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kern="1200"/>
            <a:t>Federal</a:t>
          </a:r>
          <a:r>
            <a:rPr lang="en-US" sz="900" kern="1200" baseline="0"/>
            <a:t> circuit a</a:t>
          </a:r>
          <a:r>
            <a:rPr lang="en-US" sz="900" kern="1200"/>
            <a:t>ppeals court ruling</a:t>
          </a:r>
        </a:p>
      </cdr:txBody>
    </cdr:sp>
  </cdr:relSizeAnchor>
</c:userShapes>
</file>

<file path=ppt/drawings/drawing7.xml><?xml version="1.0" encoding="utf-8"?>
<c:userShapes xmlns:c="http://schemas.openxmlformats.org/drawingml/2006/chart">
  <cdr:relSizeAnchor xmlns:cdr="http://schemas.openxmlformats.org/drawingml/2006/chartDrawing">
    <cdr:from>
      <cdr:x>0.74317</cdr:x>
      <cdr:y>0.07778</cdr:y>
    </cdr:from>
    <cdr:to>
      <cdr:x>0.9265</cdr:x>
      <cdr:y>0.34167</cdr:y>
    </cdr:to>
    <cdr:cxnSp macro="">
      <cdr:nvCxnSpPr>
        <cdr:cNvPr id="3" name="Straight Arrow Connector 2">
          <a:extLst xmlns:a="http://schemas.openxmlformats.org/drawingml/2006/main">
            <a:ext uri="{FF2B5EF4-FFF2-40B4-BE49-F238E27FC236}">
              <a16:creationId xmlns:a16="http://schemas.microsoft.com/office/drawing/2014/main" id="{C5BF3904-87EA-656E-F9C3-A0EB0FAA806B}"/>
            </a:ext>
          </a:extLst>
        </cdr:cNvPr>
        <cdr:cNvCxnSpPr/>
      </cdr:nvCxnSpPr>
      <cdr:spPr>
        <a:xfrm xmlns:a="http://schemas.openxmlformats.org/drawingml/2006/main" flipV="1">
          <a:off x="4473754" y="244852"/>
          <a:ext cx="1103610" cy="830730"/>
        </a:xfrm>
        <a:prstGeom xmlns:a="http://schemas.openxmlformats.org/drawingml/2006/main" prst="straightConnector1">
          <a:avLst/>
        </a:prstGeom>
        <a:ln xmlns:a="http://schemas.openxmlformats.org/drawingml/2006/main">
          <a:solidFill>
            <a:srgbClr val="C00000"/>
          </a:solidFill>
          <a:tailEnd type="triangle"/>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dr:relSizeAnchor xmlns:cdr="http://schemas.openxmlformats.org/drawingml/2006/chartDrawing">
    <cdr:from>
      <cdr:x>0.70347</cdr:x>
      <cdr:y>0.13715</cdr:y>
    </cdr:from>
    <cdr:to>
      <cdr:x>0.88217</cdr:x>
      <cdr:y>0.23042</cdr:y>
    </cdr:to>
    <cdr:sp macro="" textlink="">
      <cdr:nvSpPr>
        <cdr:cNvPr id="4" name="TextBox 3">
          <a:extLst xmlns:a="http://schemas.openxmlformats.org/drawingml/2006/main">
            <a:ext uri="{FF2B5EF4-FFF2-40B4-BE49-F238E27FC236}">
              <a16:creationId xmlns:a16="http://schemas.microsoft.com/office/drawing/2014/main" id="{138F09F9-34D1-14DA-3E27-664A675DC517}"/>
            </a:ext>
          </a:extLst>
        </cdr:cNvPr>
        <cdr:cNvSpPr txBox="1"/>
      </cdr:nvSpPr>
      <cdr:spPr>
        <a:xfrm xmlns:a="http://schemas.openxmlformats.org/drawingml/2006/main">
          <a:off x="2340015" y="456216"/>
          <a:ext cx="594451" cy="3102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b="1" kern="1200" dirty="0">
              <a:solidFill>
                <a:schemeClr val="tx1">
                  <a:lumMod val="65000"/>
                  <a:lumOff val="35000"/>
                </a:schemeClr>
              </a:solidFill>
              <a:latin typeface="Frutiger 45 Light" panose="020B0603020202020204" pitchFamily="34" charset="0"/>
            </a:rPr>
            <a:t>+9%</a:t>
          </a:r>
        </a:p>
      </cdr:txBody>
    </cdr:sp>
  </cdr:relSizeAnchor>
</c:userShapes>
</file>

<file path=ppt/drawings/drawing8.xml><?xml version="1.0" encoding="utf-8"?>
<c:userShapes xmlns:c="http://schemas.openxmlformats.org/drawingml/2006/chart">
  <cdr:relSizeAnchor xmlns:cdr="http://schemas.openxmlformats.org/drawingml/2006/chartDrawing">
    <cdr:from>
      <cdr:x>0.62033</cdr:x>
      <cdr:y>0.00652</cdr:y>
    </cdr:from>
    <cdr:to>
      <cdr:x>0.98332</cdr:x>
      <cdr:y>0.11811</cdr:y>
    </cdr:to>
    <cdr:sp macro="" textlink="">
      <cdr:nvSpPr>
        <cdr:cNvPr id="2" name="TextBox 15">
          <a:extLst xmlns:a="http://schemas.openxmlformats.org/drawingml/2006/main">
            <a:ext uri="{FF2B5EF4-FFF2-40B4-BE49-F238E27FC236}">
              <a16:creationId xmlns:a16="http://schemas.microsoft.com/office/drawing/2014/main" id="{04819BAB-39ED-0169-4EC5-006619030C25}"/>
            </a:ext>
          </a:extLst>
        </cdr:cNvPr>
        <cdr:cNvSpPr txBox="1"/>
      </cdr:nvSpPr>
      <cdr:spPr>
        <a:xfrm xmlns:a="http://schemas.openxmlformats.org/drawingml/2006/main">
          <a:off x="2063466" y="21689"/>
          <a:ext cx="1207450" cy="371178"/>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200" b="1" dirty="0">
              <a:solidFill>
                <a:schemeClr val="tx1">
                  <a:lumMod val="65000"/>
                  <a:lumOff val="35000"/>
                </a:schemeClr>
              </a:solidFill>
            </a:rPr>
            <a:t>2016-25: </a:t>
          </a:r>
        </a:p>
        <a:p xmlns:a="http://schemas.openxmlformats.org/drawingml/2006/main">
          <a:pPr algn="ctr"/>
          <a:r>
            <a:rPr lang="en-GB" sz="1200" b="1" dirty="0">
              <a:solidFill>
                <a:schemeClr val="tx1">
                  <a:lumMod val="65000"/>
                  <a:lumOff val="35000"/>
                </a:schemeClr>
              </a:solidFill>
            </a:rPr>
            <a:t>Avg. 47 approvals</a:t>
          </a:r>
        </a:p>
      </cdr:txBody>
    </cdr:sp>
  </cdr:relSizeAnchor>
</c:userShapes>
</file>

<file path=ppt/drawings/drawing9.xml><?xml version="1.0" encoding="utf-8"?>
<c:userShapes xmlns:c="http://schemas.openxmlformats.org/drawingml/2006/chart">
  <cdr:relSizeAnchor xmlns:cdr="http://schemas.openxmlformats.org/drawingml/2006/chartDrawing">
    <cdr:from>
      <cdr:x>0.7067</cdr:x>
      <cdr:y>0.36681</cdr:y>
    </cdr:from>
    <cdr:to>
      <cdr:x>0.84243</cdr:x>
      <cdr:y>0.57923</cdr:y>
    </cdr:to>
    <cdr:cxnSp macro="">
      <cdr:nvCxnSpPr>
        <cdr:cNvPr id="3" name="Straight Arrow Connector 2">
          <a:extLst xmlns:a="http://schemas.openxmlformats.org/drawingml/2006/main">
            <a:ext uri="{FF2B5EF4-FFF2-40B4-BE49-F238E27FC236}">
              <a16:creationId xmlns:a16="http://schemas.microsoft.com/office/drawing/2014/main" id="{74A3417E-4A07-EA30-70D0-96FC4B0D7F51}"/>
            </a:ext>
          </a:extLst>
        </cdr:cNvPr>
        <cdr:cNvCxnSpPr/>
      </cdr:nvCxnSpPr>
      <cdr:spPr>
        <a:xfrm xmlns:a="http://schemas.openxmlformats.org/drawingml/2006/main" flipV="1">
          <a:off x="3842086" y="1218943"/>
          <a:ext cx="737936" cy="705852"/>
        </a:xfrm>
        <a:prstGeom xmlns:a="http://schemas.openxmlformats.org/drawingml/2006/main" prst="straightConnector1">
          <a:avLst/>
        </a:prstGeom>
        <a:ln xmlns:a="http://schemas.openxmlformats.org/drawingml/2006/main" w="6350">
          <a:solidFill>
            <a:schemeClr val="tx2"/>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43" name="Rectangle 3"/>
          <p:cNvSpPr>
            <a:spLocks noGrp="1" noChangeArrowheads="1"/>
          </p:cNvSpPr>
          <p:nvPr>
            <p:ph type="dt" sz="quarter" idx="1"/>
          </p:nvPr>
        </p:nvSpPr>
        <p:spPr bwMode="auto">
          <a:xfrm>
            <a:off x="6796622" y="0"/>
            <a:ext cx="65" cy="184666"/>
          </a:xfrm>
          <a:prstGeom prst="rect">
            <a:avLst/>
          </a:prstGeom>
          <a:noFill/>
          <a:ln w="28575">
            <a:noFill/>
            <a:miter lim="800000"/>
            <a:headEnd/>
            <a:tailEnd/>
          </a:ln>
          <a:effectLst/>
        </p:spPr>
        <p:txBody>
          <a:bodyPr vert="horz" wrap="none" lIns="0" tIns="0" rIns="0" bIns="0" numCol="1" anchor="t" anchorCtr="0" compatLnSpc="1">
            <a:prstTxWarp prst="textNoShape">
              <a:avLst/>
            </a:prstTxWarp>
            <a:spAutoFit/>
          </a:bodyPr>
          <a:lstStyle>
            <a:lvl1pPr algn="r" defTabSz="885825">
              <a:defRPr sz="1200">
                <a:latin typeface="Arial Unicode MS" pitchFamily="34" charset="-128"/>
                <a:ea typeface="Arial Unicode MS" pitchFamily="34" charset="-128"/>
                <a:cs typeface="Arial Unicode MS" pitchFamily="34" charset="-128"/>
              </a:defRPr>
            </a:lvl1pPr>
          </a:lstStyle>
          <a:p>
            <a:endParaRPr lang="en-US" altLang="zh-TW"/>
          </a:p>
        </p:txBody>
      </p:sp>
      <p:sp>
        <p:nvSpPr>
          <p:cNvPr id="112644" name="Rectangle 4"/>
          <p:cNvSpPr>
            <a:spLocks noGrp="1" noChangeArrowheads="1"/>
          </p:cNvSpPr>
          <p:nvPr>
            <p:ph type="ftr" sz="quarter" idx="2"/>
          </p:nvPr>
        </p:nvSpPr>
        <p:spPr bwMode="auto">
          <a:xfrm>
            <a:off x="0" y="9696715"/>
            <a:ext cx="65" cy="184666"/>
          </a:xfrm>
          <a:prstGeom prst="rect">
            <a:avLst/>
          </a:prstGeom>
          <a:noFill/>
          <a:ln w="28575">
            <a:noFill/>
            <a:miter lim="800000"/>
            <a:headEnd/>
            <a:tailEnd/>
          </a:ln>
          <a:effectLst/>
        </p:spPr>
        <p:txBody>
          <a:bodyPr vert="horz" wrap="none" lIns="0" tIns="0" rIns="0" bIns="0" numCol="1" anchor="b" anchorCtr="0" compatLnSpc="1">
            <a:prstTxWarp prst="textNoShape">
              <a:avLst/>
            </a:prstTxWarp>
            <a:spAutoFit/>
          </a:bodyPr>
          <a:lstStyle>
            <a:lvl1pPr defTabSz="885825">
              <a:defRPr sz="1200">
                <a:latin typeface="Arial Unicode MS" pitchFamily="34" charset="-128"/>
                <a:ea typeface="Arial Unicode MS" pitchFamily="34" charset="-128"/>
                <a:cs typeface="Arial Unicode MS" pitchFamily="34" charset="-128"/>
              </a:defRPr>
            </a:lvl1pPr>
          </a:lstStyle>
          <a:p>
            <a:endParaRPr lang="en-US" altLang="zh-TW"/>
          </a:p>
        </p:txBody>
      </p:sp>
      <p:sp>
        <p:nvSpPr>
          <p:cNvPr id="112645" name="Rectangle 5"/>
          <p:cNvSpPr>
            <a:spLocks noGrp="1" noChangeArrowheads="1"/>
          </p:cNvSpPr>
          <p:nvPr>
            <p:ph type="sldNum" sz="quarter" idx="3"/>
          </p:nvPr>
        </p:nvSpPr>
        <p:spPr bwMode="auto">
          <a:xfrm>
            <a:off x="6488910" y="9696715"/>
            <a:ext cx="307777" cy="184666"/>
          </a:xfrm>
          <a:prstGeom prst="rect">
            <a:avLst/>
          </a:prstGeom>
          <a:noFill/>
          <a:ln w="28575">
            <a:noFill/>
            <a:miter lim="800000"/>
            <a:headEnd/>
            <a:tailEnd/>
          </a:ln>
          <a:effectLst/>
        </p:spPr>
        <p:txBody>
          <a:bodyPr vert="horz" wrap="none" lIns="0" tIns="0" rIns="0" bIns="0" numCol="1" anchor="b" anchorCtr="0" compatLnSpc="1">
            <a:prstTxWarp prst="textNoShape">
              <a:avLst/>
            </a:prstTxWarp>
            <a:spAutoFit/>
          </a:bodyPr>
          <a:lstStyle>
            <a:lvl1pPr algn="r" defTabSz="885825">
              <a:defRPr sz="1200">
                <a:latin typeface="Arial Unicode MS" pitchFamily="34" charset="-128"/>
                <a:ea typeface="Arial Unicode MS" pitchFamily="34" charset="-128"/>
                <a:cs typeface="Arial Unicode MS" pitchFamily="34" charset="-128"/>
              </a:defRPr>
            </a:lvl1pPr>
          </a:lstStyle>
          <a:p>
            <a:fld id="{23696B7D-EF83-44B5-82B1-48F110CC46E5}" type="slidenum">
              <a:rPr lang="zh-TW" altLang="en-US"/>
              <a:pPr/>
              <a:t>‹#›</a:t>
            </a:fld>
            <a:endParaRPr lang="en-US" altLang="zh-TW"/>
          </a:p>
        </p:txBody>
      </p:sp>
    </p:spTree>
    <p:extLst>
      <p:ext uri="{BB962C8B-B14F-4D97-AF65-F5344CB8AC3E}">
        <p14:creationId xmlns:p14="http://schemas.microsoft.com/office/powerpoint/2010/main" val="4530269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4" name="Rectangle 4"/>
          <p:cNvSpPr>
            <a:spLocks noGrp="1" noRot="1" noChangeAspect="1" noChangeArrowheads="1" noTextEdit="1"/>
          </p:cNvSpPr>
          <p:nvPr>
            <p:ph type="sldImg" idx="2"/>
          </p:nvPr>
        </p:nvSpPr>
        <p:spPr bwMode="auto">
          <a:xfrm>
            <a:off x="-173038" y="274638"/>
            <a:ext cx="5046663" cy="2841625"/>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663884" y="3491138"/>
            <a:ext cx="5787707" cy="5679461"/>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p>
        </p:txBody>
      </p:sp>
      <p:sp>
        <p:nvSpPr>
          <p:cNvPr id="10247" name="Rectangle 7"/>
          <p:cNvSpPr>
            <a:spLocks noGrp="1" noChangeArrowheads="1"/>
          </p:cNvSpPr>
          <p:nvPr>
            <p:ph type="sldNum" sz="quarter" idx="5"/>
          </p:nvPr>
        </p:nvSpPr>
        <p:spPr bwMode="auto">
          <a:xfrm>
            <a:off x="3695467" y="9425055"/>
            <a:ext cx="2957302" cy="446147"/>
          </a:xfrm>
          <a:prstGeom prst="rect">
            <a:avLst/>
          </a:prstGeom>
          <a:noFill/>
          <a:ln w="9525">
            <a:noFill/>
            <a:miter lim="800000"/>
            <a:headEnd/>
            <a:tailEnd/>
          </a:ln>
          <a:effectLst/>
        </p:spPr>
        <p:txBody>
          <a:bodyPr vert="horz" wrap="square" lIns="19980" tIns="0" rIns="19980" bIns="0" numCol="1" anchor="b" anchorCtr="0" compatLnSpc="1">
            <a:prstTxWarp prst="textNoShape">
              <a:avLst/>
            </a:prstTxWarp>
          </a:bodyPr>
          <a:lstStyle>
            <a:lvl1pPr algn="r" defTabSz="950913">
              <a:spcBef>
                <a:spcPct val="0"/>
              </a:spcBef>
              <a:defRPr sz="1100">
                <a:ea typeface="Arial Unicode MS" pitchFamily="34" charset="-128"/>
                <a:cs typeface="Arial Unicode MS" pitchFamily="34" charset="-128"/>
              </a:defRPr>
            </a:lvl1pPr>
          </a:lstStyle>
          <a:p>
            <a:fld id="{2A45EEF0-2412-4E74-8042-71FA5C916756}" type="slidenum">
              <a:rPr lang="zh-TW" altLang="en-US"/>
              <a:pPr/>
              <a:t>‹#›</a:t>
            </a:fld>
            <a:endParaRPr lang="en-US" altLang="zh-TW"/>
          </a:p>
        </p:txBody>
      </p:sp>
      <p:sp>
        <p:nvSpPr>
          <p:cNvPr id="10248" name="Line 8"/>
          <p:cNvSpPr>
            <a:spLocks noChangeShapeType="1"/>
          </p:cNvSpPr>
          <p:nvPr/>
        </p:nvSpPr>
        <p:spPr bwMode="gray">
          <a:xfrm>
            <a:off x="663884" y="3343554"/>
            <a:ext cx="5762947" cy="0"/>
          </a:xfrm>
          <a:prstGeom prst="line">
            <a:avLst/>
          </a:prstGeom>
          <a:noFill/>
          <a:ln w="25400">
            <a:solidFill>
              <a:schemeClr val="bg2"/>
            </a:solidFill>
            <a:round/>
            <a:headEnd type="none" w="sm" len="sm"/>
            <a:tailEnd type="none" w="sm" len="sm"/>
          </a:ln>
          <a:effectLst/>
        </p:spPr>
        <p:txBody>
          <a:bodyPr wrap="none" anchor="ctr"/>
          <a:lstStyle/>
          <a:p>
            <a:endParaRPr lang="en-US"/>
          </a:p>
        </p:txBody>
      </p:sp>
    </p:spTree>
    <p:extLst>
      <p:ext uri="{BB962C8B-B14F-4D97-AF65-F5344CB8AC3E}">
        <p14:creationId xmlns:p14="http://schemas.microsoft.com/office/powerpoint/2010/main" val="319776899"/>
      </p:ext>
    </p:extLst>
  </p:cSld>
  <p:clrMap bg1="lt1" tx1="dk1" bg2="lt2" tx2="dk2" accent1="accent1" accent2="accent2" accent3="accent3" accent4="accent4" accent5="accent5" accent6="accent6" hlink="hlink" folHlink="folHlink"/>
  <p:notesStyle>
    <a:lvl1pPr marL="193675" indent="-193675" algn="l" rtl="0" eaLnBrk="0" fontAlgn="base" hangingPunct="0">
      <a:spcBef>
        <a:spcPct val="30000"/>
      </a:spcBef>
      <a:spcAft>
        <a:spcPct val="0"/>
      </a:spcAft>
      <a:buClr>
        <a:srgbClr val="FF0000"/>
      </a:buClr>
      <a:buSzPct val="100000"/>
      <a:buFont typeface="Frutiger 55 Roman" pitchFamily="34" charset="0"/>
      <a:buChar char="•"/>
      <a:defRPr sz="1200" kern="1200">
        <a:solidFill>
          <a:schemeClr val="tx1"/>
        </a:solidFill>
        <a:latin typeface="Frutiger 55 Roman" pitchFamily="34" charset="0"/>
        <a:ea typeface="+mn-ea"/>
        <a:cs typeface="+mn-cs"/>
      </a:defRPr>
    </a:lvl1pPr>
    <a:lvl2pPr marL="563563" indent="-179388" algn="l" rtl="0" eaLnBrk="0" fontAlgn="base" hangingPunct="0">
      <a:spcBef>
        <a:spcPct val="30000"/>
      </a:spcBef>
      <a:spcAft>
        <a:spcPct val="0"/>
      </a:spcAft>
      <a:buSzPct val="80000"/>
      <a:buChar char="—"/>
      <a:defRPr sz="1200" kern="1200">
        <a:solidFill>
          <a:schemeClr val="tx1"/>
        </a:solidFill>
        <a:latin typeface="Frutiger 55 Roman" pitchFamily="34" charset="0"/>
        <a:ea typeface="+mn-ea"/>
        <a:cs typeface="+mn-cs"/>
      </a:defRPr>
    </a:lvl2pPr>
    <a:lvl3pPr marL="947738" indent="-193675"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3pPr>
    <a:lvl4pPr marL="1341438" indent="-203200"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4pPr>
    <a:lvl5pPr marL="1711325" indent="-179388"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ltLang="en-US" b="1" dirty="0">
                <a:latin typeface="Frutiger 45 Light" pitchFamily="34" charset="0"/>
              </a:rPr>
              <a:t>Note to Financial Advisors</a:t>
            </a:r>
          </a:p>
          <a:p>
            <a:pPr marL="0" indent="0">
              <a:buNone/>
            </a:pPr>
            <a:br>
              <a:rPr lang="en-US" altLang="en-US" dirty="0">
                <a:latin typeface="Frutiger 45 Light" pitchFamily="34" charset="0"/>
              </a:rPr>
            </a:br>
            <a:r>
              <a:rPr lang="en-US" altLang="en-US" dirty="0">
                <a:latin typeface="Frutiger 45 Light" pitchFamily="34" charset="0"/>
              </a:rPr>
              <a:t>This Research Report must be used in its entirety.   NEVER OMIT THE SLIDES MARKED “APPENDIX” AT THE END OF THIS PRESENTATION.” Financial Advisors may not present or use individual sections or slides in communications with clients or marketing materials.</a:t>
            </a:r>
          </a:p>
          <a:p>
            <a:endParaRPr lang="en-US" dirty="0"/>
          </a:p>
        </p:txBody>
      </p:sp>
      <p:sp>
        <p:nvSpPr>
          <p:cNvPr id="4" name="Slide Number Placeholder 3"/>
          <p:cNvSpPr>
            <a:spLocks noGrp="1"/>
          </p:cNvSpPr>
          <p:nvPr>
            <p:ph type="sldNum" sz="quarter" idx="10"/>
          </p:nvPr>
        </p:nvSpPr>
        <p:spPr/>
        <p:txBody>
          <a:bodyPr/>
          <a:lstStyle/>
          <a:p>
            <a:pPr marL="0" marR="0" lvl="0" indent="0" algn="r" defTabSz="950913" rtl="0" eaLnBrk="0" fontAlgn="base" latinLnBrk="0" hangingPunct="0">
              <a:lnSpc>
                <a:spcPct val="100000"/>
              </a:lnSpc>
              <a:spcBef>
                <a:spcPct val="0"/>
              </a:spcBef>
              <a:spcAft>
                <a:spcPct val="0"/>
              </a:spcAft>
              <a:buClrTx/>
              <a:buSzTx/>
              <a:buFontTx/>
              <a:buNone/>
              <a:tabLst/>
              <a:defRPr/>
            </a:pPr>
            <a:fld id="{2A45EEF0-2412-4E74-8042-71FA5C916756}" type="slidenum">
              <a:rPr kumimoji="0" lang="en-US" altLang="zh-TW" sz="1100" b="0" i="0" u="none" strike="noStrike" kern="1200" cap="none" spc="0" normalizeH="0" baseline="0" noProof="0" smtClean="0">
                <a:ln>
                  <a:noFill/>
                </a:ln>
                <a:solidFill>
                  <a:prstClr val="black"/>
                </a:solidFill>
                <a:effectLst/>
                <a:uLnTx/>
                <a:uFillTx/>
                <a:latin typeface="Frutiger 45 Light"/>
                <a:ea typeface="Arial Unicode MS" pitchFamily="34" charset="-128"/>
              </a:rPr>
              <a:pPr marL="0" marR="0" lvl="0" indent="0" algn="r" defTabSz="950913" rtl="0" eaLnBrk="0" fontAlgn="base" latinLnBrk="0" hangingPunct="0">
                <a:lnSpc>
                  <a:spcPct val="100000"/>
                </a:lnSpc>
                <a:spcBef>
                  <a:spcPct val="0"/>
                </a:spcBef>
                <a:spcAft>
                  <a:spcPct val="0"/>
                </a:spcAft>
                <a:buClrTx/>
                <a:buSzTx/>
                <a:buFontTx/>
                <a:buNone/>
                <a:tabLst/>
                <a:defRPr/>
              </a:pPr>
              <a:t>0</a:t>
            </a:fld>
            <a:endParaRPr kumimoji="0" lang="en-US" altLang="zh-TW" sz="1100" b="0" i="0" u="none" strike="noStrike" kern="1200" cap="none" spc="0" normalizeH="0" baseline="0" noProof="0">
              <a:ln>
                <a:noFill/>
              </a:ln>
              <a:solidFill>
                <a:prstClr val="black"/>
              </a:solidFill>
              <a:effectLst/>
              <a:uLnTx/>
              <a:uFillTx/>
              <a:latin typeface="Frutiger 45 Light"/>
              <a:ea typeface="Arial Unicode MS" pitchFamily="34" charset="-128"/>
            </a:endParaRPr>
          </a:p>
        </p:txBody>
      </p:sp>
    </p:spTree>
    <p:extLst>
      <p:ext uri="{BB962C8B-B14F-4D97-AF65-F5344CB8AC3E}">
        <p14:creationId xmlns:p14="http://schemas.microsoft.com/office/powerpoint/2010/main" val="13990229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1BEC6-DDDF-38FB-57BD-0DCBC573B6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86C3AE-E758-6DE0-DDD3-8A80013F396D}"/>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38145F40-B1CD-431C-4560-49FFAD16FF36}"/>
              </a:ext>
            </a:extLst>
          </p:cNvPr>
          <p:cNvSpPr>
            <a:spLocks noGrp="1"/>
          </p:cNvSpPr>
          <p:nvPr>
            <p:ph type="body" idx="1"/>
          </p:nvPr>
        </p:nvSpPr>
        <p:spPr/>
        <p:txBody>
          <a:bodyPr/>
          <a:lstStyle/>
          <a:p>
            <a:pPr marL="193675" indent="-193675"/>
            <a:endParaRPr lang="en-US">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A380DE54-84D5-1489-912D-C3CE2ECACE3D}"/>
              </a:ext>
            </a:extLst>
          </p:cNvPr>
          <p:cNvSpPr>
            <a:spLocks noGrp="1"/>
          </p:cNvSpPr>
          <p:nvPr>
            <p:ph type="sldNum" sz="quarter" idx="10"/>
          </p:nvPr>
        </p:nvSpPr>
        <p:spPr/>
        <p:txBody>
          <a:bodyPr/>
          <a:lstStyle/>
          <a:p>
            <a:fld id="{2A45EEF0-2412-4E74-8042-71FA5C916756}" type="slidenum">
              <a:rPr lang="en-US" altLang="zh-TW" smtClean="0"/>
              <a:pPr/>
              <a:t>11</a:t>
            </a:fld>
            <a:endParaRPr lang="en-US" altLang="zh-TW"/>
          </a:p>
        </p:txBody>
      </p:sp>
    </p:spTree>
    <p:extLst>
      <p:ext uri="{BB962C8B-B14F-4D97-AF65-F5344CB8AC3E}">
        <p14:creationId xmlns:p14="http://schemas.microsoft.com/office/powerpoint/2010/main" val="1986542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6C7E2-1393-F11D-71E3-47C40A3968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8A0F25-0676-40DF-2B3D-A5D52B19C426}"/>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2EFED6FF-E62C-CAB1-73DC-35FBCB2CDDDF}"/>
              </a:ext>
            </a:extLst>
          </p:cNvPr>
          <p:cNvSpPr>
            <a:spLocks noGrp="1"/>
          </p:cNvSpPr>
          <p:nvPr>
            <p:ph type="body" idx="1"/>
          </p:nvPr>
        </p:nvSpPr>
        <p:spPr/>
        <p:txBody>
          <a:bodyPr/>
          <a:lstStyle/>
          <a:p>
            <a:pPr marL="193675" indent="-193675"/>
            <a:endParaRPr lang="en-US">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894A2AE4-04D5-60FC-6E34-AB3AA2398AB9}"/>
              </a:ext>
            </a:extLst>
          </p:cNvPr>
          <p:cNvSpPr>
            <a:spLocks noGrp="1"/>
          </p:cNvSpPr>
          <p:nvPr>
            <p:ph type="sldNum" sz="quarter" idx="10"/>
          </p:nvPr>
        </p:nvSpPr>
        <p:spPr/>
        <p:txBody>
          <a:bodyPr/>
          <a:lstStyle/>
          <a:p>
            <a:fld id="{2A45EEF0-2412-4E74-8042-71FA5C916756}" type="slidenum">
              <a:rPr lang="en-US" altLang="zh-TW" smtClean="0"/>
              <a:pPr/>
              <a:t>12</a:t>
            </a:fld>
            <a:endParaRPr lang="en-US" altLang="zh-TW"/>
          </a:p>
        </p:txBody>
      </p:sp>
    </p:spTree>
    <p:extLst>
      <p:ext uri="{BB962C8B-B14F-4D97-AF65-F5344CB8AC3E}">
        <p14:creationId xmlns:p14="http://schemas.microsoft.com/office/powerpoint/2010/main" val="4941821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B845F-B4C8-B8F8-8D64-5C55DEC2E3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497F1F-3596-09BF-F458-831760C69076}"/>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FED29A31-0897-EA40-DAC3-4E92964FB8C7}"/>
              </a:ext>
            </a:extLst>
          </p:cNvPr>
          <p:cNvSpPr>
            <a:spLocks noGrp="1"/>
          </p:cNvSpPr>
          <p:nvPr>
            <p:ph type="body" idx="1"/>
          </p:nvPr>
        </p:nvSpPr>
        <p:spPr/>
        <p:txBody>
          <a:bodyPr/>
          <a:lstStyle/>
          <a:p>
            <a:pPr marL="193675" indent="-193675"/>
            <a:endParaRPr lang="en-US" i="0">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95257B51-3E2F-C274-55B9-5FF8C7D3BCC3}"/>
              </a:ext>
            </a:extLst>
          </p:cNvPr>
          <p:cNvSpPr>
            <a:spLocks noGrp="1"/>
          </p:cNvSpPr>
          <p:nvPr>
            <p:ph type="sldNum" sz="quarter" idx="10"/>
          </p:nvPr>
        </p:nvSpPr>
        <p:spPr/>
        <p:txBody>
          <a:bodyPr/>
          <a:lstStyle/>
          <a:p>
            <a:fld id="{2A45EEF0-2412-4E74-8042-71FA5C916756}" type="slidenum">
              <a:rPr lang="en-US" altLang="zh-TW" smtClean="0"/>
              <a:pPr/>
              <a:t>13</a:t>
            </a:fld>
            <a:endParaRPr lang="en-US" altLang="zh-TW"/>
          </a:p>
        </p:txBody>
      </p:sp>
    </p:spTree>
    <p:extLst>
      <p:ext uri="{BB962C8B-B14F-4D97-AF65-F5344CB8AC3E}">
        <p14:creationId xmlns:p14="http://schemas.microsoft.com/office/powerpoint/2010/main" val="14082721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CA51C-76A8-00C4-D7BD-F58735AAF2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24F51F-7467-216B-6D1C-7B9A3EFFC256}"/>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44C9E52E-C7A8-D956-90AF-FAD4EF31E67C}"/>
              </a:ext>
            </a:extLst>
          </p:cNvPr>
          <p:cNvSpPr>
            <a:spLocks noGrp="1"/>
          </p:cNvSpPr>
          <p:nvPr>
            <p:ph type="body" idx="1"/>
          </p:nvPr>
        </p:nvSpPr>
        <p:spPr/>
        <p:txBody>
          <a:bodyPr/>
          <a:lstStyle/>
          <a:p>
            <a:pPr marL="193675" indent="-193675"/>
            <a:endParaRPr lang="en-US">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11F35C7C-86CC-64F4-A498-676FD7E5CBB7}"/>
              </a:ext>
            </a:extLst>
          </p:cNvPr>
          <p:cNvSpPr>
            <a:spLocks noGrp="1"/>
          </p:cNvSpPr>
          <p:nvPr>
            <p:ph type="sldNum" sz="quarter" idx="10"/>
          </p:nvPr>
        </p:nvSpPr>
        <p:spPr/>
        <p:txBody>
          <a:bodyPr/>
          <a:lstStyle/>
          <a:p>
            <a:fld id="{2A45EEF0-2412-4E74-8042-71FA5C916756}" type="slidenum">
              <a:rPr lang="en-US" altLang="zh-TW" smtClean="0"/>
              <a:pPr/>
              <a:t>14</a:t>
            </a:fld>
            <a:endParaRPr lang="en-US" altLang="zh-TW"/>
          </a:p>
        </p:txBody>
      </p:sp>
    </p:spTree>
    <p:extLst>
      <p:ext uri="{BB962C8B-B14F-4D97-AF65-F5344CB8AC3E}">
        <p14:creationId xmlns:p14="http://schemas.microsoft.com/office/powerpoint/2010/main" val="20275331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B845F-B4C8-B8F8-8D64-5C55DEC2E3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497F1F-3596-09BF-F458-831760C69076}"/>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FED29A31-0897-EA40-DAC3-4E92964FB8C7}"/>
              </a:ext>
            </a:extLst>
          </p:cNvPr>
          <p:cNvSpPr>
            <a:spLocks noGrp="1"/>
          </p:cNvSpPr>
          <p:nvPr>
            <p:ph type="body" idx="1"/>
          </p:nvPr>
        </p:nvSpPr>
        <p:spPr/>
        <p:txBody>
          <a:bodyPr/>
          <a:lstStyle/>
          <a:p>
            <a:pPr marL="193675" indent="-193675"/>
            <a:endParaRPr lang="en-US" i="0">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95257B51-3E2F-C274-55B9-5FF8C7D3BCC3}"/>
              </a:ext>
            </a:extLst>
          </p:cNvPr>
          <p:cNvSpPr>
            <a:spLocks noGrp="1"/>
          </p:cNvSpPr>
          <p:nvPr>
            <p:ph type="sldNum" sz="quarter" idx="10"/>
          </p:nvPr>
        </p:nvSpPr>
        <p:spPr/>
        <p:txBody>
          <a:bodyPr/>
          <a:lstStyle/>
          <a:p>
            <a:fld id="{2A45EEF0-2412-4E74-8042-71FA5C916756}" type="slidenum">
              <a:rPr lang="en-US" altLang="zh-TW" smtClean="0"/>
              <a:pPr/>
              <a:t>16</a:t>
            </a:fld>
            <a:endParaRPr lang="en-US" altLang="zh-TW"/>
          </a:p>
        </p:txBody>
      </p:sp>
    </p:spTree>
    <p:extLst>
      <p:ext uri="{BB962C8B-B14F-4D97-AF65-F5344CB8AC3E}">
        <p14:creationId xmlns:p14="http://schemas.microsoft.com/office/powerpoint/2010/main" val="14082721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DDAB6-EDC2-46C6-B93A-D55EF07A8C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6DB757-AD82-4F4E-8AD1-566728AE10DA}"/>
              </a:ext>
            </a:extLst>
          </p:cNvPr>
          <p:cNvSpPr>
            <a:spLocks noGrp="1" noRot="1" noChangeAspect="1"/>
          </p:cNvSpPr>
          <p:nvPr>
            <p:ph type="sldImg"/>
          </p:nvPr>
        </p:nvSpPr>
        <p:spPr>
          <a:xfrm>
            <a:off x="-174625" y="274638"/>
            <a:ext cx="5049838" cy="2841625"/>
          </a:xfrm>
        </p:spPr>
        <p:txBody>
          <a:bodyPr/>
          <a:lstStyle/>
          <a:p>
            <a:endParaRPr lang="en-US"/>
          </a:p>
        </p:txBody>
      </p:sp>
      <p:sp>
        <p:nvSpPr>
          <p:cNvPr id="3" name="Notes Placeholder 2">
            <a:extLst>
              <a:ext uri="{FF2B5EF4-FFF2-40B4-BE49-F238E27FC236}">
                <a16:creationId xmlns:a16="http://schemas.microsoft.com/office/drawing/2014/main" id="{2036D157-7E23-5A6D-BFE6-912E577B211D}"/>
              </a:ext>
            </a:extLst>
          </p:cNvPr>
          <p:cNvSpPr>
            <a:spLocks noGrp="1"/>
          </p:cNvSpPr>
          <p:nvPr>
            <p:ph type="body" idx="1"/>
          </p:nvPr>
        </p:nvSpPr>
        <p:spPr/>
        <p:txBody>
          <a:bodyPr/>
          <a:lstStyle/>
          <a:p>
            <a:endParaRPr lang="en-US" sz="1200" kern="1200">
              <a:solidFill>
                <a:schemeClr val="tx1"/>
              </a:solidFill>
              <a:effectLst/>
              <a:highlight>
                <a:srgbClr val="FFFF00"/>
              </a:highlight>
              <a:latin typeface="Frutiger 55 Roman" pitchFamily="34" charset="0"/>
              <a:ea typeface="+mn-ea"/>
              <a:cs typeface="+mn-cs"/>
            </a:endParaRPr>
          </a:p>
        </p:txBody>
      </p:sp>
      <p:sp>
        <p:nvSpPr>
          <p:cNvPr id="4" name="Slide Number Placeholder 3">
            <a:extLst>
              <a:ext uri="{FF2B5EF4-FFF2-40B4-BE49-F238E27FC236}">
                <a16:creationId xmlns:a16="http://schemas.microsoft.com/office/drawing/2014/main" id="{96E95A7B-F1E1-EAA8-5EAE-829316740FE2}"/>
              </a:ext>
            </a:extLst>
          </p:cNvPr>
          <p:cNvSpPr>
            <a:spLocks noGrp="1"/>
          </p:cNvSpPr>
          <p:nvPr>
            <p:ph type="sldNum" sz="quarter" idx="10"/>
          </p:nvPr>
        </p:nvSpPr>
        <p:spPr/>
        <p:txBody>
          <a:bodyPr/>
          <a:lstStyle/>
          <a:p>
            <a:fld id="{2A45EEF0-2412-4E74-8042-71FA5C916756}" type="slidenum">
              <a:rPr lang="en-US" altLang="zh-TW" smtClean="0"/>
              <a:pPr/>
              <a:t>17</a:t>
            </a:fld>
            <a:endParaRPr lang="en-US" altLang="zh-TW"/>
          </a:p>
        </p:txBody>
      </p:sp>
    </p:spTree>
    <p:extLst>
      <p:ext uri="{BB962C8B-B14F-4D97-AF65-F5344CB8AC3E}">
        <p14:creationId xmlns:p14="http://schemas.microsoft.com/office/powerpoint/2010/main" val="1499344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A435BE-C794-8079-A5B9-F41D280B59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4EE961-A19F-C993-3910-4E8E7312AB2B}"/>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11CD02F0-2ECD-8628-9E90-A72DE9B7F266}"/>
              </a:ext>
            </a:extLst>
          </p:cNvPr>
          <p:cNvSpPr>
            <a:spLocks noGrp="1"/>
          </p:cNvSpPr>
          <p:nvPr>
            <p:ph type="body" idx="1"/>
          </p:nvPr>
        </p:nvSpPr>
        <p:spPr/>
        <p:txBody>
          <a:bodyPr/>
          <a:lstStyle/>
          <a:p>
            <a:pPr marL="193675" indent="-193675"/>
            <a:endParaRPr lang="en-US" i="0">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23BE4E44-035C-3F17-E33E-C375CB99A82B}"/>
              </a:ext>
            </a:extLst>
          </p:cNvPr>
          <p:cNvSpPr>
            <a:spLocks noGrp="1"/>
          </p:cNvSpPr>
          <p:nvPr>
            <p:ph type="sldNum" sz="quarter" idx="10"/>
          </p:nvPr>
        </p:nvSpPr>
        <p:spPr/>
        <p:txBody>
          <a:bodyPr/>
          <a:lstStyle/>
          <a:p>
            <a:fld id="{2A45EEF0-2412-4E74-8042-71FA5C916756}" type="slidenum">
              <a:rPr lang="en-US" altLang="zh-TW" smtClean="0"/>
              <a:pPr/>
              <a:t>18</a:t>
            </a:fld>
            <a:endParaRPr lang="en-US" altLang="zh-TW"/>
          </a:p>
        </p:txBody>
      </p:sp>
    </p:spTree>
    <p:extLst>
      <p:ext uri="{BB962C8B-B14F-4D97-AF65-F5344CB8AC3E}">
        <p14:creationId xmlns:p14="http://schemas.microsoft.com/office/powerpoint/2010/main" val="19489655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F8ADE055-EB79-4D90-2E32-D7B51C4DD6A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0913">
              <a:spcBef>
                <a:spcPct val="30000"/>
              </a:spcBef>
              <a:buClr>
                <a:srgbClr val="FF0000"/>
              </a:buClr>
              <a:buSzPct val="100000"/>
              <a:buFont typeface="Frutiger 55 Roman" pitchFamily="34" charset="0"/>
              <a:buChar char="•"/>
              <a:defRPr sz="1200">
                <a:solidFill>
                  <a:schemeClr val="tx1"/>
                </a:solidFill>
                <a:latin typeface="Frutiger 55 Roman" pitchFamily="34" charset="0"/>
              </a:defRPr>
            </a:lvl1pPr>
            <a:lvl2pPr marL="742950" indent="-285750" defTabSz="950913">
              <a:spcBef>
                <a:spcPct val="30000"/>
              </a:spcBef>
              <a:buSzPct val="80000"/>
              <a:buChar char="—"/>
              <a:defRPr sz="1200">
                <a:solidFill>
                  <a:schemeClr val="tx1"/>
                </a:solidFill>
                <a:latin typeface="Frutiger 55 Roman" pitchFamily="34" charset="0"/>
              </a:defRPr>
            </a:lvl2pPr>
            <a:lvl3pPr marL="1143000" indent="-228600" defTabSz="950913">
              <a:spcBef>
                <a:spcPct val="30000"/>
              </a:spcBef>
              <a:buSzPct val="85000"/>
              <a:buChar char="–"/>
              <a:defRPr sz="1200">
                <a:solidFill>
                  <a:schemeClr val="tx1"/>
                </a:solidFill>
                <a:latin typeface="Frutiger 55 Roman" pitchFamily="34" charset="0"/>
              </a:defRPr>
            </a:lvl3pPr>
            <a:lvl4pPr marL="1600200" indent="-228600" defTabSz="950913">
              <a:spcBef>
                <a:spcPct val="30000"/>
              </a:spcBef>
              <a:buSzPct val="85000"/>
              <a:buChar char="–"/>
              <a:defRPr sz="1200">
                <a:solidFill>
                  <a:schemeClr val="tx1"/>
                </a:solidFill>
                <a:latin typeface="Frutiger 55 Roman" pitchFamily="34" charset="0"/>
              </a:defRPr>
            </a:lvl4pPr>
            <a:lvl5pPr marL="2057400" indent="-228600" defTabSz="950913">
              <a:spcBef>
                <a:spcPct val="30000"/>
              </a:spcBef>
              <a:buSzPct val="85000"/>
              <a:buChar char="–"/>
              <a:defRPr sz="1200">
                <a:solidFill>
                  <a:schemeClr val="tx1"/>
                </a:solidFill>
                <a:latin typeface="Frutiger 55 Roman" pitchFamily="34" charset="0"/>
              </a:defRPr>
            </a:lvl5pPr>
            <a:lvl6pPr marL="2514600" indent="-228600" defTabSz="950913" eaLnBrk="0" fontAlgn="base" hangingPunct="0">
              <a:spcBef>
                <a:spcPct val="30000"/>
              </a:spcBef>
              <a:spcAft>
                <a:spcPct val="0"/>
              </a:spcAft>
              <a:buSzPct val="85000"/>
              <a:buChar char="–"/>
              <a:defRPr sz="1200">
                <a:solidFill>
                  <a:schemeClr val="tx1"/>
                </a:solidFill>
                <a:latin typeface="Frutiger 55 Roman" pitchFamily="34" charset="0"/>
              </a:defRPr>
            </a:lvl6pPr>
            <a:lvl7pPr marL="2971800" indent="-228600" defTabSz="950913" eaLnBrk="0" fontAlgn="base" hangingPunct="0">
              <a:spcBef>
                <a:spcPct val="30000"/>
              </a:spcBef>
              <a:spcAft>
                <a:spcPct val="0"/>
              </a:spcAft>
              <a:buSzPct val="85000"/>
              <a:buChar char="–"/>
              <a:defRPr sz="1200">
                <a:solidFill>
                  <a:schemeClr val="tx1"/>
                </a:solidFill>
                <a:latin typeface="Frutiger 55 Roman" pitchFamily="34" charset="0"/>
              </a:defRPr>
            </a:lvl7pPr>
            <a:lvl8pPr marL="3429000" indent="-228600" defTabSz="950913" eaLnBrk="0" fontAlgn="base" hangingPunct="0">
              <a:spcBef>
                <a:spcPct val="30000"/>
              </a:spcBef>
              <a:spcAft>
                <a:spcPct val="0"/>
              </a:spcAft>
              <a:buSzPct val="85000"/>
              <a:buChar char="–"/>
              <a:defRPr sz="1200">
                <a:solidFill>
                  <a:schemeClr val="tx1"/>
                </a:solidFill>
                <a:latin typeface="Frutiger 55 Roman" pitchFamily="34" charset="0"/>
              </a:defRPr>
            </a:lvl8pPr>
            <a:lvl9pPr marL="3886200" indent="-228600" defTabSz="950913" eaLnBrk="0" fontAlgn="base" hangingPunct="0">
              <a:spcBef>
                <a:spcPct val="30000"/>
              </a:spcBef>
              <a:spcAft>
                <a:spcPct val="0"/>
              </a:spcAft>
              <a:buSzPct val="85000"/>
              <a:buChar char="–"/>
              <a:defRPr sz="1200">
                <a:solidFill>
                  <a:schemeClr val="tx1"/>
                </a:solidFill>
                <a:latin typeface="Frutiger 55 Roman" pitchFamily="34" charset="0"/>
              </a:defRPr>
            </a:lvl9pPr>
          </a:lstStyle>
          <a:p>
            <a:pPr>
              <a:spcBef>
                <a:spcPct val="0"/>
              </a:spcBef>
              <a:buClrTx/>
              <a:buSzTx/>
              <a:buFontTx/>
              <a:buNone/>
            </a:pPr>
            <a:fld id="{E60909FE-8C21-45AE-847C-327F53593647}" type="slidenum">
              <a:rPr lang="en-US" altLang="zh-TW" sz="1100" smtClean="0"/>
              <a:pPr>
                <a:spcBef>
                  <a:spcPct val="0"/>
                </a:spcBef>
                <a:buClrTx/>
                <a:buSzTx/>
                <a:buFontTx/>
                <a:buNone/>
              </a:pPr>
              <a:t>19</a:t>
            </a:fld>
            <a:endParaRPr lang="en-US" altLang="zh-TW" sz="1100"/>
          </a:p>
        </p:txBody>
      </p:sp>
      <p:sp>
        <p:nvSpPr>
          <p:cNvPr id="9219" name="Rectangle 2">
            <a:extLst>
              <a:ext uri="{FF2B5EF4-FFF2-40B4-BE49-F238E27FC236}">
                <a16:creationId xmlns:a16="http://schemas.microsoft.com/office/drawing/2014/main" id="{9836B166-304D-497C-1C1B-ED2D595756C3}"/>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362FACD1-D4F8-2FEB-AFDE-B0765A623B4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Font typeface="Frutiger 55 Roman" pitchFamily="34" charset="0"/>
              <a:buNone/>
            </a:pPr>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a:extLst>
              <a:ext uri="{FF2B5EF4-FFF2-40B4-BE49-F238E27FC236}">
                <a16:creationId xmlns:a16="http://schemas.microsoft.com/office/drawing/2014/main" id="{35FD0597-3B19-79B8-E319-429117B8E44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0913">
              <a:spcBef>
                <a:spcPct val="30000"/>
              </a:spcBef>
              <a:buClr>
                <a:srgbClr val="FF0000"/>
              </a:buClr>
              <a:buSzPct val="100000"/>
              <a:buFont typeface="Frutiger 55 Roman" pitchFamily="34" charset="0"/>
              <a:buChar char="•"/>
              <a:defRPr sz="1200">
                <a:solidFill>
                  <a:schemeClr val="tx1"/>
                </a:solidFill>
                <a:latin typeface="Frutiger 55 Roman" pitchFamily="34" charset="0"/>
              </a:defRPr>
            </a:lvl1pPr>
            <a:lvl2pPr marL="742950" indent="-285750" defTabSz="950913">
              <a:spcBef>
                <a:spcPct val="30000"/>
              </a:spcBef>
              <a:buSzPct val="80000"/>
              <a:buChar char="—"/>
              <a:defRPr sz="1200">
                <a:solidFill>
                  <a:schemeClr val="tx1"/>
                </a:solidFill>
                <a:latin typeface="Frutiger 55 Roman" pitchFamily="34" charset="0"/>
              </a:defRPr>
            </a:lvl2pPr>
            <a:lvl3pPr marL="1143000" indent="-228600" defTabSz="950913">
              <a:spcBef>
                <a:spcPct val="30000"/>
              </a:spcBef>
              <a:buSzPct val="85000"/>
              <a:buChar char="–"/>
              <a:defRPr sz="1200">
                <a:solidFill>
                  <a:schemeClr val="tx1"/>
                </a:solidFill>
                <a:latin typeface="Frutiger 55 Roman" pitchFamily="34" charset="0"/>
              </a:defRPr>
            </a:lvl3pPr>
            <a:lvl4pPr marL="1600200" indent="-228600" defTabSz="950913">
              <a:spcBef>
                <a:spcPct val="30000"/>
              </a:spcBef>
              <a:buSzPct val="85000"/>
              <a:buChar char="–"/>
              <a:defRPr sz="1200">
                <a:solidFill>
                  <a:schemeClr val="tx1"/>
                </a:solidFill>
                <a:latin typeface="Frutiger 55 Roman" pitchFamily="34" charset="0"/>
              </a:defRPr>
            </a:lvl4pPr>
            <a:lvl5pPr marL="2057400" indent="-228600" defTabSz="950913">
              <a:spcBef>
                <a:spcPct val="30000"/>
              </a:spcBef>
              <a:buSzPct val="85000"/>
              <a:buChar char="–"/>
              <a:defRPr sz="1200">
                <a:solidFill>
                  <a:schemeClr val="tx1"/>
                </a:solidFill>
                <a:latin typeface="Frutiger 55 Roman" pitchFamily="34" charset="0"/>
              </a:defRPr>
            </a:lvl5pPr>
            <a:lvl6pPr marL="2514600" indent="-228600" defTabSz="950913" eaLnBrk="0" fontAlgn="base" hangingPunct="0">
              <a:spcBef>
                <a:spcPct val="30000"/>
              </a:spcBef>
              <a:spcAft>
                <a:spcPct val="0"/>
              </a:spcAft>
              <a:buSzPct val="85000"/>
              <a:buChar char="–"/>
              <a:defRPr sz="1200">
                <a:solidFill>
                  <a:schemeClr val="tx1"/>
                </a:solidFill>
                <a:latin typeface="Frutiger 55 Roman" pitchFamily="34" charset="0"/>
              </a:defRPr>
            </a:lvl6pPr>
            <a:lvl7pPr marL="2971800" indent="-228600" defTabSz="950913" eaLnBrk="0" fontAlgn="base" hangingPunct="0">
              <a:spcBef>
                <a:spcPct val="30000"/>
              </a:spcBef>
              <a:spcAft>
                <a:spcPct val="0"/>
              </a:spcAft>
              <a:buSzPct val="85000"/>
              <a:buChar char="–"/>
              <a:defRPr sz="1200">
                <a:solidFill>
                  <a:schemeClr val="tx1"/>
                </a:solidFill>
                <a:latin typeface="Frutiger 55 Roman" pitchFamily="34" charset="0"/>
              </a:defRPr>
            </a:lvl7pPr>
            <a:lvl8pPr marL="3429000" indent="-228600" defTabSz="950913" eaLnBrk="0" fontAlgn="base" hangingPunct="0">
              <a:spcBef>
                <a:spcPct val="30000"/>
              </a:spcBef>
              <a:spcAft>
                <a:spcPct val="0"/>
              </a:spcAft>
              <a:buSzPct val="85000"/>
              <a:buChar char="–"/>
              <a:defRPr sz="1200">
                <a:solidFill>
                  <a:schemeClr val="tx1"/>
                </a:solidFill>
                <a:latin typeface="Frutiger 55 Roman" pitchFamily="34" charset="0"/>
              </a:defRPr>
            </a:lvl8pPr>
            <a:lvl9pPr marL="3886200" indent="-228600" defTabSz="950913" eaLnBrk="0" fontAlgn="base" hangingPunct="0">
              <a:spcBef>
                <a:spcPct val="30000"/>
              </a:spcBef>
              <a:spcAft>
                <a:spcPct val="0"/>
              </a:spcAft>
              <a:buSzPct val="85000"/>
              <a:buChar char="–"/>
              <a:defRPr sz="1200">
                <a:solidFill>
                  <a:schemeClr val="tx1"/>
                </a:solidFill>
                <a:latin typeface="Frutiger 55 Roman" pitchFamily="34" charset="0"/>
              </a:defRPr>
            </a:lvl9pPr>
          </a:lstStyle>
          <a:p>
            <a:pPr>
              <a:spcBef>
                <a:spcPct val="0"/>
              </a:spcBef>
              <a:buClrTx/>
              <a:buSzTx/>
              <a:buFontTx/>
              <a:buNone/>
            </a:pPr>
            <a:fld id="{8FBDD974-AE3A-41F6-B537-1C683B19B02D}" type="slidenum">
              <a:rPr lang="en-US" altLang="zh-TW" sz="1100" smtClean="0"/>
              <a:pPr>
                <a:spcBef>
                  <a:spcPct val="0"/>
                </a:spcBef>
                <a:buClrTx/>
                <a:buSzTx/>
                <a:buFontTx/>
                <a:buNone/>
              </a:pPr>
              <a:t>20</a:t>
            </a:fld>
            <a:endParaRPr lang="en-US" altLang="zh-TW" sz="1100"/>
          </a:p>
        </p:txBody>
      </p:sp>
      <p:sp>
        <p:nvSpPr>
          <p:cNvPr id="11267" name="Rectangle 2">
            <a:extLst>
              <a:ext uri="{FF2B5EF4-FFF2-40B4-BE49-F238E27FC236}">
                <a16:creationId xmlns:a16="http://schemas.microsoft.com/office/drawing/2014/main" id="{ECFA6BB3-F1F4-CD16-59CC-0788A10574CF}"/>
              </a:ext>
            </a:extLst>
          </p:cNvPr>
          <p:cNvSpPr>
            <a:spLocks noGrp="1" noRot="1" noChangeAspect="1" noChangeArrowheads="1" noTextEdit="1"/>
          </p:cNvSpPr>
          <p:nvPr>
            <p:ph type="sldImg"/>
          </p:nvPr>
        </p:nvSpPr>
        <p:spPr>
          <a:ln/>
        </p:spPr>
      </p:sp>
      <p:sp>
        <p:nvSpPr>
          <p:cNvPr id="11268" name="Rectangle 3">
            <a:extLst>
              <a:ext uri="{FF2B5EF4-FFF2-40B4-BE49-F238E27FC236}">
                <a16:creationId xmlns:a16="http://schemas.microsoft.com/office/drawing/2014/main" id="{375C70EE-0EBB-E9AD-5B0B-25193A62E4F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Font typeface="Frutiger 55 Roman" pitchFamily="34" charset="0"/>
              <a:buNone/>
            </a:pPr>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97125-5D40-F30A-C276-DFEF4FFCE8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928ECD-E7D5-865D-E0CE-D3906730FB6C}"/>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E14ED1BB-1C54-C569-0C45-B65A38584A78}"/>
              </a:ext>
            </a:extLst>
          </p:cNvPr>
          <p:cNvSpPr>
            <a:spLocks noGrp="1"/>
          </p:cNvSpPr>
          <p:nvPr>
            <p:ph type="body" idx="1"/>
          </p:nvPr>
        </p:nvSpPr>
        <p:spPr/>
        <p:txBody>
          <a:bodyPr/>
          <a:lstStyle/>
          <a:p>
            <a:pPr marL="193675" indent="-193675"/>
            <a:endParaRPr lang="en-US">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7ED10BBA-BC56-F4BC-BB4F-20494FD1EA13}"/>
              </a:ext>
            </a:extLst>
          </p:cNvPr>
          <p:cNvSpPr>
            <a:spLocks noGrp="1"/>
          </p:cNvSpPr>
          <p:nvPr>
            <p:ph type="sldNum" sz="quarter" idx="10"/>
          </p:nvPr>
        </p:nvSpPr>
        <p:spPr/>
        <p:txBody>
          <a:bodyPr/>
          <a:lstStyle/>
          <a:p>
            <a:fld id="{2A45EEF0-2412-4E74-8042-71FA5C916756}" type="slidenum">
              <a:rPr lang="en-US" altLang="zh-TW" smtClean="0"/>
              <a:pPr/>
              <a:t>2</a:t>
            </a:fld>
            <a:endParaRPr lang="en-US" altLang="zh-TW"/>
          </a:p>
        </p:txBody>
      </p:sp>
    </p:spTree>
    <p:extLst>
      <p:ext uri="{BB962C8B-B14F-4D97-AF65-F5344CB8AC3E}">
        <p14:creationId xmlns:p14="http://schemas.microsoft.com/office/powerpoint/2010/main" val="27892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AF430-DD2A-ACE7-7637-38B76BB2EA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0E94A7-B3B9-2BFB-B7DB-610A4A9E5B46}"/>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09966839-DA56-CE82-848B-6F457F7FABC2}"/>
              </a:ext>
            </a:extLst>
          </p:cNvPr>
          <p:cNvSpPr>
            <a:spLocks noGrp="1"/>
          </p:cNvSpPr>
          <p:nvPr>
            <p:ph type="body" idx="1"/>
          </p:nvPr>
        </p:nvSpPr>
        <p:spPr/>
        <p:txBody>
          <a:bodyPr/>
          <a:lstStyle/>
          <a:p>
            <a:pPr marL="193675" indent="-193675"/>
            <a:endParaRPr lang="en-US" i="0">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61BAAA8D-2603-6BF7-8EE9-CC2489637A3C}"/>
              </a:ext>
            </a:extLst>
          </p:cNvPr>
          <p:cNvSpPr>
            <a:spLocks noGrp="1"/>
          </p:cNvSpPr>
          <p:nvPr>
            <p:ph type="sldNum" sz="quarter" idx="10"/>
          </p:nvPr>
        </p:nvSpPr>
        <p:spPr/>
        <p:txBody>
          <a:bodyPr/>
          <a:lstStyle/>
          <a:p>
            <a:fld id="{2A45EEF0-2412-4E74-8042-71FA5C916756}" type="slidenum">
              <a:rPr lang="en-US" altLang="zh-TW" smtClean="0"/>
              <a:pPr/>
              <a:t>3</a:t>
            </a:fld>
            <a:endParaRPr lang="en-US" altLang="zh-TW"/>
          </a:p>
        </p:txBody>
      </p:sp>
    </p:spTree>
    <p:extLst>
      <p:ext uri="{BB962C8B-B14F-4D97-AF65-F5344CB8AC3E}">
        <p14:creationId xmlns:p14="http://schemas.microsoft.com/office/powerpoint/2010/main" val="2629749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B9950-0F4F-F4DC-DF08-F2C0A6E5AB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AF482E-85ED-F85B-7FB0-6839CC176AAE}"/>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117F288A-18AC-9B89-B723-BF44D32C58F8}"/>
              </a:ext>
            </a:extLst>
          </p:cNvPr>
          <p:cNvSpPr>
            <a:spLocks noGrp="1"/>
          </p:cNvSpPr>
          <p:nvPr>
            <p:ph type="body" idx="1"/>
          </p:nvPr>
        </p:nvSpPr>
        <p:spPr/>
        <p:txBody>
          <a:bodyPr/>
          <a:lstStyle/>
          <a:p>
            <a:pPr marL="193675" indent="-193675"/>
            <a:endParaRPr lang="en-US" i="0">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C1C03678-2897-2DA4-4732-AA651DA320D2}"/>
              </a:ext>
            </a:extLst>
          </p:cNvPr>
          <p:cNvSpPr>
            <a:spLocks noGrp="1"/>
          </p:cNvSpPr>
          <p:nvPr>
            <p:ph type="sldNum" sz="quarter" idx="10"/>
          </p:nvPr>
        </p:nvSpPr>
        <p:spPr/>
        <p:txBody>
          <a:bodyPr/>
          <a:lstStyle/>
          <a:p>
            <a:fld id="{2A45EEF0-2412-4E74-8042-71FA5C916756}" type="slidenum">
              <a:rPr lang="en-US" altLang="zh-TW" smtClean="0"/>
              <a:pPr/>
              <a:t>4</a:t>
            </a:fld>
            <a:endParaRPr lang="en-US" altLang="zh-TW"/>
          </a:p>
        </p:txBody>
      </p:sp>
    </p:spTree>
    <p:extLst>
      <p:ext uri="{BB962C8B-B14F-4D97-AF65-F5344CB8AC3E}">
        <p14:creationId xmlns:p14="http://schemas.microsoft.com/office/powerpoint/2010/main" val="3923861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2DCDC-3D43-CCEF-660D-C9DC56D947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F5DAEC-E5AB-4369-A0DD-DE11EF28BDA3}"/>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ADBFFF00-CC11-84AE-6A74-7CA208545031}"/>
              </a:ext>
            </a:extLst>
          </p:cNvPr>
          <p:cNvSpPr>
            <a:spLocks noGrp="1"/>
          </p:cNvSpPr>
          <p:nvPr>
            <p:ph type="body" idx="1"/>
          </p:nvPr>
        </p:nvSpPr>
        <p:spPr/>
        <p:txBody>
          <a:bodyPr/>
          <a:lstStyle/>
          <a:p>
            <a:pPr marL="193675" indent="-193675"/>
            <a:endParaRPr lang="en-US" i="0">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5172838D-EA76-87EB-5FC0-7E13ECA7419F}"/>
              </a:ext>
            </a:extLst>
          </p:cNvPr>
          <p:cNvSpPr>
            <a:spLocks noGrp="1"/>
          </p:cNvSpPr>
          <p:nvPr>
            <p:ph type="sldNum" sz="quarter" idx="10"/>
          </p:nvPr>
        </p:nvSpPr>
        <p:spPr/>
        <p:txBody>
          <a:bodyPr/>
          <a:lstStyle/>
          <a:p>
            <a:fld id="{2A45EEF0-2412-4E74-8042-71FA5C916756}" type="slidenum">
              <a:rPr lang="en-US" altLang="zh-TW" smtClean="0"/>
              <a:pPr/>
              <a:t>5</a:t>
            </a:fld>
            <a:endParaRPr lang="en-US" altLang="zh-TW"/>
          </a:p>
        </p:txBody>
      </p:sp>
    </p:spTree>
    <p:extLst>
      <p:ext uri="{BB962C8B-B14F-4D97-AF65-F5344CB8AC3E}">
        <p14:creationId xmlns:p14="http://schemas.microsoft.com/office/powerpoint/2010/main" val="3912058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1BEC6-DDDF-38FB-57BD-0DCBC573B6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86C3AE-E758-6DE0-DDD3-8A80013F396D}"/>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38145F40-B1CD-431C-4560-49FFAD16FF36}"/>
              </a:ext>
            </a:extLst>
          </p:cNvPr>
          <p:cNvSpPr>
            <a:spLocks noGrp="1"/>
          </p:cNvSpPr>
          <p:nvPr>
            <p:ph type="body" idx="1"/>
          </p:nvPr>
        </p:nvSpPr>
        <p:spPr/>
        <p:txBody>
          <a:bodyPr/>
          <a:lstStyle/>
          <a:p>
            <a:pPr marL="193675" indent="-193675"/>
            <a:endParaRPr lang="en-US">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A380DE54-84D5-1489-912D-C3CE2ECACE3D}"/>
              </a:ext>
            </a:extLst>
          </p:cNvPr>
          <p:cNvSpPr>
            <a:spLocks noGrp="1"/>
          </p:cNvSpPr>
          <p:nvPr>
            <p:ph type="sldNum" sz="quarter" idx="10"/>
          </p:nvPr>
        </p:nvSpPr>
        <p:spPr/>
        <p:txBody>
          <a:bodyPr/>
          <a:lstStyle/>
          <a:p>
            <a:fld id="{2A45EEF0-2412-4E74-8042-71FA5C916756}" type="slidenum">
              <a:rPr lang="en-US" altLang="zh-TW" smtClean="0"/>
              <a:pPr/>
              <a:t>7</a:t>
            </a:fld>
            <a:endParaRPr lang="en-US" altLang="zh-TW"/>
          </a:p>
        </p:txBody>
      </p:sp>
    </p:spTree>
    <p:extLst>
      <p:ext uri="{BB962C8B-B14F-4D97-AF65-F5344CB8AC3E}">
        <p14:creationId xmlns:p14="http://schemas.microsoft.com/office/powerpoint/2010/main" val="1986542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A91931-FC7C-BA95-C540-740B763716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B2AC65-5558-2E6E-3820-43D015DF6161}"/>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AC1CEF14-D00A-4768-7B60-BACC174F357E}"/>
              </a:ext>
            </a:extLst>
          </p:cNvPr>
          <p:cNvSpPr>
            <a:spLocks noGrp="1"/>
          </p:cNvSpPr>
          <p:nvPr>
            <p:ph type="body" idx="1"/>
          </p:nvPr>
        </p:nvSpPr>
        <p:spPr/>
        <p:txBody>
          <a:bodyPr/>
          <a:lstStyle/>
          <a:p>
            <a:pPr marL="193675" indent="-193675"/>
            <a:endParaRPr lang="en-US">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3FFE9862-4CE7-8AC6-0D59-17D47FDD1D59}"/>
              </a:ext>
            </a:extLst>
          </p:cNvPr>
          <p:cNvSpPr>
            <a:spLocks noGrp="1"/>
          </p:cNvSpPr>
          <p:nvPr>
            <p:ph type="sldNum" sz="quarter" idx="10"/>
          </p:nvPr>
        </p:nvSpPr>
        <p:spPr/>
        <p:txBody>
          <a:bodyPr/>
          <a:lstStyle/>
          <a:p>
            <a:fld id="{2A45EEF0-2412-4E74-8042-71FA5C916756}" type="slidenum">
              <a:rPr lang="en-US" altLang="zh-TW" smtClean="0"/>
              <a:pPr/>
              <a:t>8</a:t>
            </a:fld>
            <a:endParaRPr lang="en-US" altLang="zh-TW"/>
          </a:p>
        </p:txBody>
      </p:sp>
    </p:spTree>
    <p:extLst>
      <p:ext uri="{BB962C8B-B14F-4D97-AF65-F5344CB8AC3E}">
        <p14:creationId xmlns:p14="http://schemas.microsoft.com/office/powerpoint/2010/main" val="310134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2DCDC-3D43-CCEF-660D-C9DC56D947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F5DAEC-E5AB-4369-A0DD-DE11EF28BDA3}"/>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ADBFFF00-CC11-84AE-6A74-7CA208545031}"/>
              </a:ext>
            </a:extLst>
          </p:cNvPr>
          <p:cNvSpPr>
            <a:spLocks noGrp="1"/>
          </p:cNvSpPr>
          <p:nvPr>
            <p:ph type="body" idx="1"/>
          </p:nvPr>
        </p:nvSpPr>
        <p:spPr/>
        <p:txBody>
          <a:bodyPr/>
          <a:lstStyle/>
          <a:p>
            <a:pPr marL="193675" indent="-193675"/>
            <a:endParaRPr lang="en-US" i="0">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5172838D-EA76-87EB-5FC0-7E13ECA7419F}"/>
              </a:ext>
            </a:extLst>
          </p:cNvPr>
          <p:cNvSpPr>
            <a:spLocks noGrp="1"/>
          </p:cNvSpPr>
          <p:nvPr>
            <p:ph type="sldNum" sz="quarter" idx="10"/>
          </p:nvPr>
        </p:nvSpPr>
        <p:spPr/>
        <p:txBody>
          <a:bodyPr/>
          <a:lstStyle/>
          <a:p>
            <a:pPr marL="0" marR="0" lvl="0" indent="0" algn="r" defTabSz="950913" rtl="0" eaLnBrk="0" fontAlgn="base" latinLnBrk="0" hangingPunct="0">
              <a:lnSpc>
                <a:spcPct val="100000"/>
              </a:lnSpc>
              <a:spcBef>
                <a:spcPct val="0"/>
              </a:spcBef>
              <a:spcAft>
                <a:spcPct val="0"/>
              </a:spcAft>
              <a:buClrTx/>
              <a:buSzTx/>
              <a:buFontTx/>
              <a:buNone/>
              <a:tabLst/>
              <a:defRPr/>
            </a:pPr>
            <a:fld id="{2A45EEF0-2412-4E74-8042-71FA5C916756}" type="slidenum">
              <a:rPr kumimoji="0" lang="en-US" altLang="zh-TW" sz="1100" b="0" i="0" u="none" strike="noStrike" kern="1200" cap="none" spc="0" normalizeH="0" baseline="0" noProof="0" smtClean="0">
                <a:ln>
                  <a:noFill/>
                </a:ln>
                <a:solidFill>
                  <a:prstClr val="black"/>
                </a:solidFill>
                <a:effectLst/>
                <a:uLnTx/>
                <a:uFillTx/>
                <a:latin typeface="Frutiger 45 Light"/>
                <a:ea typeface="Arial Unicode MS" pitchFamily="34" charset="-128"/>
              </a:rPr>
              <a:pPr marL="0" marR="0" lvl="0" indent="0" algn="r" defTabSz="950913" rtl="0" eaLnBrk="0" fontAlgn="base" latinLnBrk="0" hangingPunct="0">
                <a:lnSpc>
                  <a:spcPct val="100000"/>
                </a:lnSpc>
                <a:spcBef>
                  <a:spcPct val="0"/>
                </a:spcBef>
                <a:spcAft>
                  <a:spcPct val="0"/>
                </a:spcAft>
                <a:buClrTx/>
                <a:buSzTx/>
                <a:buFontTx/>
                <a:buNone/>
                <a:tabLst/>
                <a:defRPr/>
              </a:pPr>
              <a:t>9</a:t>
            </a:fld>
            <a:endParaRPr kumimoji="0" lang="en-US" altLang="zh-TW" sz="1100" b="0" i="0" u="none" strike="noStrike" kern="1200" cap="none" spc="0" normalizeH="0" baseline="0" noProof="0">
              <a:ln>
                <a:noFill/>
              </a:ln>
              <a:solidFill>
                <a:prstClr val="black"/>
              </a:solidFill>
              <a:effectLst/>
              <a:uLnTx/>
              <a:uFillTx/>
              <a:latin typeface="Frutiger 45 Light"/>
              <a:ea typeface="Arial Unicode MS" pitchFamily="34" charset="-128"/>
            </a:endParaRPr>
          </a:p>
        </p:txBody>
      </p:sp>
    </p:spTree>
    <p:extLst>
      <p:ext uri="{BB962C8B-B14F-4D97-AF65-F5344CB8AC3E}">
        <p14:creationId xmlns:p14="http://schemas.microsoft.com/office/powerpoint/2010/main" val="39120585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A086E-CBD2-F5D4-3610-01CE7C6510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87F714-7198-8C47-B8CB-7FC10BAB35B0}"/>
              </a:ext>
            </a:extLst>
          </p:cNvPr>
          <p:cNvSpPr>
            <a:spLocks noGrp="1" noRot="1" noChangeAspect="1"/>
          </p:cNvSpPr>
          <p:nvPr>
            <p:ph type="sldImg"/>
          </p:nvPr>
        </p:nvSpPr>
        <p:spPr>
          <a:xfrm>
            <a:off x="-174625" y="274638"/>
            <a:ext cx="5049838" cy="2841625"/>
          </a:xfrm>
        </p:spPr>
      </p:sp>
      <p:sp>
        <p:nvSpPr>
          <p:cNvPr id="3" name="Notes Placeholder 2">
            <a:extLst>
              <a:ext uri="{FF2B5EF4-FFF2-40B4-BE49-F238E27FC236}">
                <a16:creationId xmlns:a16="http://schemas.microsoft.com/office/drawing/2014/main" id="{3419B3AD-218B-BC22-DFCA-8CA9BB04AF99}"/>
              </a:ext>
            </a:extLst>
          </p:cNvPr>
          <p:cNvSpPr>
            <a:spLocks noGrp="1"/>
          </p:cNvSpPr>
          <p:nvPr>
            <p:ph type="body" idx="1"/>
          </p:nvPr>
        </p:nvSpPr>
        <p:spPr/>
        <p:txBody>
          <a:bodyPr/>
          <a:lstStyle/>
          <a:p>
            <a:pPr marL="193675" indent="-193675"/>
            <a:endParaRPr lang="en-US">
              <a:solidFill>
                <a:srgbClr val="000000"/>
              </a:solidFill>
              <a:latin typeface="Frutiger 45 Light" panose="020B0603020202020204" pitchFamily="34" charset="0"/>
            </a:endParaRPr>
          </a:p>
        </p:txBody>
      </p:sp>
      <p:sp>
        <p:nvSpPr>
          <p:cNvPr id="4" name="Slide Number Placeholder 3">
            <a:extLst>
              <a:ext uri="{FF2B5EF4-FFF2-40B4-BE49-F238E27FC236}">
                <a16:creationId xmlns:a16="http://schemas.microsoft.com/office/drawing/2014/main" id="{D722E6D1-E219-8172-CFE6-0A291ED5E405}"/>
              </a:ext>
            </a:extLst>
          </p:cNvPr>
          <p:cNvSpPr>
            <a:spLocks noGrp="1"/>
          </p:cNvSpPr>
          <p:nvPr>
            <p:ph type="sldNum" sz="quarter" idx="10"/>
          </p:nvPr>
        </p:nvSpPr>
        <p:spPr/>
        <p:txBody>
          <a:bodyPr/>
          <a:lstStyle/>
          <a:p>
            <a:fld id="{2A45EEF0-2412-4E74-8042-71FA5C916756}" type="slidenum">
              <a:rPr lang="en-US" altLang="zh-TW" smtClean="0"/>
              <a:pPr/>
              <a:t>10</a:t>
            </a:fld>
            <a:endParaRPr lang="en-US" altLang="zh-TW"/>
          </a:p>
        </p:txBody>
      </p:sp>
    </p:spTree>
    <p:extLst>
      <p:ext uri="{BB962C8B-B14F-4D97-AF65-F5344CB8AC3E}">
        <p14:creationId xmlns:p14="http://schemas.microsoft.com/office/powerpoint/2010/main" val="7906017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9.xml"/><Relationship Id="rId7" Type="http://schemas.openxmlformats.org/officeDocument/2006/relationships/image" Target="../media/image2.sv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Master" Target="../slideMasters/slideMaster1.xml"/><Relationship Id="rId5" Type="http://schemas.openxmlformats.org/officeDocument/2006/relationships/tags" Target="../tags/tag131.xml"/><Relationship Id="rId10" Type="http://schemas.openxmlformats.org/officeDocument/2006/relationships/image" Target="../media/image1.emf"/><Relationship Id="rId4" Type="http://schemas.openxmlformats.org/officeDocument/2006/relationships/tags" Target="../tags/tag130.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2.xml"/><Relationship Id="rId7" Type="http://schemas.openxmlformats.org/officeDocument/2006/relationships/oleObject" Target="../embeddings/oleObject3.bin"/><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7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6.xml"/><Relationship Id="rId7" Type="http://schemas.openxmlformats.org/officeDocument/2006/relationships/oleObject" Target="../embeddings/oleObject3.bin"/><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77.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80.xml"/><Relationship Id="rId7" Type="http://schemas.openxmlformats.org/officeDocument/2006/relationships/image" Target="../media/image3.pn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slideMaster" Target="../slideMasters/slideMaster1.xml"/><Relationship Id="rId5" Type="http://schemas.openxmlformats.org/officeDocument/2006/relationships/tags" Target="../tags/tag182.xml"/><Relationship Id="rId4" Type="http://schemas.openxmlformats.org/officeDocument/2006/relationships/tags" Target="../tags/tag18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85.xml"/><Relationship Id="rId7" Type="http://schemas.openxmlformats.org/officeDocument/2006/relationships/image" Target="../media/image3.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slideMaster" Target="../slideMasters/slideMaster1.xml"/><Relationship Id="rId5" Type="http://schemas.openxmlformats.org/officeDocument/2006/relationships/tags" Target="../tags/tag187.xml"/><Relationship Id="rId4" Type="http://schemas.openxmlformats.org/officeDocument/2006/relationships/tags" Target="../tags/tag186.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0.xml"/><Relationship Id="rId7" Type="http://schemas.openxmlformats.org/officeDocument/2006/relationships/oleObject" Target="../embeddings/oleObject3.bin"/><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9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bin"/><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95.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xml"/><Relationship Id="rId7" Type="http://schemas.openxmlformats.org/officeDocument/2006/relationships/oleObject" Target="../embeddings/oleObject3.bin"/><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99.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xml"/><Relationship Id="rId7" Type="http://schemas.openxmlformats.org/officeDocument/2006/relationships/oleObject" Target="../embeddings/oleObject3.bin"/><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20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xml"/><Relationship Id="rId7" Type="http://schemas.openxmlformats.org/officeDocument/2006/relationships/oleObject" Target="../embeddings/oleObject3.bin"/><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207.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xml"/><Relationship Id="rId7" Type="http://schemas.openxmlformats.org/officeDocument/2006/relationships/oleObject" Target="../embeddings/oleObject3.bin"/><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21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xml"/><Relationship Id="rId7" Type="http://schemas.openxmlformats.org/officeDocument/2006/relationships/oleObject" Target="../embeddings/oleObject2.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35.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emf"/><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oleObject" Target="../embeddings/oleObject3.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7.xml"/><Relationship Id="rId7" Type="http://schemas.openxmlformats.org/officeDocument/2006/relationships/oleObject" Target="../embeddings/oleObject3.bin"/><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218.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1.xml"/><Relationship Id="rId7" Type="http://schemas.openxmlformats.org/officeDocument/2006/relationships/oleObject" Target="../embeddings/oleObject3.bin"/><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22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5.xml"/><Relationship Id="rId7" Type="http://schemas.openxmlformats.org/officeDocument/2006/relationships/oleObject" Target="../embeddings/oleObject3.bin"/><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226.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xml"/><Relationship Id="rId7" Type="http://schemas.openxmlformats.org/officeDocument/2006/relationships/oleObject" Target="../embeddings/oleObject3.bin"/><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23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oleObject" Target="../embeddings/oleObject3.bin"/><Relationship Id="rId5" Type="http://schemas.openxmlformats.org/officeDocument/2006/relationships/image" Target="../media/image3.png"/><Relationship Id="rId4" Type="http://schemas.openxmlformats.org/officeDocument/2006/relationships/image" Target="../media/image5.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35.xml"/><Relationship Id="rId7" Type="http://schemas.openxmlformats.org/officeDocument/2006/relationships/slideMaster" Target="../slideMasters/slideMaster1.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5" Type="http://schemas.openxmlformats.org/officeDocument/2006/relationships/tags" Target="../tags/tag237.xml"/><Relationship Id="rId10" Type="http://schemas.openxmlformats.org/officeDocument/2006/relationships/image" Target="../media/image6.emf"/><Relationship Id="rId4" Type="http://schemas.openxmlformats.org/officeDocument/2006/relationships/tags" Target="../tags/tag236.xml"/><Relationship Id="rId9"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0.xml"/><Relationship Id="rId1" Type="http://schemas.openxmlformats.org/officeDocument/2006/relationships/tags" Target="../tags/tag239.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3.xml"/><Relationship Id="rId7" Type="http://schemas.openxmlformats.org/officeDocument/2006/relationships/tags" Target="../tags/tag247.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tags" Target="../tags/tag246.xml"/><Relationship Id="rId11" Type="http://schemas.openxmlformats.org/officeDocument/2006/relationships/image" Target="../media/image6.emf"/><Relationship Id="rId5" Type="http://schemas.openxmlformats.org/officeDocument/2006/relationships/tags" Target="../tags/tag245.xml"/><Relationship Id="rId10" Type="http://schemas.openxmlformats.org/officeDocument/2006/relationships/image" Target="../media/image1.emf"/><Relationship Id="rId4" Type="http://schemas.openxmlformats.org/officeDocument/2006/relationships/tags" Target="../tags/tag244.xml"/><Relationship Id="rId9"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38.xml"/><Relationship Id="rId7" Type="http://schemas.openxmlformats.org/officeDocument/2006/relationships/image" Target="../media/image3.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slideMaster" Target="../slideMasters/slideMaster1.xml"/><Relationship Id="rId5" Type="http://schemas.openxmlformats.org/officeDocument/2006/relationships/tags" Target="../tags/tag140.xml"/><Relationship Id="rId4" Type="http://schemas.openxmlformats.org/officeDocument/2006/relationships/tags" Target="../tags/tag139.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tags" Target="../tags/tag248.xml"/><Relationship Id="rId5" Type="http://schemas.openxmlformats.org/officeDocument/2006/relationships/image" Target="../media/image6.emf"/><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tags" Target="../tags/tag251.xml"/><Relationship Id="rId5" Type="http://schemas.openxmlformats.org/officeDocument/2006/relationships/image" Target="../media/image6.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43.xml"/><Relationship Id="rId7" Type="http://schemas.openxmlformats.org/officeDocument/2006/relationships/image" Target="../media/image3.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slideMaster" Target="../slideMasters/slideMaster1.xml"/><Relationship Id="rId5" Type="http://schemas.openxmlformats.org/officeDocument/2006/relationships/tags" Target="../tags/tag145.xml"/><Relationship Id="rId4" Type="http://schemas.openxmlformats.org/officeDocument/2006/relationships/tags" Target="../tags/tag144.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48.xml"/><Relationship Id="rId7" Type="http://schemas.openxmlformats.org/officeDocument/2006/relationships/image" Target="../media/image3.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slideMaster" Target="../slideMasters/slideMaster1.xml"/><Relationship Id="rId5" Type="http://schemas.openxmlformats.org/officeDocument/2006/relationships/tags" Target="../tags/tag150.xml"/><Relationship Id="rId4" Type="http://schemas.openxmlformats.org/officeDocument/2006/relationships/tags" Target="../tags/tag149.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53.xml"/><Relationship Id="rId7" Type="http://schemas.openxmlformats.org/officeDocument/2006/relationships/image" Target="../media/image3.pn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slideMaster" Target="../slideMasters/slideMaster1.xml"/><Relationship Id="rId5" Type="http://schemas.openxmlformats.org/officeDocument/2006/relationships/tags" Target="../tags/tag155.xml"/><Relationship Id="rId4" Type="http://schemas.openxmlformats.org/officeDocument/2006/relationships/tags" Target="../tags/tag154.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58.xml"/><Relationship Id="rId7" Type="http://schemas.openxmlformats.org/officeDocument/2006/relationships/image" Target="../media/image3.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Master" Target="../slideMasters/slideMaster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3.xml"/><Relationship Id="rId7" Type="http://schemas.openxmlformats.org/officeDocument/2006/relationships/image" Target="../media/image3.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4.svg"/><Relationship Id="rId5" Type="http://schemas.openxmlformats.org/officeDocument/2006/relationships/slideMaster" Target="../slideMasters/slideMaster1.xml"/><Relationship Id="rId4" Type="http://schemas.openxmlformats.org/officeDocument/2006/relationships/tags" Target="../tags/tag164.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7.xml"/><Relationship Id="rId7" Type="http://schemas.openxmlformats.org/officeDocument/2006/relationships/image" Target="../media/image3.png"/><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slideMaster" Target="../slideMasters/slideMaster1.xml"/><Relationship Id="rId5" Type="http://schemas.openxmlformats.org/officeDocument/2006/relationships/tags" Target="../tags/tag169.xml"/><Relationship Id="rId4" Type="http://schemas.openxmlformats.org/officeDocument/2006/relationships/tags" Target="../tags/tag16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efault cover slid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A63A603-C66C-AA35-F851-8D89F3A883AA}"/>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25975" y="1485900"/>
            <a:ext cx="4152900" cy="4572000"/>
          </a:xfrm>
          <a:prstGeom prst="rect">
            <a:avLst/>
          </a:prstGeom>
        </p:spPr>
      </p:pic>
      <p:sp>
        <p:nvSpPr>
          <p:cNvPr id="4" name="text" descr="{&quot;templafy&quot;:{&quot;id&quot;:&quot;70bc799a-3593-4c4f-96ce-90e4223566f7&quot;}}" hidden="1" title="Translations.Draft">
            <a:extLst>
              <a:ext uri="{FF2B5EF4-FFF2-40B4-BE49-F238E27FC236}">
                <a16:creationId xmlns:a16="http://schemas.microsoft.com/office/drawing/2014/main" id="{1DE22CBC-BEB2-3F34-4522-FBF4262CC4A4}"/>
              </a:ext>
            </a:extLst>
          </p:cNvPr>
          <p:cNvSpPr txBox="1"/>
          <p:nvPr>
            <p:custDataLst>
              <p:tags r:id="rId1"/>
            </p:custDataLst>
          </p:nvPr>
        </p:nvSpPr>
        <p:spPr>
          <a:xfrm>
            <a:off x="507600" y="547200"/>
            <a:ext cx="824400" cy="1836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400" b="1" i="0" u="none" baseline="0">
                <a:solidFill>
                  <a:schemeClr val="tx2"/>
                </a:solidFill>
                <a:latin typeface="+mn-lt"/>
              </a:rPr>
              <a:t>Draft</a:t>
            </a:r>
          </a:p>
        </p:txBody>
      </p:sp>
      <p:sp>
        <p:nvSpPr>
          <p:cNvPr id="17" name="Classification Tag" descr="{&quot;templafy&quot;:{&quot;id&quot;:&quot;65197e8c-8aff-4cd4-b578-c62a6caec84d&quot;}}">
            <a:extLst>
              <a:ext uri="{FF2B5EF4-FFF2-40B4-BE49-F238E27FC236}">
                <a16:creationId xmlns:a16="http://schemas.microsoft.com/office/drawing/2014/main" id="{47077C13-B548-4028-27D1-F565CE745771}"/>
              </a:ext>
            </a:extLst>
          </p:cNvPr>
          <p:cNvSpPr txBox="1"/>
          <p:nvPr userDrawn="1">
            <p:custDataLst>
              <p:tags r:id="rId2"/>
            </p:custDataLst>
          </p:nvPr>
        </p:nvSpPr>
        <p:spPr>
          <a:xfrm>
            <a:off x="2103120" y="6851015"/>
            <a:ext cx="1554480" cy="136400"/>
          </a:xfrm>
          <a:prstGeom prst="rect">
            <a:avLst/>
          </a:prstGeom>
        </p:spPr>
        <p:txBody>
          <a:bodyPr vert="horz" lIns="0" tIns="0" rIns="0" bIns="0" rtlCol="0">
            <a:noAutofit/>
          </a:bodyPr>
          <a:lstStyle>
            <a:lvl1pPr marL="0" marR="0" lvl="0" indent="0" defTabSz="1005505" eaLnBrk="1" fontAlgn="auto" latinLnBrk="0" hangingPunct="1">
              <a:lnSpc>
                <a:spcPct val="100000"/>
              </a:lnSpc>
              <a:spcBef>
                <a:spcPts val="0"/>
              </a:spcBef>
              <a:spcAft>
                <a:spcPts val="0"/>
              </a:spcAft>
              <a:buClr>
                <a:schemeClr val="tx1"/>
              </a:buClr>
              <a:buSzPct val="75000"/>
              <a:buFont typeface="Wingdings 2" panose="05020102010507070707" pitchFamily="18" charset="2"/>
              <a:buNone/>
              <a:tabLst/>
              <a:defRPr lang="en-US" sz="1100" b="0" kern="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8" name="Keyline Title" descr="{&quot;templafy&quot;:{&quot;id&quot;:&quot;47eaad69-7dd8-4eb0-aded-ca4cec475a40&quot;}}">
            <a:extLst>
              <a:ext uri="{FF2B5EF4-FFF2-40B4-BE49-F238E27FC236}">
                <a16:creationId xmlns:a16="http://schemas.microsoft.com/office/drawing/2014/main" id="{74DE9E3E-A58E-1CC3-3AAC-B27A6F9A603C}"/>
              </a:ext>
            </a:extLst>
          </p:cNvPr>
          <p:cNvSpPr>
            <a:spLocks noGrp="1"/>
          </p:cNvSpPr>
          <p:nvPr>
            <p:ph type="title" hasCustomPrompt="1"/>
          </p:nvPr>
        </p:nvSpPr>
        <p:spPr>
          <a:xfrm>
            <a:off x="584358" y="1463040"/>
            <a:ext cx="10702800" cy="1800000"/>
          </a:xfrm>
          <a:custGeom>
            <a:avLst/>
            <a:gdLst>
              <a:gd name="connsiteX0" fmla="*/ 0 w 12313368"/>
              <a:gd name="connsiteY0" fmla="*/ 0 h 495300"/>
              <a:gd name="connsiteX1" fmla="*/ 12313368 w 12313368"/>
              <a:gd name="connsiteY1" fmla="*/ 0 h 495300"/>
              <a:gd name="connsiteX2" fmla="*/ 12313368 w 12313368"/>
              <a:gd name="connsiteY2" fmla="*/ 495300 h 495300"/>
              <a:gd name="connsiteX3" fmla="*/ 0 w 12313368"/>
              <a:gd name="connsiteY3" fmla="*/ 495300 h 495300"/>
              <a:gd name="connsiteX4" fmla="*/ 0 w 12313368"/>
              <a:gd name="connsiteY4" fmla="*/ 0 h 495300"/>
              <a:gd name="connsiteX0" fmla="*/ 12313368 w 12404808"/>
              <a:gd name="connsiteY0" fmla="*/ 495300 h 495300"/>
              <a:gd name="connsiteX1" fmla="*/ 0 w 12404808"/>
              <a:gd name="connsiteY1" fmla="*/ 495300 h 495300"/>
              <a:gd name="connsiteX2" fmla="*/ 0 w 12404808"/>
              <a:gd name="connsiteY2" fmla="*/ 0 h 495300"/>
              <a:gd name="connsiteX3" fmla="*/ 12404808 w 12404808"/>
              <a:gd name="connsiteY3" fmla="*/ 91440 h 495300"/>
              <a:gd name="connsiteX0" fmla="*/ 12313368 w 12313368"/>
              <a:gd name="connsiteY0" fmla="*/ 495300 h 495300"/>
              <a:gd name="connsiteX1" fmla="*/ 0 w 12313368"/>
              <a:gd name="connsiteY1" fmla="*/ 495300 h 495300"/>
              <a:gd name="connsiteX2" fmla="*/ 0 w 12313368"/>
              <a:gd name="connsiteY2" fmla="*/ 0 h 495300"/>
              <a:gd name="connsiteX0" fmla="*/ 0 w 0"/>
              <a:gd name="connsiteY0" fmla="*/ 495300 h 495300"/>
              <a:gd name="connsiteX1" fmla="*/ 0 w 0"/>
              <a:gd name="connsiteY1" fmla="*/ 0 h 495300"/>
              <a:gd name="connsiteX0" fmla="*/ 0 w 0"/>
              <a:gd name="connsiteY0" fmla="*/ 10000 h 10000"/>
              <a:gd name="connsiteX1" fmla="*/ 0 w 0"/>
              <a:gd name="connsiteY1" fmla="*/ 0 h 10000"/>
              <a:gd name="connsiteX2" fmla="*/ 0 w 0"/>
              <a:gd name="connsiteY2" fmla="*/ 10000 h 10000"/>
            </a:gdLst>
            <a:ahLst/>
            <a:cxnLst>
              <a:cxn ang="0">
                <a:pos x="connsiteX0" y="connsiteY0"/>
              </a:cxn>
              <a:cxn ang="0">
                <a:pos x="connsiteX1" y="connsiteY1"/>
              </a:cxn>
              <a:cxn ang="0">
                <a:pos x="connsiteX2" y="connsiteY2"/>
              </a:cxn>
            </a:cxnLst>
            <a:rect l="l" t="t" r="r" b="b"/>
            <a:pathLst>
              <a:path h="10000">
                <a:moveTo>
                  <a:pt x="0" y="10000"/>
                </a:moveTo>
                <a:lnTo>
                  <a:pt x="0" y="0"/>
                </a:lnTo>
                <a:lnTo>
                  <a:pt x="0" y="10000"/>
                </a:lnTo>
                <a:close/>
              </a:path>
            </a:pathLst>
          </a:custGeom>
          <a:ln w="76200" cap="sq">
            <a:solidFill>
              <a:schemeClr val="tx2"/>
            </a:solidFill>
            <a:miter lim="800000"/>
          </a:ln>
        </p:spPr>
        <p:txBody>
          <a:bodyPr wrap="square" lIns="410400" anchor="t">
            <a:noAutofit/>
          </a:bodyPr>
          <a:lstStyle>
            <a:lvl1pPr>
              <a:lnSpc>
                <a:spcPct val="86000"/>
              </a:lnSpc>
              <a:defRPr sz="4400">
                <a:solidFill>
                  <a:schemeClr val="tx1"/>
                </a:solidFill>
              </a:defRPr>
            </a:lvl1pPr>
          </a:lstStyle>
          <a:p>
            <a:br>
              <a:rPr lang="en-US"/>
            </a:br>
            <a:r>
              <a:rPr lang="en-US"/>
              <a:t>Presentation title</a:t>
            </a:r>
          </a:p>
        </p:txBody>
      </p:sp>
      <p:sp>
        <p:nvSpPr>
          <p:cNvPr id="9" name="Infoline Title" descr="{&quot;templafy&quot;:{&quot;id&quot;:&quot;913eec2e-8102-4749-a3e5-2a2606ce2f0d&quot;}}">
            <a:extLst>
              <a:ext uri="{FF2B5EF4-FFF2-40B4-BE49-F238E27FC236}">
                <a16:creationId xmlns:a16="http://schemas.microsoft.com/office/drawing/2014/main" id="{7D92CD53-B767-0504-5737-D952CB82FECE}"/>
              </a:ext>
            </a:extLst>
          </p:cNvPr>
          <p:cNvSpPr>
            <a:spLocks noGrp="1"/>
          </p:cNvSpPr>
          <p:nvPr>
            <p:ph type="body" sz="quarter" idx="29" hasCustomPrompt="1"/>
          </p:nvPr>
        </p:nvSpPr>
        <p:spPr>
          <a:xfrm>
            <a:off x="584358" y="2924290"/>
            <a:ext cx="10702800" cy="334800"/>
          </a:xfrm>
        </p:spPr>
        <p:txBody>
          <a:bodyPr lIns="410400" tIns="0" rIns="0" bIns="0"/>
          <a:lstStyle>
            <a:lvl1pPr marL="0" indent="0">
              <a:spcBef>
                <a:spcPts val="0"/>
              </a:spcBef>
              <a:buFontTx/>
              <a:buNone/>
              <a:defRPr sz="2200"/>
            </a:lvl1pPr>
          </a:lstStyle>
          <a:p>
            <a:pPr lvl="0"/>
            <a:r>
              <a:rPr lang="en-US"/>
              <a:t>&lt;&lt;Infoline&gt;&gt;</a:t>
            </a:r>
          </a:p>
        </p:txBody>
      </p:sp>
      <p:sp>
        <p:nvSpPr>
          <p:cNvPr id="10" name="Text Placeholder 13" descr="{&quot;templafy&quot;:{&quot;id&quot;:&quot;99dcee93-a910-4035-8b3b-048a2fe9e9b0&quot;}}">
            <a:extLst>
              <a:ext uri="{FF2B5EF4-FFF2-40B4-BE49-F238E27FC236}">
                <a16:creationId xmlns:a16="http://schemas.microsoft.com/office/drawing/2014/main" id="{FE06EEC8-A460-075F-7BF9-D738558959A8}"/>
              </a:ext>
            </a:extLst>
          </p:cNvPr>
          <p:cNvSpPr>
            <a:spLocks noGrp="1"/>
          </p:cNvSpPr>
          <p:nvPr>
            <p:ph type="body" sz="quarter" idx="30" hasCustomPrompt="1"/>
          </p:nvPr>
        </p:nvSpPr>
        <p:spPr>
          <a:xfrm>
            <a:off x="547688"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4" name="Text Placeholder 13" descr="{&quot;templafy&quot;:{&quot;id&quot;:&quot;37d57b23-181f-40fd-8cfb-8037796512de&quot;}}">
            <a:extLst>
              <a:ext uri="{FF2B5EF4-FFF2-40B4-BE49-F238E27FC236}">
                <a16:creationId xmlns:a16="http://schemas.microsoft.com/office/drawing/2014/main" id="{6D62D894-EBCC-3A0B-34E2-AFA83EF6A35B}"/>
              </a:ext>
            </a:extLst>
          </p:cNvPr>
          <p:cNvSpPr>
            <a:spLocks noGrp="1"/>
          </p:cNvSpPr>
          <p:nvPr>
            <p:ph type="body" sz="quarter" idx="33" hasCustomPrompt="1"/>
          </p:nvPr>
        </p:nvSpPr>
        <p:spPr>
          <a:xfrm>
            <a:off x="548640"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1" name="Text Placeholder 13" descr="{&quot;templafy&quot;:{&quot;id&quot;:&quot;a31c8c7c-bb2c-4de0-aca8-042afac04284&quot;}}">
            <a:extLst>
              <a:ext uri="{FF2B5EF4-FFF2-40B4-BE49-F238E27FC236}">
                <a16:creationId xmlns:a16="http://schemas.microsoft.com/office/drawing/2014/main" id="{2273948F-EF7E-A06A-E4E9-DF7F9F739BC1}"/>
              </a:ext>
            </a:extLst>
          </p:cNvPr>
          <p:cNvSpPr>
            <a:spLocks noGrp="1"/>
          </p:cNvSpPr>
          <p:nvPr>
            <p:ph type="body" sz="quarter" idx="31" hasCustomPrompt="1"/>
          </p:nvPr>
        </p:nvSpPr>
        <p:spPr>
          <a:xfrm>
            <a:off x="4146529"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5" name="Text Placeholder 13" descr="{&quot;templafy&quot;:{&quot;id&quot;:&quot;7ff2c5c2-bb23-4051-9921-aa61d7a2d8d0&quot;}}">
            <a:extLst>
              <a:ext uri="{FF2B5EF4-FFF2-40B4-BE49-F238E27FC236}">
                <a16:creationId xmlns:a16="http://schemas.microsoft.com/office/drawing/2014/main" id="{50D95F26-F0DF-7B91-403C-1D3AD62C1A01}"/>
              </a:ext>
            </a:extLst>
          </p:cNvPr>
          <p:cNvSpPr>
            <a:spLocks noGrp="1"/>
          </p:cNvSpPr>
          <p:nvPr>
            <p:ph type="body" sz="quarter" idx="34" hasCustomPrompt="1"/>
          </p:nvPr>
        </p:nvSpPr>
        <p:spPr>
          <a:xfrm>
            <a:off x="4146529"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2" name="Text Placeholder 13" descr="{&quot;templafy&quot;:{&quot;id&quot;:&quot;bdf3bc75-42de-4ad4-be10-ac45a361cac6&quot;}}">
            <a:extLst>
              <a:ext uri="{FF2B5EF4-FFF2-40B4-BE49-F238E27FC236}">
                <a16:creationId xmlns:a16="http://schemas.microsoft.com/office/drawing/2014/main" id="{6926B156-421E-BF90-C3BE-6C8A2FB8FC94}"/>
              </a:ext>
            </a:extLst>
          </p:cNvPr>
          <p:cNvSpPr>
            <a:spLocks noGrp="1"/>
          </p:cNvSpPr>
          <p:nvPr>
            <p:ph type="body" sz="quarter" idx="32" hasCustomPrompt="1"/>
          </p:nvPr>
        </p:nvSpPr>
        <p:spPr>
          <a:xfrm>
            <a:off x="7746541"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6" name="Text Placeholder 13" descr="{&quot;templafy&quot;:{&quot;id&quot;:&quot;897ae128-90df-435d-954e-49ba25ef5cd3&quot;}}">
            <a:extLst>
              <a:ext uri="{FF2B5EF4-FFF2-40B4-BE49-F238E27FC236}">
                <a16:creationId xmlns:a16="http://schemas.microsoft.com/office/drawing/2014/main" id="{50C81B9D-BA26-38DF-ECC7-6F893A586204}"/>
              </a:ext>
            </a:extLst>
          </p:cNvPr>
          <p:cNvSpPr>
            <a:spLocks noGrp="1"/>
          </p:cNvSpPr>
          <p:nvPr>
            <p:ph type="body" sz="quarter" idx="35" hasCustomPrompt="1"/>
          </p:nvPr>
        </p:nvSpPr>
        <p:spPr>
          <a:xfrm>
            <a:off x="7746541"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8" name="Date" descr="{&quot;templafy&quot;:{&quot;id&quot;:&quot;c97c84f2-3762-4e90-addf-0cc5e4785804&quot;}}">
            <a:extLst>
              <a:ext uri="{FF2B5EF4-FFF2-40B4-BE49-F238E27FC236}">
                <a16:creationId xmlns:a16="http://schemas.microsoft.com/office/drawing/2014/main" id="{1D7BB34C-DB2B-A8C0-5CC3-6700FB1C4E86}"/>
              </a:ext>
            </a:extLst>
          </p:cNvPr>
          <p:cNvSpPr>
            <a:spLocks noGrp="1"/>
          </p:cNvSpPr>
          <p:nvPr>
            <p:ph type="body" sz="quarter" idx="13" hasCustomPrompt="1"/>
          </p:nvPr>
        </p:nvSpPr>
        <p:spPr>
          <a:xfrm>
            <a:off x="548640" y="6851015"/>
            <a:ext cx="1371600" cy="137160"/>
          </a:xfrm>
        </p:spPr>
        <p:txBody>
          <a:bodyPr/>
          <a:lstStyle>
            <a:lvl1pPr marL="0" indent="0">
              <a:lnSpc>
                <a:spcPct val="100000"/>
              </a:lnSpc>
              <a:spcBef>
                <a:spcPts val="0"/>
              </a:spcBef>
              <a:buNone/>
              <a:defRPr sz="1100"/>
            </a:lvl1pPr>
          </a:lstStyle>
          <a:p>
            <a:pPr lvl="0"/>
            <a:r>
              <a:rPr lang="en-US"/>
              <a:t>&lt;&lt;Date&gt;&gt;</a:t>
            </a:r>
          </a:p>
        </p:txBody>
      </p:sp>
      <p:sp>
        <p:nvSpPr>
          <p:cNvPr id="2" name="LogoTab">
            <a:extLst>
              <a:ext uri="{FF2B5EF4-FFF2-40B4-BE49-F238E27FC236}">
                <a16:creationId xmlns:a16="http://schemas.microsoft.com/office/drawing/2014/main" id="{56BEEF68-123B-BC8F-A6B1-74FB0FFC691D}"/>
              </a:ext>
            </a:extLst>
          </p:cNvPr>
          <p:cNvSpPr/>
          <p:nvPr/>
        </p:nvSpPr>
        <p:spPr>
          <a:xfrm>
            <a:off x="10994400" y="6238800"/>
            <a:ext cx="2412000" cy="9288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pic>
        <p:nvPicPr>
          <p:cNvPr id="1031511652" name="InsideLogo" descr="{&quot;templafy&quot;:{&quot;id&quot;:&quot;bfbbb7c4-7eb0-4b68-8037-af9476612319&quot;}}"/>
          <p:cNvPicPr>
            <a:picLocks noChangeAspect="1"/>
          </p:cNvPicPr>
          <p:nvPr/>
        </p:nvPicPr>
        <p:blipFill>
          <a:blip r:embed="rId8"/>
          <a:stretch>
            <a:fillRect/>
          </a:stretch>
        </p:blipFill>
        <p:spPr>
          <a:xfrm>
            <a:off x="11271600" y="6429600"/>
            <a:ext cx="1569612" cy="558000"/>
          </a:xfrm>
          <a:prstGeom prst="rect">
            <a:avLst/>
          </a:prstGeom>
        </p:spPr>
      </p:pic>
      <p:sp>
        <p:nvSpPr>
          <p:cNvPr id="13" name="TemplafyBrandVersion" hidden="1">
            <a:extLst>
              <a:ext uri="{FF2B5EF4-FFF2-40B4-BE49-F238E27FC236}">
                <a16:creationId xmlns:a16="http://schemas.microsoft.com/office/drawing/2014/main" id="{FDEB1A7F-2487-C853-4476-88E545E03AC6}"/>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14" name="Object 13" hidden="1">
            <a:extLst>
              <a:ext uri="{FF2B5EF4-FFF2-40B4-BE49-F238E27FC236}">
                <a16:creationId xmlns:a16="http://schemas.microsoft.com/office/drawing/2014/main" id="{22F81AC7-83FE-5FC1-BA75-63042B4BDF53}"/>
              </a:ext>
            </a:extLst>
          </p:cNvPr>
          <p:cNvGraphicFramePr>
            <a:graphicFrameLocks noChangeAspect="1"/>
          </p:cNvGraphicFramePr>
          <p:nvPr>
            <p:custDataLst>
              <p:tags r:id="rId3"/>
            </p:custDataLst>
            <p:extLst>
              <p:ext uri="{D42A27DB-BD31-4B8C-83A1-F6EECF244321}">
                <p14:modId xmlns:p14="http://schemas.microsoft.com/office/powerpoint/2010/main" val="2352151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14" name="Object 13" hidden="1">
                        <a:extLst>
                          <a:ext uri="{FF2B5EF4-FFF2-40B4-BE49-F238E27FC236}">
                            <a16:creationId xmlns:a16="http://schemas.microsoft.com/office/drawing/2014/main" id="{22F81AC7-83FE-5FC1-BA75-63042B4BDF5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15" name="Object 14" hidden="1">
            <a:extLst>
              <a:ext uri="{FF2B5EF4-FFF2-40B4-BE49-F238E27FC236}">
                <a16:creationId xmlns:a16="http://schemas.microsoft.com/office/drawing/2014/main" id="{4A5F363C-9BD1-58A5-45EE-4288F3034090}"/>
              </a:ext>
            </a:extLst>
          </p:cNvPr>
          <p:cNvGraphicFramePr>
            <a:graphicFrameLocks noChangeAspect="1"/>
          </p:cNvGraphicFramePr>
          <p:nvPr>
            <p:custDataLst>
              <p:tags r:id="rId4"/>
            </p:custDataLst>
            <p:extLst>
              <p:ext uri="{D42A27DB-BD31-4B8C-83A1-F6EECF244321}">
                <p14:modId xmlns:p14="http://schemas.microsoft.com/office/powerpoint/2010/main" val="3327680749"/>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15" name="Object 14" hidden="1">
                        <a:extLst>
                          <a:ext uri="{FF2B5EF4-FFF2-40B4-BE49-F238E27FC236}">
                            <a16:creationId xmlns:a16="http://schemas.microsoft.com/office/drawing/2014/main" id="{4A5F363C-9BD1-58A5-45EE-4288F3034090}"/>
                          </a:ext>
                        </a:extLst>
                      </p:cNvPr>
                      <p:cNvPicPr/>
                      <p:nvPr/>
                    </p:nvPicPr>
                    <p:blipFill>
                      <a:blip r:embed="rId10"/>
                      <a:stretch>
                        <a:fillRect/>
                      </a:stretch>
                    </p:blipFill>
                    <p:spPr>
                      <a:xfrm>
                        <a:off x="153988" y="153988"/>
                        <a:ext cx="1588" cy="1588"/>
                      </a:xfrm>
                      <a:prstGeom prst="rect">
                        <a:avLst/>
                      </a:prstGeom>
                    </p:spPr>
                  </p:pic>
                </p:oleObj>
              </mc:Fallback>
            </mc:AlternateContent>
          </a:graphicData>
        </a:graphic>
      </p:graphicFrame>
      <p:graphicFrame>
        <p:nvGraphicFramePr>
          <p:cNvPr id="16" name="Object 15" hidden="1">
            <a:extLst>
              <a:ext uri="{FF2B5EF4-FFF2-40B4-BE49-F238E27FC236}">
                <a16:creationId xmlns:a16="http://schemas.microsoft.com/office/drawing/2014/main" id="{7C46D135-826A-C040-78A7-3A7E6B53097F}"/>
              </a:ext>
            </a:extLst>
          </p:cNvPr>
          <p:cNvGraphicFramePr>
            <a:graphicFrameLocks noChangeAspect="1"/>
          </p:cNvGraphicFramePr>
          <p:nvPr>
            <p:custDataLst>
              <p:tags r:id="rId5"/>
            </p:custDataLst>
            <p:extLst>
              <p:ext uri="{D42A27DB-BD31-4B8C-83A1-F6EECF244321}">
                <p14:modId xmlns:p14="http://schemas.microsoft.com/office/powerpoint/2010/main" val="307922380"/>
              </p:ext>
            </p:ext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16" name="Object 15" hidden="1">
                        <a:extLst>
                          <a:ext uri="{FF2B5EF4-FFF2-40B4-BE49-F238E27FC236}">
                            <a16:creationId xmlns:a16="http://schemas.microsoft.com/office/drawing/2014/main" id="{7C46D135-826A-C040-78A7-3A7E6B53097F}"/>
                          </a:ext>
                        </a:extLst>
                      </p:cNvPr>
                      <p:cNvPicPr/>
                      <p:nvPr/>
                    </p:nvPicPr>
                    <p:blipFill>
                      <a:blip r:embed="rId10"/>
                      <a:stretch>
                        <a:fillRect/>
                      </a:stretch>
                    </p:blipFill>
                    <p:spPr>
                      <a:xfrm>
                        <a:off x="306388" y="3063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376317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fault Body Slide">
    <p:spTree>
      <p:nvGrpSpPr>
        <p:cNvPr id="1" name=""/>
        <p:cNvGrpSpPr/>
        <p:nvPr/>
      </p:nvGrpSpPr>
      <p:grpSpPr>
        <a:xfrm>
          <a:off x="0" y="0"/>
          <a:ext cx="0" cy="0"/>
          <a:chOff x="0" y="0"/>
          <a:chExt cx="0" cy="0"/>
        </a:xfrm>
      </p:grpSpPr>
      <p:sp>
        <p:nvSpPr>
          <p:cNvPr id="3" name="text" descr="{&quot;templafy&quot;:{&quot;id&quot;:&quot;bfb6bdef-0785-4a46-939e-bb5f0284cea7&quot;}}" hidden="1" title="Translations.Draft">
            <a:extLst>
              <a:ext uri="{FF2B5EF4-FFF2-40B4-BE49-F238E27FC236}">
                <a16:creationId xmlns:a16="http://schemas.microsoft.com/office/drawing/2014/main" id="{C404282B-2273-3435-C057-ADCDB8D4B5DA}"/>
              </a:ext>
            </a:extLst>
          </p:cNvPr>
          <p:cNvSpPr txBox="1"/>
          <p:nvPr>
            <p:custDataLst>
              <p:tags r:id="rId2"/>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19" name="Title 18" descr="{&quot;templafy&quot;:{&quot;id&quot;:&quot;72942e0e-3839-4127-bd04-9fe7dd684ff4&quot;}}">
            <a:extLst>
              <a:ext uri="{FF2B5EF4-FFF2-40B4-BE49-F238E27FC236}">
                <a16:creationId xmlns:a16="http://schemas.microsoft.com/office/drawing/2014/main" id="{A079EA78-C6A1-BC49-B95A-789394C47A0C}"/>
              </a:ext>
            </a:extLst>
          </p:cNvPr>
          <p:cNvSpPr>
            <a:spLocks noGrp="1"/>
          </p:cNvSpPr>
          <p:nvPr>
            <p:ph type="title" hasCustomPrompt="1"/>
          </p:nvPr>
        </p:nvSpPr>
        <p:spPr>
          <a:xfrm>
            <a:off x="548640" y="548640"/>
            <a:ext cx="12289536" cy="402336"/>
          </a:xfrm>
          <a:prstGeom prst="rect">
            <a:avLst/>
          </a:prstGeom>
        </p:spPr>
        <p:txBody>
          <a:bodyPr lIns="0" tIns="0" rIns="0" bIns="0" anchor="b"/>
          <a:lstStyle>
            <a:lvl1pPr>
              <a:defRPr sz="2800"/>
            </a:lvl1pPr>
          </a:lstStyle>
          <a:p>
            <a:r>
              <a:rPr lang="en-US"/>
              <a:t>&lt;&lt;Page heading&gt;&gt;</a:t>
            </a:r>
          </a:p>
        </p:txBody>
      </p:sp>
      <p:sp>
        <p:nvSpPr>
          <p:cNvPr id="11" name="Text Placeholder 10">
            <a:extLst>
              <a:ext uri="{FF2B5EF4-FFF2-40B4-BE49-F238E27FC236}">
                <a16:creationId xmlns:a16="http://schemas.microsoft.com/office/drawing/2014/main" id="{4885DA62-8ED8-4027-5F41-C0C0665EC72B}"/>
              </a:ext>
            </a:extLst>
          </p:cNvPr>
          <p:cNvSpPr>
            <a:spLocks noGrp="1"/>
          </p:cNvSpPr>
          <p:nvPr>
            <p:ph type="body" sz="quarter" idx="16" hasCustomPrompt="1"/>
          </p:nvPr>
        </p:nvSpPr>
        <p:spPr>
          <a:xfrm>
            <a:off x="548640" y="1005840"/>
            <a:ext cx="12289536" cy="402336"/>
          </a:xfrm>
        </p:spPr>
        <p:txBody>
          <a:bodyPr/>
          <a:lstStyle>
            <a:lvl1pPr marL="0" indent="0">
              <a:lnSpc>
                <a:spcPct val="100000"/>
              </a:lnSpc>
              <a:spcBef>
                <a:spcPts val="0"/>
              </a:spcBef>
              <a:buNone/>
              <a:defRPr sz="1600"/>
            </a:lvl1pPr>
          </a:lstStyle>
          <a:p>
            <a:pPr lvl="0"/>
            <a:r>
              <a:rPr lang="en-US"/>
              <a:t>Subtitle of the slide</a:t>
            </a:r>
          </a:p>
        </p:txBody>
      </p:sp>
      <p:sp>
        <p:nvSpPr>
          <p:cNvPr id="7" name="Content Placeholder 6">
            <a:extLst>
              <a:ext uri="{FF2B5EF4-FFF2-40B4-BE49-F238E27FC236}">
                <a16:creationId xmlns:a16="http://schemas.microsoft.com/office/drawing/2014/main" id="{0BFF5118-B151-DACF-3E6F-D6A2984FB4BD}"/>
              </a:ext>
            </a:extLst>
          </p:cNvPr>
          <p:cNvSpPr>
            <a:spLocks noGrp="1"/>
          </p:cNvSpPr>
          <p:nvPr>
            <p:ph sz="quarter" idx="20"/>
          </p:nvPr>
        </p:nvSpPr>
        <p:spPr>
          <a:xfrm>
            <a:off x="548640" y="1943098"/>
            <a:ext cx="12310110" cy="4279901"/>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Source" descr="{&quot;templafy&quot;:{&quot;id&quot;:&quot;88b77274-fac0-41e6-986c-77979acecd00&quot;}}">
            <a:extLst>
              <a:ext uri="{FF2B5EF4-FFF2-40B4-BE49-F238E27FC236}">
                <a16:creationId xmlns:a16="http://schemas.microsoft.com/office/drawing/2014/main" id="{EE798D4A-75AB-BF74-DD2A-07FCE22B2491}"/>
              </a:ext>
            </a:extLst>
          </p:cNvPr>
          <p:cNvSpPr>
            <a:spLocks noGrp="1"/>
          </p:cNvSpPr>
          <p:nvPr>
            <p:ph type="body" sz="quarter" idx="24" hasCustomPrompt="1"/>
          </p:nvPr>
        </p:nvSpPr>
        <p:spPr>
          <a:xfrm>
            <a:off x="548640" y="6609600"/>
            <a:ext cx="12289536" cy="180000"/>
          </a:xfrm>
        </p:spPr>
        <p:txBody>
          <a:bodyPr anchor="b" anchorCtr="0"/>
          <a:lstStyle>
            <a:lvl1pPr marL="0" indent="0">
              <a:buNone/>
              <a:defRPr sz="800"/>
            </a:lvl1pPr>
          </a:lstStyle>
          <a:p>
            <a:pPr lvl="0"/>
            <a:r>
              <a:rPr lang="en-US"/>
              <a:t>Source</a:t>
            </a:r>
          </a:p>
        </p:txBody>
      </p:sp>
      <p:sp>
        <p:nvSpPr>
          <p:cNvPr id="10" name="Footer Placeholder 9">
            <a:extLst>
              <a:ext uri="{FF2B5EF4-FFF2-40B4-BE49-F238E27FC236}">
                <a16:creationId xmlns:a16="http://schemas.microsoft.com/office/drawing/2014/main" id="{D65D9CE9-5184-4A25-14C4-FA628C0DD307}"/>
              </a:ext>
            </a:extLst>
          </p:cNvPr>
          <p:cNvSpPr>
            <a:spLocks noGrp="1"/>
          </p:cNvSpPr>
          <p:nvPr>
            <p:ph type="ftr" sz="quarter" idx="18"/>
          </p:nvPr>
        </p:nvSpPr>
        <p:spPr>
          <a:xfrm>
            <a:off x="2520000" y="7153200"/>
            <a:ext cx="9000000" cy="118800"/>
          </a:xfrm>
          <a:prstGeom prst="rect">
            <a:avLst/>
          </a:prstGeom>
        </p:spPr>
        <p:txBody>
          <a:bodyPr vert="horz" lIns="0" tIns="0" rIns="0" bIns="0" rtlCol="0" anchor="b"/>
          <a:lstStyle>
            <a:defPPr>
              <a:defRPr lang="en-US"/>
            </a:defPPr>
            <a:lvl1pPr algn="l" rtl="0" eaLnBrk="0" fontAlgn="base" hangingPunct="0">
              <a:spcBef>
                <a:spcPts val="0"/>
              </a:spcBef>
              <a:spcAft>
                <a:spcPct val="0"/>
              </a:spcAft>
              <a:defRPr lang="en-GB" sz="800" kern="1200">
                <a:solidFill>
                  <a:schemeClr val="tx1"/>
                </a:solidFill>
                <a:latin typeface="+mn-l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endParaRPr lang="en-US"/>
          </a:p>
        </p:txBody>
      </p:sp>
      <p:pic>
        <p:nvPicPr>
          <p:cNvPr id="1788715825" name="Logo" descr="{&quot;templafy&quot;:{&quot;id&quot;:&quot;781347b7-db96-4042-b69b-97def3683081&quot;}}"/>
          <p:cNvPicPr>
            <a:picLocks noChangeAspect="1"/>
          </p:cNvPicPr>
          <p:nvPr/>
        </p:nvPicPr>
        <p:blipFill>
          <a:blip r:embed="rId6"/>
          <a:stretch>
            <a:fillRect/>
          </a:stretch>
        </p:blipFill>
        <p:spPr>
          <a:xfrm>
            <a:off x="12157200" y="7041600"/>
            <a:ext cx="698731" cy="248400"/>
          </a:xfrm>
          <a:prstGeom prst="rect">
            <a:avLst/>
          </a:prstGeom>
        </p:spPr>
      </p:pic>
      <p:sp>
        <p:nvSpPr>
          <p:cNvPr id="13" name="TemplafyBrandVersion" hidden="1">
            <a:extLst>
              <a:ext uri="{FF2B5EF4-FFF2-40B4-BE49-F238E27FC236}">
                <a16:creationId xmlns:a16="http://schemas.microsoft.com/office/drawing/2014/main" id="{257E503B-3536-CC5F-F571-2DD1A0F366EF}"/>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2" name="Object 1" hidden="1">
            <a:extLst>
              <a:ext uri="{FF2B5EF4-FFF2-40B4-BE49-F238E27FC236}">
                <a16:creationId xmlns:a16="http://schemas.microsoft.com/office/drawing/2014/main" id="{87563C72-201D-EC19-E108-36513978D65B}"/>
              </a:ext>
            </a:extLst>
          </p:cNvPr>
          <p:cNvGraphicFramePr>
            <a:graphicFrameLocks noChangeAspect="1"/>
          </p:cNvGraphicFramePr>
          <p:nvPr userDrawn="1">
            <p:custDataLst>
              <p:tags r:id="rId3"/>
            </p:custDataLst>
            <p:extLst>
              <p:ext uri="{D42A27DB-BD31-4B8C-83A1-F6EECF244321}">
                <p14:modId xmlns:p14="http://schemas.microsoft.com/office/powerpoint/2010/main" val="1620302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2" name="Object 1" hidden="1">
                        <a:extLst>
                          <a:ext uri="{FF2B5EF4-FFF2-40B4-BE49-F238E27FC236}">
                            <a16:creationId xmlns:a16="http://schemas.microsoft.com/office/drawing/2014/main" id="{87563C72-201D-EC19-E108-36513978D65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235CF8-34D9-5C77-D21A-6F1748C427BF}"/>
              </a:ext>
            </a:extLst>
          </p:cNvPr>
          <p:cNvSpPr/>
          <p:nvPr userDrawn="1">
            <p:custDataLst>
              <p:tags r:id="rId4"/>
            </p:custDataLst>
          </p:nvPr>
        </p:nvSpPr>
        <p:spPr>
          <a:xfrm>
            <a:off x="0" y="0"/>
            <a:ext cx="158750" cy="1587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9" name="PXP_GRIDLINES" hidden="1">
            <a:extLst>
              <a:ext uri="{FF2B5EF4-FFF2-40B4-BE49-F238E27FC236}">
                <a16:creationId xmlns:a16="http://schemas.microsoft.com/office/drawing/2014/main" id="{662DA987-90CA-66A7-0FF0-D0649A3C310F}"/>
              </a:ext>
            </a:extLst>
          </p:cNvPr>
          <p:cNvGrpSpPr/>
          <p:nvPr userDrawn="1"/>
        </p:nvGrpSpPr>
        <p:grpSpPr>
          <a:xfrm>
            <a:off x="-1" y="0"/>
            <a:ext cx="13371660" cy="7543800"/>
            <a:chOff x="-20924" y="0"/>
            <a:chExt cx="10058400" cy="7543800"/>
          </a:xfrm>
        </p:grpSpPr>
        <p:cxnSp>
          <p:nvCxnSpPr>
            <p:cNvPr id="14" name="Straight Connector 13">
              <a:extLst>
                <a:ext uri="{FF2B5EF4-FFF2-40B4-BE49-F238E27FC236}">
                  <a16:creationId xmlns:a16="http://schemas.microsoft.com/office/drawing/2014/main" id="{B07FD594-EEF1-1256-12E0-8B866D5CDD6C}"/>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F0AA348-A62C-59B2-3A27-F4B30EE15B39}"/>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1610533-0638-5FA2-2B26-971A425F67A9}"/>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9D7F351-E1EE-E8B9-3B66-9245DC7A3E76}"/>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2CBE7E7-5674-93A1-C938-F4E9E090C771}"/>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BA1BEFD-D446-173E-081F-740B1A5598E4}"/>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412703977"/>
      </p:ext>
    </p:extLst>
  </p:cSld>
  <p:clrMapOvr>
    <a:masterClrMapping/>
  </p:clrMapOvr>
  <p:extLst>
    <p:ext uri="{DCECCB84-F9BA-43D5-87BE-67443E8EF086}">
      <p15:sldGuideLst xmlns:p15="http://schemas.microsoft.com/office/powerpoint/2012/main">
        <p15:guide id="4" orient="horz" pos="1225">
          <p15:clr>
            <a:srgbClr val="FBAE40"/>
          </p15:clr>
        </p15:guide>
        <p15:guide id="5" orient="horz" pos="3920">
          <p15:clr>
            <a:srgbClr val="FBAE40"/>
          </p15:clr>
        </p15:guide>
        <p15:guide id="6" orient="horz" pos="89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1x1 Full Height">
    <p:spTree>
      <p:nvGrpSpPr>
        <p:cNvPr id="1" name=""/>
        <p:cNvGrpSpPr/>
        <p:nvPr/>
      </p:nvGrpSpPr>
      <p:grpSpPr>
        <a:xfrm>
          <a:off x="0" y="0"/>
          <a:ext cx="0" cy="0"/>
          <a:chOff x="0" y="0"/>
          <a:chExt cx="0" cy="0"/>
        </a:xfrm>
      </p:grpSpPr>
      <p:sp>
        <p:nvSpPr>
          <p:cNvPr id="4" name="text" descr="{&quot;templafy&quot;:{&quot;id&quot;:&quot;a442d606-2049-4a73-b349-f690af36ed8e&quot;}}" hidden="1" title="Translations.Draft">
            <a:extLst>
              <a:ext uri="{FF2B5EF4-FFF2-40B4-BE49-F238E27FC236}">
                <a16:creationId xmlns:a16="http://schemas.microsoft.com/office/drawing/2014/main" id="{32768B33-A3C9-5F2C-AA30-AE54D1C758A8}"/>
              </a:ext>
            </a:extLst>
          </p:cNvPr>
          <p:cNvSpPr txBox="1"/>
          <p:nvPr>
            <p:custDataLst>
              <p:tags r:id="rId1"/>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8" name="Classification Tag" descr="{&quot;templafy&quot;:{&quot;id&quot;:&quot;b0d3e095-188c-4abd-95dc-71206e7ff6bb&quot;}}">
            <a:extLst>
              <a:ext uri="{FF2B5EF4-FFF2-40B4-BE49-F238E27FC236}">
                <a16:creationId xmlns:a16="http://schemas.microsoft.com/office/drawing/2014/main" id="{6A7254C8-8E85-F259-0245-9CE5FEC24B4E}"/>
              </a:ext>
            </a:extLst>
          </p:cNvPr>
          <p:cNvSpPr txBox="1"/>
          <p:nvPr userDrawn="1">
            <p:custDataLst>
              <p:tags r:id="rId2"/>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9" name="Title 8" descr="{&quot;templafy&quot;:{&quot;id&quot;:&quot;6ff2833a-017b-4d41-9604-112d0da24b09&quot;}}">
            <a:extLst>
              <a:ext uri="{FF2B5EF4-FFF2-40B4-BE49-F238E27FC236}">
                <a16:creationId xmlns:a16="http://schemas.microsoft.com/office/drawing/2014/main" id="{440986D4-F02A-3838-FFED-1B5CFBE8E00B}"/>
              </a:ext>
            </a:extLst>
          </p:cNvPr>
          <p:cNvSpPr>
            <a:spLocks noGrp="1"/>
          </p:cNvSpPr>
          <p:nvPr>
            <p:ph type="title" hasCustomPrompt="1"/>
          </p:nvPr>
        </p:nvSpPr>
        <p:spPr>
          <a:xfrm>
            <a:off x="548640" y="548640"/>
            <a:ext cx="12289536" cy="402336"/>
          </a:xfrm>
          <a:prstGeom prst="rect">
            <a:avLst/>
          </a:prstGeom>
        </p:spPr>
        <p:txBody>
          <a:bodyPr lIns="0" tIns="0" rIns="0" bIns="0" anchor="b"/>
          <a:lstStyle>
            <a:lvl1pPr>
              <a:defRPr sz="2800"/>
            </a:lvl1pPr>
          </a:lstStyle>
          <a:p>
            <a:r>
              <a:rPr lang="en-US"/>
              <a:t>&lt;&lt;Page heading&gt;&gt;</a:t>
            </a:r>
          </a:p>
        </p:txBody>
      </p:sp>
      <p:sp>
        <p:nvSpPr>
          <p:cNvPr id="11" name="Text Placeholder 7">
            <a:extLst>
              <a:ext uri="{FF2B5EF4-FFF2-40B4-BE49-F238E27FC236}">
                <a16:creationId xmlns:a16="http://schemas.microsoft.com/office/drawing/2014/main" id="{DB734393-2282-D1B7-8A74-04D99BD481B2}"/>
              </a:ext>
            </a:extLst>
          </p:cNvPr>
          <p:cNvSpPr>
            <a:spLocks noGrp="1"/>
          </p:cNvSpPr>
          <p:nvPr>
            <p:ph type="body" sz="quarter" idx="33" hasCustomPrompt="1"/>
          </p:nvPr>
        </p:nvSpPr>
        <p:spPr>
          <a:xfrm>
            <a:off x="548640" y="1005840"/>
            <a:ext cx="12289536" cy="402336"/>
          </a:xfrm>
          <a:prstGeom prst="rect">
            <a:avLst/>
          </a:prstGeom>
        </p:spPr>
        <p:txBody>
          <a:bodyPr/>
          <a:lstStyle>
            <a:lvl1pPr marL="0" indent="0">
              <a:lnSpc>
                <a:spcPct val="100000"/>
              </a:lnSpc>
              <a:spcBef>
                <a:spcPts val="0"/>
              </a:spcBef>
              <a:buNone/>
              <a:defRPr sz="1600"/>
            </a:lvl1pPr>
          </a:lstStyle>
          <a:p>
            <a:pPr lvl="0"/>
            <a:r>
              <a:rPr lang="en-US"/>
              <a:t>Subtitle of the slide</a:t>
            </a:r>
          </a:p>
        </p:txBody>
      </p:sp>
      <p:sp>
        <p:nvSpPr>
          <p:cNvPr id="12" name="Text Placeholder 11">
            <a:extLst>
              <a:ext uri="{FF2B5EF4-FFF2-40B4-BE49-F238E27FC236}">
                <a16:creationId xmlns:a16="http://schemas.microsoft.com/office/drawing/2014/main" id="{8B2B7A9F-ECA2-8473-934F-5E4A323B5922}"/>
              </a:ext>
            </a:extLst>
          </p:cNvPr>
          <p:cNvSpPr>
            <a:spLocks noGrp="1"/>
          </p:cNvSpPr>
          <p:nvPr>
            <p:ph type="body" sz="quarter" idx="43" hasCustomPrompt="1"/>
          </p:nvPr>
        </p:nvSpPr>
        <p:spPr>
          <a:xfrm>
            <a:off x="548640" y="1944688"/>
            <a:ext cx="12289536" cy="274320"/>
          </a:xfrm>
        </p:spPr>
        <p:txBody>
          <a:bodyPr/>
          <a:lstStyle>
            <a:lvl1pPr marL="0" indent="0">
              <a:buNone/>
              <a:defRPr sz="1400" b="1"/>
            </a:lvl1pPr>
          </a:lstStyle>
          <a:p>
            <a:pPr lvl="0"/>
            <a:r>
              <a:rPr lang="en-US"/>
              <a:t>Layout heading</a:t>
            </a:r>
          </a:p>
        </p:txBody>
      </p:sp>
      <p:sp>
        <p:nvSpPr>
          <p:cNvPr id="15" name="Content Placeholder 14">
            <a:extLst>
              <a:ext uri="{FF2B5EF4-FFF2-40B4-BE49-F238E27FC236}">
                <a16:creationId xmlns:a16="http://schemas.microsoft.com/office/drawing/2014/main" id="{2A79A07E-6AC8-7794-116C-2CF8A5855B05}"/>
              </a:ext>
            </a:extLst>
          </p:cNvPr>
          <p:cNvSpPr>
            <a:spLocks noGrp="1"/>
          </p:cNvSpPr>
          <p:nvPr>
            <p:ph sz="quarter" idx="42"/>
          </p:nvPr>
        </p:nvSpPr>
        <p:spPr>
          <a:xfrm>
            <a:off x="548640" y="2298454"/>
            <a:ext cx="12310110" cy="3924545"/>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ource" descr="{&quot;templafy&quot;:{&quot;id&quot;:&quot;e11bdf19-6cc6-4ce9-879e-c715f1e5ba96&quot;}}">
            <a:extLst>
              <a:ext uri="{FF2B5EF4-FFF2-40B4-BE49-F238E27FC236}">
                <a16:creationId xmlns:a16="http://schemas.microsoft.com/office/drawing/2014/main" id="{643733B4-C113-21DD-4984-70719E994F98}"/>
              </a:ext>
            </a:extLst>
          </p:cNvPr>
          <p:cNvSpPr>
            <a:spLocks noGrp="1"/>
          </p:cNvSpPr>
          <p:nvPr>
            <p:ph type="body" sz="quarter" idx="45" hasCustomPrompt="1"/>
          </p:nvPr>
        </p:nvSpPr>
        <p:spPr>
          <a:xfrm>
            <a:off x="549275" y="6608521"/>
            <a:ext cx="12289536" cy="180000"/>
          </a:xfrm>
        </p:spPr>
        <p:txBody>
          <a:bodyPr anchor="b" anchorCtr="0"/>
          <a:lstStyle>
            <a:lvl1pPr marL="0" indent="0">
              <a:buNone/>
              <a:defRPr sz="800"/>
            </a:lvl1pPr>
          </a:lstStyle>
          <a:p>
            <a:pPr lvl="0"/>
            <a:r>
              <a:rPr lang="en-US"/>
              <a:t>Source</a:t>
            </a:r>
          </a:p>
        </p:txBody>
      </p:sp>
      <p:sp>
        <p:nvSpPr>
          <p:cNvPr id="7" name="Footer Placeholder 6">
            <a:extLst>
              <a:ext uri="{FF2B5EF4-FFF2-40B4-BE49-F238E27FC236}">
                <a16:creationId xmlns:a16="http://schemas.microsoft.com/office/drawing/2014/main" id="{83EE20DF-E39D-4985-CFD0-4FAEC56D5B13}"/>
              </a:ext>
            </a:extLst>
          </p:cNvPr>
          <p:cNvSpPr>
            <a:spLocks noGrp="1"/>
          </p:cNvSpPr>
          <p:nvPr>
            <p:ph type="ftr" sz="quarter" idx="40"/>
          </p:nvPr>
        </p:nvSpPr>
        <p:spPr>
          <a:xfrm>
            <a:off x="2520000" y="7153200"/>
            <a:ext cx="9000000" cy="118800"/>
          </a:xfrm>
          <a:prstGeom prst="rect">
            <a:avLst/>
          </a:prstGeom>
        </p:spPr>
        <p:txBody>
          <a:bodyPr vert="horz" lIns="0" tIns="0" rIns="0" bIns="0" rtlCol="0" anchor="b"/>
          <a:lstStyle>
            <a:defPPr>
              <a:defRPr lang="en-US"/>
            </a:defPPr>
            <a:lvl1pPr algn="l" rtl="0" eaLnBrk="0" fontAlgn="base" hangingPunct="0">
              <a:spcBef>
                <a:spcPts val="0"/>
              </a:spcBef>
              <a:spcAft>
                <a:spcPct val="0"/>
              </a:spcAft>
              <a:defRPr lang="en-GB" sz="800" kern="1200">
                <a:solidFill>
                  <a:schemeClr val="tx1"/>
                </a:solidFill>
                <a:latin typeface="+mn-l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endParaRPr lang="en-US"/>
          </a:p>
        </p:txBody>
      </p:sp>
      <p:pic>
        <p:nvPicPr>
          <p:cNvPr id="133398596" name="Logo" descr="{&quot;templafy&quot;:{&quot;id&quot;:&quot;de6e168f-da86-4164-9416-c36419feb198&quot;}}"/>
          <p:cNvPicPr>
            <a:picLocks noChangeAspect="1"/>
          </p:cNvPicPr>
          <p:nvPr/>
        </p:nvPicPr>
        <p:blipFill>
          <a:blip r:embed="rId6"/>
          <a:stretch>
            <a:fillRect/>
          </a:stretch>
        </p:blipFill>
        <p:spPr>
          <a:xfrm>
            <a:off x="12157200" y="7041600"/>
            <a:ext cx="698731" cy="248400"/>
          </a:xfrm>
          <a:prstGeom prst="rect">
            <a:avLst/>
          </a:prstGeom>
        </p:spPr>
      </p:pic>
      <p:sp>
        <p:nvSpPr>
          <p:cNvPr id="14" name="TemplafyBrandVersion" hidden="1">
            <a:extLst>
              <a:ext uri="{FF2B5EF4-FFF2-40B4-BE49-F238E27FC236}">
                <a16:creationId xmlns:a16="http://schemas.microsoft.com/office/drawing/2014/main" id="{49841194-2122-94CA-ED65-595351F940A2}"/>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3" name="Object 2" hidden="1">
            <a:extLst>
              <a:ext uri="{FF2B5EF4-FFF2-40B4-BE49-F238E27FC236}">
                <a16:creationId xmlns:a16="http://schemas.microsoft.com/office/drawing/2014/main" id="{1E72DCB9-4B0B-F525-3D65-A3D108EA4A58}"/>
              </a:ext>
            </a:extLst>
          </p:cNvPr>
          <p:cNvGraphicFramePr>
            <a:graphicFrameLocks noChangeAspect="1"/>
          </p:cNvGraphicFramePr>
          <p:nvPr userDrawn="1">
            <p:custDataLst>
              <p:tags r:id="rId3"/>
            </p:custDataLst>
            <p:extLst>
              <p:ext uri="{D42A27DB-BD31-4B8C-83A1-F6EECF244321}">
                <p14:modId xmlns:p14="http://schemas.microsoft.com/office/powerpoint/2010/main" val="189357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a:extLst>
                          <a:ext uri="{FF2B5EF4-FFF2-40B4-BE49-F238E27FC236}">
                            <a16:creationId xmlns:a16="http://schemas.microsoft.com/office/drawing/2014/main" id="{1E72DCB9-4B0B-F525-3D65-A3D108EA4A5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F1378C3-E03C-8377-206E-62775B5BFBDA}"/>
              </a:ext>
            </a:extLst>
          </p:cNvPr>
          <p:cNvSpPr/>
          <p:nvPr userDrawn="1">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3" name="PXP_GRIDLINES" hidden="1">
            <a:extLst>
              <a:ext uri="{FF2B5EF4-FFF2-40B4-BE49-F238E27FC236}">
                <a16:creationId xmlns:a16="http://schemas.microsoft.com/office/drawing/2014/main" id="{0EA4CA01-2945-D86F-0BCE-7B5D8F4A7272}"/>
              </a:ext>
            </a:extLst>
          </p:cNvPr>
          <p:cNvGrpSpPr/>
          <p:nvPr userDrawn="1"/>
        </p:nvGrpSpPr>
        <p:grpSpPr>
          <a:xfrm>
            <a:off x="-1" y="0"/>
            <a:ext cx="13371660" cy="7543800"/>
            <a:chOff x="-20924" y="0"/>
            <a:chExt cx="10058400" cy="7543800"/>
          </a:xfrm>
        </p:grpSpPr>
        <p:cxnSp>
          <p:nvCxnSpPr>
            <p:cNvPr id="16" name="Straight Connector 15">
              <a:extLst>
                <a:ext uri="{FF2B5EF4-FFF2-40B4-BE49-F238E27FC236}">
                  <a16:creationId xmlns:a16="http://schemas.microsoft.com/office/drawing/2014/main" id="{0CB0DB73-C475-71E5-4919-29E6612390E4}"/>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A04BDF2-01C8-F65B-B4AE-F26A32E8AE7D}"/>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254C5DA-DFE0-68B1-C3AB-FD105A18A8EC}"/>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74543FF-E776-D33F-BA09-B95DEDEED0C3}"/>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89ED62-4CAD-8325-C3EB-7853E5657501}"/>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FB7E2E-6A65-5CE2-DAE4-CC55C84F14CE}"/>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6501366"/>
      </p:ext>
    </p:extLst>
  </p:cSld>
  <p:clrMapOvr>
    <a:masterClrMapping/>
  </p:clrMapOvr>
  <p:extLst>
    <p:ext uri="{DCECCB84-F9BA-43D5-87BE-67443E8EF086}">
      <p15:sldGuideLst xmlns:p15="http://schemas.microsoft.com/office/powerpoint/2012/main">
        <p15:guide id="3" orient="horz" pos="890">
          <p15:clr>
            <a:srgbClr val="FBAE40"/>
          </p15:clr>
        </p15:guide>
        <p15:guide id="4" orient="horz" pos="1225">
          <p15:clr>
            <a:srgbClr val="FBAE40"/>
          </p15:clr>
        </p15:guide>
        <p15:guide id="6" orient="horz" pos="39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4" name="text" descr="{&quot;templafy&quot;:{&quot;id&quot;:&quot;77608c8d-1085-456b-9923-f48399c6183a&quot;}}" hidden="1" title="Translations.Draft">
            <a:extLst>
              <a:ext uri="{FF2B5EF4-FFF2-40B4-BE49-F238E27FC236}">
                <a16:creationId xmlns:a16="http://schemas.microsoft.com/office/drawing/2014/main" id="{219E9128-7A26-5AAF-3D5B-AB96DAFBF5DA}"/>
              </a:ext>
            </a:extLst>
          </p:cNvPr>
          <p:cNvSpPr txBox="1"/>
          <p:nvPr>
            <p:custDataLst>
              <p:tags r:id="rId2"/>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7" name="Classification Tag" descr="{&quot;templafy&quot;:{&quot;id&quot;:&quot;d9ed52f6-47de-4719-a6a6-76fdc11fca63&quot;}}">
            <a:extLst>
              <a:ext uri="{FF2B5EF4-FFF2-40B4-BE49-F238E27FC236}">
                <a16:creationId xmlns:a16="http://schemas.microsoft.com/office/drawing/2014/main" id="{C04C71BD-9EBB-D403-1613-7F00CD2F5981}"/>
              </a:ext>
            </a:extLst>
          </p:cNvPr>
          <p:cNvSpPr txBox="1"/>
          <p:nvPr userDrawn="1">
            <p:custDataLst>
              <p:tags r:id="rId3"/>
            </p:custDataLst>
          </p:nvPr>
        </p:nvSpPr>
        <p:spPr>
          <a:xfrm>
            <a:off x="869777" y="70416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8" name="Title 7" descr="{&quot;templafy&quot;:{&quot;id&quot;:&quot;838721b8-b3a6-4903-9740-0c5d907d8a68&quot;}}">
            <a:extLst>
              <a:ext uri="{FF2B5EF4-FFF2-40B4-BE49-F238E27FC236}">
                <a16:creationId xmlns:a16="http://schemas.microsoft.com/office/drawing/2014/main" id="{6733467E-051F-98E4-2896-4FC1AFAD8DB9}"/>
              </a:ext>
            </a:extLst>
          </p:cNvPr>
          <p:cNvSpPr>
            <a:spLocks noGrp="1"/>
          </p:cNvSpPr>
          <p:nvPr>
            <p:ph type="title" hasCustomPrompt="1"/>
          </p:nvPr>
        </p:nvSpPr>
        <p:spPr>
          <a:xfrm>
            <a:off x="548640" y="548640"/>
            <a:ext cx="12289536" cy="402336"/>
          </a:xfrm>
          <a:prstGeom prst="rect">
            <a:avLst/>
          </a:prstGeom>
        </p:spPr>
        <p:txBody>
          <a:bodyPr lIns="0" tIns="0" rIns="0" bIns="0" anchor="b"/>
          <a:lstStyle>
            <a:lvl1pPr>
              <a:defRPr sz="2800"/>
            </a:lvl1pPr>
          </a:lstStyle>
          <a:p>
            <a:r>
              <a:rPr lang="en-US"/>
              <a:t>&lt;&lt;Page heading&gt;&gt;</a:t>
            </a:r>
          </a:p>
        </p:txBody>
      </p:sp>
      <p:sp>
        <p:nvSpPr>
          <p:cNvPr id="9" name="Text Placeholder 8">
            <a:extLst>
              <a:ext uri="{FF2B5EF4-FFF2-40B4-BE49-F238E27FC236}">
                <a16:creationId xmlns:a16="http://schemas.microsoft.com/office/drawing/2014/main" id="{43349AD3-30CE-8532-6B74-D175596BEE00}"/>
              </a:ext>
            </a:extLst>
          </p:cNvPr>
          <p:cNvSpPr>
            <a:spLocks noGrp="1"/>
          </p:cNvSpPr>
          <p:nvPr>
            <p:ph type="body" sz="quarter" idx="13" hasCustomPrompt="1"/>
          </p:nvPr>
        </p:nvSpPr>
        <p:spPr>
          <a:xfrm>
            <a:off x="548640" y="1005840"/>
            <a:ext cx="12289536" cy="402336"/>
          </a:xfrm>
        </p:spPr>
        <p:txBody>
          <a:bodyPr/>
          <a:lstStyle>
            <a:lvl1pPr marL="0" indent="0">
              <a:lnSpc>
                <a:spcPct val="100000"/>
              </a:lnSpc>
              <a:spcBef>
                <a:spcPts val="0"/>
              </a:spcBef>
              <a:buNone/>
              <a:defRPr sz="1600"/>
            </a:lvl1pPr>
          </a:lstStyle>
          <a:p>
            <a:pPr lvl="0"/>
            <a:r>
              <a:rPr lang="en-US"/>
              <a:t>Subtitle of the slide</a:t>
            </a:r>
          </a:p>
        </p:txBody>
      </p:sp>
      <p:sp>
        <p:nvSpPr>
          <p:cNvPr id="6" name="Footer Placeholder 5">
            <a:extLst>
              <a:ext uri="{FF2B5EF4-FFF2-40B4-BE49-F238E27FC236}">
                <a16:creationId xmlns:a16="http://schemas.microsoft.com/office/drawing/2014/main" id="{42340EDB-5261-A408-6288-6CA13E9DF477}"/>
              </a:ext>
            </a:extLst>
          </p:cNvPr>
          <p:cNvSpPr>
            <a:spLocks noGrp="1"/>
          </p:cNvSpPr>
          <p:nvPr>
            <p:ph type="ftr" sz="quarter" idx="11"/>
          </p:nvPr>
        </p:nvSpPr>
        <p:spPr>
          <a:xfrm>
            <a:off x="2520000" y="7153200"/>
            <a:ext cx="9000000" cy="118800"/>
          </a:xfrm>
          <a:prstGeom prst="rect">
            <a:avLst/>
          </a:prstGeom>
        </p:spPr>
        <p:txBody>
          <a:bodyPr vert="horz" lIns="0" tIns="0" rIns="0" bIns="0" rtlCol="0" anchor="b"/>
          <a:lstStyle>
            <a:defPPr>
              <a:defRPr lang="en-US"/>
            </a:defPPr>
            <a:lvl1pPr algn="l" rtl="0" eaLnBrk="0" fontAlgn="base" hangingPunct="0">
              <a:spcBef>
                <a:spcPts val="0"/>
              </a:spcBef>
              <a:spcAft>
                <a:spcPct val="0"/>
              </a:spcAft>
              <a:defRPr lang="en-GB" sz="800" kern="1200">
                <a:solidFill>
                  <a:schemeClr val="tx1"/>
                </a:solidFill>
                <a:latin typeface="+mn-l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endParaRPr lang="en-US"/>
          </a:p>
        </p:txBody>
      </p:sp>
      <p:pic>
        <p:nvPicPr>
          <p:cNvPr id="477928183" name="Logo" descr="{&quot;templafy&quot;:{&quot;id&quot;:&quot;6558e057-464e-4ba5-b261-1817fc0ff5fe&quot;}}"/>
          <p:cNvPicPr>
            <a:picLocks noChangeAspect="1"/>
          </p:cNvPicPr>
          <p:nvPr/>
        </p:nvPicPr>
        <p:blipFill>
          <a:blip r:embed="rId7"/>
          <a:stretch>
            <a:fillRect/>
          </a:stretch>
        </p:blipFill>
        <p:spPr>
          <a:xfrm>
            <a:off x="12157200" y="7041600"/>
            <a:ext cx="698731" cy="248400"/>
          </a:xfrm>
          <a:prstGeom prst="rect">
            <a:avLst/>
          </a:prstGeom>
        </p:spPr>
      </p:pic>
      <p:sp>
        <p:nvSpPr>
          <p:cNvPr id="11" name="TemplafyBrandVersion" hidden="1">
            <a:extLst>
              <a:ext uri="{FF2B5EF4-FFF2-40B4-BE49-F238E27FC236}">
                <a16:creationId xmlns:a16="http://schemas.microsoft.com/office/drawing/2014/main" id="{1126A3AB-202F-8AF6-729E-C30B4160D732}"/>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3" name="Object 2" hidden="1">
            <a:extLst>
              <a:ext uri="{FF2B5EF4-FFF2-40B4-BE49-F238E27FC236}">
                <a16:creationId xmlns:a16="http://schemas.microsoft.com/office/drawing/2014/main" id="{2555D843-70A5-FAFA-FF70-0F049ECC806E}"/>
              </a:ext>
            </a:extLst>
          </p:cNvPr>
          <p:cNvGraphicFramePr>
            <a:graphicFrameLocks noChangeAspect="1"/>
          </p:cNvGraphicFramePr>
          <p:nvPr userDrawn="1">
            <p:custDataLst>
              <p:tags r:id="rId4"/>
            </p:custDataLst>
            <p:extLst>
              <p:ext uri="{D42A27DB-BD31-4B8C-83A1-F6EECF244321}">
                <p14:modId xmlns:p14="http://schemas.microsoft.com/office/powerpoint/2010/main" val="617077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3" name="Object 2" hidden="1">
                        <a:extLst>
                          <a:ext uri="{FF2B5EF4-FFF2-40B4-BE49-F238E27FC236}">
                            <a16:creationId xmlns:a16="http://schemas.microsoft.com/office/drawing/2014/main" id="{2555D843-70A5-FAFA-FF70-0F049ECC806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2FFC389-0A6C-F9E3-356E-1C1558BAA97C}"/>
              </a:ext>
            </a:extLst>
          </p:cNvPr>
          <p:cNvSpPr/>
          <p:nvPr userDrawn="1">
            <p:custDataLst>
              <p:tags r:id="rId5"/>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2" name="PXP_GRIDLINES" hidden="1">
            <a:extLst>
              <a:ext uri="{FF2B5EF4-FFF2-40B4-BE49-F238E27FC236}">
                <a16:creationId xmlns:a16="http://schemas.microsoft.com/office/drawing/2014/main" id="{2BB0914D-E225-B685-34CB-077996D5F17E}"/>
              </a:ext>
            </a:extLst>
          </p:cNvPr>
          <p:cNvGrpSpPr/>
          <p:nvPr userDrawn="1"/>
        </p:nvGrpSpPr>
        <p:grpSpPr>
          <a:xfrm>
            <a:off x="-1" y="0"/>
            <a:ext cx="13371660" cy="7543800"/>
            <a:chOff x="-20924" y="0"/>
            <a:chExt cx="10058400" cy="7543800"/>
          </a:xfrm>
        </p:grpSpPr>
        <p:cxnSp>
          <p:nvCxnSpPr>
            <p:cNvPr id="13" name="Straight Connector 12">
              <a:extLst>
                <a:ext uri="{FF2B5EF4-FFF2-40B4-BE49-F238E27FC236}">
                  <a16:creationId xmlns:a16="http://schemas.microsoft.com/office/drawing/2014/main" id="{6695108F-A295-C6F5-B7BC-441698406EE0}"/>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024B29-29D2-5872-2CE9-AEEB5662EA22}"/>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C0328D7-789B-752D-8190-FD6FDAEF46E4}"/>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CE1FCE8-132F-BCAB-A5CD-7967F3850335}"/>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2BC2EC5-ACFC-D284-DC34-6E190F7E94F6}"/>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53EB280-8811-E324-C67B-7BC7F21FDDE2}"/>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170172979"/>
      </p:ext>
    </p:extLst>
  </p:cSld>
  <p:clrMapOvr>
    <a:masterClrMapping/>
  </p:clrMapOvr>
  <p:extLst>
    <p:ext uri="{DCECCB84-F9BA-43D5-87BE-67443E8EF086}">
      <p15:sldGuideLst xmlns:p15="http://schemas.microsoft.com/office/powerpoint/2012/main">
        <p15:guide id="3" orient="horz" pos="890">
          <p15:clr>
            <a:srgbClr val="FBAE40"/>
          </p15:clr>
        </p15:guide>
        <p15:guide id="4" orient="horz" pos="1225">
          <p15:clr>
            <a:srgbClr val="FBAE40"/>
          </p15:clr>
        </p15:guide>
        <p15:guide id="5" orient="horz" pos="39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2x1 Full Height">
    <p:spTree>
      <p:nvGrpSpPr>
        <p:cNvPr id="1" name=""/>
        <p:cNvGrpSpPr/>
        <p:nvPr/>
      </p:nvGrpSpPr>
      <p:grpSpPr>
        <a:xfrm>
          <a:off x="0" y="0"/>
          <a:ext cx="0" cy="0"/>
          <a:chOff x="0" y="0"/>
          <a:chExt cx="0" cy="0"/>
        </a:xfrm>
      </p:grpSpPr>
      <p:sp>
        <p:nvSpPr>
          <p:cNvPr id="2" name="text" descr="{&quot;templafy&quot;:{&quot;id&quot;:&quot;18df3678-7eb1-4a61-a05b-dba8d5a71973&quot;}}" hidden="1" title="Translations.Draft">
            <a:extLst>
              <a:ext uri="{FF2B5EF4-FFF2-40B4-BE49-F238E27FC236}">
                <a16:creationId xmlns:a16="http://schemas.microsoft.com/office/drawing/2014/main" id="{C0B94E20-CE57-55A0-3771-386CAFBCEAC1}"/>
              </a:ext>
            </a:extLst>
          </p:cNvPr>
          <p:cNvSpPr txBox="1"/>
          <p:nvPr>
            <p:custDataLst>
              <p:tags r:id="rId2"/>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8" name="Classification Tag" descr="{&quot;templafy&quot;:{&quot;id&quot;:&quot;e7ca6f2d-09db-4f6f-b733-0013636e041b&quot;}}">
            <a:extLst>
              <a:ext uri="{FF2B5EF4-FFF2-40B4-BE49-F238E27FC236}">
                <a16:creationId xmlns:a16="http://schemas.microsoft.com/office/drawing/2014/main" id="{10C05FF5-54C0-82A1-26E3-627FEC9D790E}"/>
              </a:ext>
            </a:extLst>
          </p:cNvPr>
          <p:cNvSpPr txBox="1"/>
          <p:nvPr userDrawn="1">
            <p:custDataLst>
              <p:tags r:id="rId3"/>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11" name="Title 10" descr="{&quot;templafy&quot;:{&quot;id&quot;:&quot;f494fa18-fdeb-41a1-847a-c7b41de810e8&quot;}}">
            <a:extLst>
              <a:ext uri="{FF2B5EF4-FFF2-40B4-BE49-F238E27FC236}">
                <a16:creationId xmlns:a16="http://schemas.microsoft.com/office/drawing/2014/main" id="{C664AB07-B1AE-ABF2-162F-70B11B05DBAC}"/>
              </a:ext>
            </a:extLst>
          </p:cNvPr>
          <p:cNvSpPr>
            <a:spLocks noGrp="1"/>
          </p:cNvSpPr>
          <p:nvPr>
            <p:ph type="title" hasCustomPrompt="1"/>
          </p:nvPr>
        </p:nvSpPr>
        <p:spPr>
          <a:xfrm>
            <a:off x="548640" y="548640"/>
            <a:ext cx="12289536" cy="402336"/>
          </a:xfrm>
          <a:prstGeom prst="rect">
            <a:avLst/>
          </a:prstGeom>
        </p:spPr>
        <p:txBody>
          <a:bodyPr lIns="0" tIns="0" rIns="0" bIns="0" anchor="b"/>
          <a:lstStyle>
            <a:lvl1pPr>
              <a:defRPr sz="2800"/>
            </a:lvl1pPr>
          </a:lstStyle>
          <a:p>
            <a:r>
              <a:rPr lang="en-US"/>
              <a:t>&lt;&lt;Page heading&gt;&gt;</a:t>
            </a:r>
          </a:p>
        </p:txBody>
      </p:sp>
      <p:sp>
        <p:nvSpPr>
          <p:cNvPr id="10" name="Text Placeholder 7">
            <a:extLst>
              <a:ext uri="{FF2B5EF4-FFF2-40B4-BE49-F238E27FC236}">
                <a16:creationId xmlns:a16="http://schemas.microsoft.com/office/drawing/2014/main" id="{E5FF5B03-A035-9503-823F-4D8629A691DD}"/>
              </a:ext>
            </a:extLst>
          </p:cNvPr>
          <p:cNvSpPr>
            <a:spLocks noGrp="1"/>
          </p:cNvSpPr>
          <p:nvPr>
            <p:ph type="body" sz="quarter" idx="33" hasCustomPrompt="1"/>
          </p:nvPr>
        </p:nvSpPr>
        <p:spPr>
          <a:xfrm>
            <a:off x="548640" y="1005840"/>
            <a:ext cx="12289536" cy="402336"/>
          </a:xfrm>
          <a:prstGeom prst="rect">
            <a:avLst/>
          </a:prstGeom>
        </p:spPr>
        <p:txBody>
          <a:bodyPr/>
          <a:lstStyle>
            <a:lvl1pPr marL="0" indent="0">
              <a:lnSpc>
                <a:spcPct val="100000"/>
              </a:lnSpc>
              <a:spcBef>
                <a:spcPts val="0"/>
              </a:spcBef>
              <a:buNone/>
              <a:defRPr sz="1600"/>
            </a:lvl1pPr>
          </a:lstStyle>
          <a:p>
            <a:pPr lvl="0"/>
            <a:r>
              <a:rPr lang="en-US"/>
              <a:t>Subtitle of the slide</a:t>
            </a:r>
          </a:p>
        </p:txBody>
      </p:sp>
      <p:sp>
        <p:nvSpPr>
          <p:cNvPr id="21" name="Text Placeholder 20" descr="{&quot;templafy&quot;:{&quot;id&quot;:&quot;3a3805c7-4d05-4568-a4e8-656d6e5daec0&quot;}}">
            <a:extLst>
              <a:ext uri="{FF2B5EF4-FFF2-40B4-BE49-F238E27FC236}">
                <a16:creationId xmlns:a16="http://schemas.microsoft.com/office/drawing/2014/main" id="{F53B3989-703E-FBDE-81B0-1F22F9F1B305}"/>
              </a:ext>
            </a:extLst>
          </p:cNvPr>
          <p:cNvSpPr>
            <a:spLocks noGrp="1"/>
          </p:cNvSpPr>
          <p:nvPr>
            <p:ph type="body" sz="quarter" idx="44" hasCustomPrompt="1"/>
          </p:nvPr>
        </p:nvSpPr>
        <p:spPr>
          <a:xfrm>
            <a:off x="548640" y="1947672"/>
            <a:ext cx="5971032" cy="274320"/>
          </a:xfrm>
        </p:spPr>
        <p:txBody>
          <a:bodyPr/>
          <a:lstStyle>
            <a:lvl1pPr marL="0" indent="0">
              <a:lnSpc>
                <a:spcPct val="110000"/>
              </a:lnSpc>
              <a:buNone/>
              <a:defRPr sz="1400" b="1"/>
            </a:lvl1pPr>
          </a:lstStyle>
          <a:p>
            <a:pPr lvl="0"/>
            <a:r>
              <a:rPr lang="en-US"/>
              <a:t>Layout heading</a:t>
            </a:r>
          </a:p>
        </p:txBody>
      </p:sp>
      <p:sp>
        <p:nvSpPr>
          <p:cNvPr id="12" name="Content Placeholder 11">
            <a:extLst>
              <a:ext uri="{FF2B5EF4-FFF2-40B4-BE49-F238E27FC236}">
                <a16:creationId xmlns:a16="http://schemas.microsoft.com/office/drawing/2014/main" id="{D5BE45B9-5DCC-23E8-1709-E499D9442A7F}"/>
              </a:ext>
            </a:extLst>
          </p:cNvPr>
          <p:cNvSpPr>
            <a:spLocks noGrp="1"/>
          </p:cNvSpPr>
          <p:nvPr>
            <p:ph sz="quarter" idx="42"/>
          </p:nvPr>
        </p:nvSpPr>
        <p:spPr>
          <a:xfrm>
            <a:off x="548640" y="2295144"/>
            <a:ext cx="5971032" cy="3861936"/>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Source" descr="{&quot;templafy&quot;:{&quot;id&quot;:&quot;56387d68-4168-43ab-9213-abbf3d3fb76d&quot;}}">
            <a:extLst>
              <a:ext uri="{FF2B5EF4-FFF2-40B4-BE49-F238E27FC236}">
                <a16:creationId xmlns:a16="http://schemas.microsoft.com/office/drawing/2014/main" id="{3CE8D5D5-58D9-58A4-92F3-0ED377D9102B}"/>
              </a:ext>
            </a:extLst>
          </p:cNvPr>
          <p:cNvSpPr>
            <a:spLocks noGrp="1"/>
          </p:cNvSpPr>
          <p:nvPr>
            <p:ph type="body" sz="quarter" idx="46" hasCustomPrompt="1"/>
          </p:nvPr>
        </p:nvSpPr>
        <p:spPr>
          <a:xfrm>
            <a:off x="548640" y="6230376"/>
            <a:ext cx="5971032" cy="179388"/>
          </a:xfrm>
        </p:spPr>
        <p:txBody>
          <a:bodyPr/>
          <a:lstStyle>
            <a:lvl1pPr marL="0" indent="0">
              <a:buNone/>
              <a:defRPr sz="800"/>
            </a:lvl1pPr>
          </a:lstStyle>
          <a:p>
            <a:pPr lvl="0"/>
            <a:r>
              <a:rPr lang="en-US"/>
              <a:t>Source</a:t>
            </a:r>
          </a:p>
        </p:txBody>
      </p:sp>
      <p:sp>
        <p:nvSpPr>
          <p:cNvPr id="24" name="Text Placeholder 20" descr="{&quot;templafy&quot;:{&quot;id&quot;:&quot;70e6f114-f97c-4813-9ccd-a3936fc04430&quot;}}">
            <a:extLst>
              <a:ext uri="{FF2B5EF4-FFF2-40B4-BE49-F238E27FC236}">
                <a16:creationId xmlns:a16="http://schemas.microsoft.com/office/drawing/2014/main" id="{B84AE3D5-C2DA-EEE3-1EDA-91B2557E067D}"/>
              </a:ext>
            </a:extLst>
          </p:cNvPr>
          <p:cNvSpPr>
            <a:spLocks noGrp="1"/>
          </p:cNvSpPr>
          <p:nvPr>
            <p:ph type="body" sz="quarter" idx="45" hasCustomPrompt="1"/>
          </p:nvPr>
        </p:nvSpPr>
        <p:spPr>
          <a:xfrm>
            <a:off x="6867144" y="1947672"/>
            <a:ext cx="5971032" cy="274320"/>
          </a:xfrm>
        </p:spPr>
        <p:txBody>
          <a:bodyPr/>
          <a:lstStyle>
            <a:lvl1pPr marL="0" indent="0">
              <a:lnSpc>
                <a:spcPct val="110000"/>
              </a:lnSpc>
              <a:buNone/>
              <a:defRPr sz="1400" b="1"/>
            </a:lvl1pPr>
          </a:lstStyle>
          <a:p>
            <a:pPr lvl="0"/>
            <a:r>
              <a:rPr lang="en-US"/>
              <a:t>Layout heading</a:t>
            </a:r>
          </a:p>
        </p:txBody>
      </p:sp>
      <p:sp>
        <p:nvSpPr>
          <p:cNvPr id="16" name="Content Placeholder 15">
            <a:extLst>
              <a:ext uri="{FF2B5EF4-FFF2-40B4-BE49-F238E27FC236}">
                <a16:creationId xmlns:a16="http://schemas.microsoft.com/office/drawing/2014/main" id="{BB4009B2-2BCC-D6A4-5E92-6D58AA33456F}"/>
              </a:ext>
            </a:extLst>
          </p:cNvPr>
          <p:cNvSpPr>
            <a:spLocks noGrp="1"/>
          </p:cNvSpPr>
          <p:nvPr>
            <p:ph sz="quarter" idx="43"/>
          </p:nvPr>
        </p:nvSpPr>
        <p:spPr>
          <a:xfrm>
            <a:off x="6867144" y="2295144"/>
            <a:ext cx="5971032" cy="3861936"/>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Source" descr="{&quot;templafy&quot;:{&quot;id&quot;:&quot;a40e5325-fc6e-4b64-8632-a95cfce1bb80&quot;}}">
            <a:extLst>
              <a:ext uri="{FF2B5EF4-FFF2-40B4-BE49-F238E27FC236}">
                <a16:creationId xmlns:a16="http://schemas.microsoft.com/office/drawing/2014/main" id="{C33A21D3-90F2-4E06-80CC-C036ED129641}"/>
              </a:ext>
            </a:extLst>
          </p:cNvPr>
          <p:cNvSpPr>
            <a:spLocks noGrp="1"/>
          </p:cNvSpPr>
          <p:nvPr>
            <p:ph type="body" sz="quarter" idx="47" hasCustomPrompt="1"/>
          </p:nvPr>
        </p:nvSpPr>
        <p:spPr>
          <a:xfrm>
            <a:off x="6867144" y="6230376"/>
            <a:ext cx="5971032" cy="179388"/>
          </a:xfrm>
        </p:spPr>
        <p:txBody>
          <a:bodyPr/>
          <a:lstStyle>
            <a:lvl1pPr marL="0" indent="0">
              <a:buNone/>
              <a:defRPr sz="800"/>
            </a:lvl1pPr>
          </a:lstStyle>
          <a:p>
            <a:pPr lvl="0"/>
            <a:r>
              <a:rPr lang="en-US"/>
              <a:t>Source</a:t>
            </a:r>
          </a:p>
        </p:txBody>
      </p:sp>
      <p:sp>
        <p:nvSpPr>
          <p:cNvPr id="7" name="Footer Placeholder 6">
            <a:extLst>
              <a:ext uri="{FF2B5EF4-FFF2-40B4-BE49-F238E27FC236}">
                <a16:creationId xmlns:a16="http://schemas.microsoft.com/office/drawing/2014/main" id="{466A8727-CEDD-4489-210B-E04DB8B1A11A}"/>
              </a:ext>
            </a:extLst>
          </p:cNvPr>
          <p:cNvSpPr>
            <a:spLocks noGrp="1"/>
          </p:cNvSpPr>
          <p:nvPr>
            <p:ph type="ftr" sz="quarter" idx="40"/>
          </p:nvPr>
        </p:nvSpPr>
        <p:spPr>
          <a:xfrm>
            <a:off x="2520000" y="7153200"/>
            <a:ext cx="9000000" cy="118800"/>
          </a:xfrm>
          <a:prstGeom prst="rect">
            <a:avLst/>
          </a:prstGeom>
        </p:spPr>
        <p:txBody>
          <a:bodyPr vert="horz" lIns="0" tIns="0" rIns="0" bIns="0" rtlCol="0" anchor="b"/>
          <a:lstStyle>
            <a:defPPr>
              <a:defRPr lang="en-US"/>
            </a:defPPr>
            <a:lvl1pPr algn="l" rtl="0" eaLnBrk="0" fontAlgn="base" hangingPunct="0">
              <a:spcBef>
                <a:spcPts val="0"/>
              </a:spcBef>
              <a:spcAft>
                <a:spcPct val="0"/>
              </a:spcAft>
              <a:defRPr lang="en-GB" sz="800" kern="1200">
                <a:solidFill>
                  <a:schemeClr val="tx1"/>
                </a:solidFill>
                <a:latin typeface="+mn-l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endParaRPr lang="en-US"/>
          </a:p>
        </p:txBody>
      </p:sp>
      <p:pic>
        <p:nvPicPr>
          <p:cNvPr id="2065374490" name="Logo" descr="{&quot;templafy&quot;:{&quot;id&quot;:&quot;7050272d-3967-4ca0-877c-96a9f76ffd60&quot;}}"/>
          <p:cNvPicPr>
            <a:picLocks noChangeAspect="1"/>
          </p:cNvPicPr>
          <p:nvPr/>
        </p:nvPicPr>
        <p:blipFill>
          <a:blip r:embed="rId7"/>
          <a:stretch>
            <a:fillRect/>
          </a:stretch>
        </p:blipFill>
        <p:spPr>
          <a:xfrm>
            <a:off x="12157200" y="7041600"/>
            <a:ext cx="698731" cy="248400"/>
          </a:xfrm>
          <a:prstGeom prst="rect">
            <a:avLst/>
          </a:prstGeom>
        </p:spPr>
      </p:pic>
      <p:sp>
        <p:nvSpPr>
          <p:cNvPr id="6" name="TemplafyBrandVersion" hidden="1">
            <a:extLst>
              <a:ext uri="{FF2B5EF4-FFF2-40B4-BE49-F238E27FC236}">
                <a16:creationId xmlns:a16="http://schemas.microsoft.com/office/drawing/2014/main" id="{64B38B6F-51DB-B396-CEBB-08F7A08C722A}"/>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4" name="Object 3" hidden="1">
            <a:extLst>
              <a:ext uri="{FF2B5EF4-FFF2-40B4-BE49-F238E27FC236}">
                <a16:creationId xmlns:a16="http://schemas.microsoft.com/office/drawing/2014/main" id="{9CA3D8DC-B53C-C029-57E8-D8B0C4E9A60B}"/>
              </a:ext>
            </a:extLst>
          </p:cNvPr>
          <p:cNvGraphicFramePr>
            <a:graphicFrameLocks noChangeAspect="1"/>
          </p:cNvGraphicFramePr>
          <p:nvPr userDrawn="1">
            <p:custDataLst>
              <p:tags r:id="rId4"/>
            </p:custDataLst>
            <p:extLst>
              <p:ext uri="{D42A27DB-BD31-4B8C-83A1-F6EECF244321}">
                <p14:modId xmlns:p14="http://schemas.microsoft.com/office/powerpoint/2010/main" val="2758304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4" name="Object 3" hidden="1">
                        <a:extLst>
                          <a:ext uri="{FF2B5EF4-FFF2-40B4-BE49-F238E27FC236}">
                            <a16:creationId xmlns:a16="http://schemas.microsoft.com/office/drawing/2014/main" id="{9CA3D8DC-B53C-C029-57E8-D8B0C4E9A60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5ED9D2F-B39F-AD2F-1F66-0635F2140F30}"/>
              </a:ext>
            </a:extLst>
          </p:cNvPr>
          <p:cNvSpPr/>
          <p:nvPr userDrawn="1">
            <p:custDataLst>
              <p:tags r:id="rId5"/>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3" name="PXP_GRIDLINES" hidden="1">
            <a:extLst>
              <a:ext uri="{FF2B5EF4-FFF2-40B4-BE49-F238E27FC236}">
                <a16:creationId xmlns:a16="http://schemas.microsoft.com/office/drawing/2014/main" id="{3E653AF9-B873-6C06-0086-C11001D400BE}"/>
              </a:ext>
            </a:extLst>
          </p:cNvPr>
          <p:cNvGrpSpPr/>
          <p:nvPr userDrawn="1"/>
        </p:nvGrpSpPr>
        <p:grpSpPr>
          <a:xfrm>
            <a:off x="-1" y="0"/>
            <a:ext cx="13371660" cy="7543800"/>
            <a:chOff x="-20924" y="0"/>
            <a:chExt cx="10058400" cy="7543800"/>
          </a:xfrm>
        </p:grpSpPr>
        <p:cxnSp>
          <p:nvCxnSpPr>
            <p:cNvPr id="14" name="Straight Connector 13">
              <a:extLst>
                <a:ext uri="{FF2B5EF4-FFF2-40B4-BE49-F238E27FC236}">
                  <a16:creationId xmlns:a16="http://schemas.microsoft.com/office/drawing/2014/main" id="{44E2063C-9E8B-CCB3-575A-672D65C3D5FE}"/>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1B83B25-0D78-3691-C277-54DC5E86113D}"/>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4FE7161-A7B7-CBFC-8EBB-778E15FDAF26}"/>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0310D2D-740C-FF39-912D-3066BD62AC7C}"/>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C6B3659-37A0-7E02-A813-E1D2A7C2F8D0}"/>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135069A-B94F-55C2-6801-AC0588FA0884}"/>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42805538"/>
      </p:ext>
    </p:extLst>
  </p:cSld>
  <p:clrMapOvr>
    <a:masterClrMapping/>
  </p:clrMapOvr>
  <p:extLst>
    <p:ext uri="{DCECCB84-F9BA-43D5-87BE-67443E8EF086}">
      <p15:sldGuideLst xmlns:p15="http://schemas.microsoft.com/office/powerpoint/2012/main">
        <p15:guide id="3" pos="4116">
          <p15:clr>
            <a:srgbClr val="FBAE40"/>
          </p15:clr>
        </p15:guide>
        <p15:guide id="4" pos="4326">
          <p15:clr>
            <a:srgbClr val="FBAE40"/>
          </p15:clr>
        </p15:guide>
        <p15:guide id="5" orient="horz" pos="890">
          <p15:clr>
            <a:srgbClr val="FBAE40"/>
          </p15:clr>
        </p15:guide>
        <p15:guide id="6" orient="horz" pos="1225">
          <p15:clr>
            <a:srgbClr val="FBAE40"/>
          </p15:clr>
        </p15:guide>
        <p15:guide id="8" orient="horz" pos="39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rge 3x1 Full Height">
    <p:spTree>
      <p:nvGrpSpPr>
        <p:cNvPr id="1" name=""/>
        <p:cNvGrpSpPr/>
        <p:nvPr/>
      </p:nvGrpSpPr>
      <p:grpSpPr>
        <a:xfrm>
          <a:off x="0" y="0"/>
          <a:ext cx="0" cy="0"/>
          <a:chOff x="0" y="0"/>
          <a:chExt cx="0" cy="0"/>
        </a:xfrm>
      </p:grpSpPr>
      <p:sp>
        <p:nvSpPr>
          <p:cNvPr id="2" name="text" descr="{&quot;templafy&quot;:{&quot;id&quot;:&quot;3e69f43e-fe0e-45a1-9667-375623769e7a&quot;}}" hidden="1" title="Translations.Draft">
            <a:extLst>
              <a:ext uri="{FF2B5EF4-FFF2-40B4-BE49-F238E27FC236}">
                <a16:creationId xmlns:a16="http://schemas.microsoft.com/office/drawing/2014/main" id="{AA4AD909-139C-5DAA-A1A1-43E34EECDF88}"/>
              </a:ext>
            </a:extLst>
          </p:cNvPr>
          <p:cNvSpPr txBox="1"/>
          <p:nvPr>
            <p:custDataLst>
              <p:tags r:id="rId1"/>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26" name="Classification Tag" descr="{&quot;templafy&quot;:{&quot;id&quot;:&quot;16fcf6a2-a15f-4de6-9e97-1c52200c2954&quot;}}">
            <a:extLst>
              <a:ext uri="{FF2B5EF4-FFF2-40B4-BE49-F238E27FC236}">
                <a16:creationId xmlns:a16="http://schemas.microsoft.com/office/drawing/2014/main" id="{41AB7605-5DE6-6194-FBAB-0990CF43E44F}"/>
              </a:ext>
            </a:extLst>
          </p:cNvPr>
          <p:cNvSpPr txBox="1"/>
          <p:nvPr userDrawn="1">
            <p:custDataLst>
              <p:tags r:id="rId2"/>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6" name="Title 5" descr="{&quot;templafy&quot;:{&quot;id&quot;:&quot;b602cc98-ed49-413c-97f6-06a1c3104572&quot;}}">
            <a:extLst>
              <a:ext uri="{FF2B5EF4-FFF2-40B4-BE49-F238E27FC236}">
                <a16:creationId xmlns:a16="http://schemas.microsoft.com/office/drawing/2014/main" id="{AAB18765-8352-D0F3-5CE7-D0FB57F211E8}"/>
              </a:ext>
            </a:extLst>
          </p:cNvPr>
          <p:cNvSpPr>
            <a:spLocks noGrp="1"/>
          </p:cNvSpPr>
          <p:nvPr>
            <p:ph type="title" hasCustomPrompt="1"/>
          </p:nvPr>
        </p:nvSpPr>
        <p:spPr>
          <a:xfrm>
            <a:off x="548640" y="548640"/>
            <a:ext cx="12289536" cy="402336"/>
          </a:xfrm>
          <a:prstGeom prst="rect">
            <a:avLst/>
          </a:prstGeom>
        </p:spPr>
        <p:txBody>
          <a:bodyPr lIns="0" tIns="0" rIns="0" bIns="0" anchor="b"/>
          <a:lstStyle>
            <a:lvl1pPr>
              <a:defRPr sz="2800"/>
            </a:lvl1pPr>
          </a:lstStyle>
          <a:p>
            <a:r>
              <a:rPr lang="en-US"/>
              <a:t>&lt;&lt;Page heading&gt;&gt;</a:t>
            </a:r>
          </a:p>
        </p:txBody>
      </p:sp>
      <p:sp>
        <p:nvSpPr>
          <p:cNvPr id="5" name="Text Placeholder 7">
            <a:extLst>
              <a:ext uri="{FF2B5EF4-FFF2-40B4-BE49-F238E27FC236}">
                <a16:creationId xmlns:a16="http://schemas.microsoft.com/office/drawing/2014/main" id="{303ACDEC-7402-327C-C272-531B1F029892}"/>
              </a:ext>
            </a:extLst>
          </p:cNvPr>
          <p:cNvSpPr>
            <a:spLocks noGrp="1"/>
          </p:cNvSpPr>
          <p:nvPr>
            <p:ph type="body" sz="quarter" idx="33" hasCustomPrompt="1"/>
          </p:nvPr>
        </p:nvSpPr>
        <p:spPr>
          <a:xfrm>
            <a:off x="548640" y="1005840"/>
            <a:ext cx="12289536" cy="402336"/>
          </a:xfrm>
          <a:prstGeom prst="rect">
            <a:avLst/>
          </a:prstGeom>
        </p:spPr>
        <p:txBody>
          <a:bodyPr/>
          <a:lstStyle>
            <a:lvl1pPr marL="0" indent="0">
              <a:lnSpc>
                <a:spcPct val="100000"/>
              </a:lnSpc>
              <a:spcBef>
                <a:spcPts val="0"/>
              </a:spcBef>
              <a:buNone/>
              <a:defRPr sz="1600"/>
            </a:lvl1pPr>
          </a:lstStyle>
          <a:p>
            <a:pPr lvl="0"/>
            <a:r>
              <a:rPr lang="en-US"/>
              <a:t>Subtitle of the slide</a:t>
            </a:r>
          </a:p>
        </p:txBody>
      </p:sp>
      <p:sp>
        <p:nvSpPr>
          <p:cNvPr id="11" name="Text Placeholder 10" descr="{&quot;templafy&quot;:{&quot;id&quot;:&quot;56ec6e47-dae5-4140-ac86-ee1f1fd1afe4&quot;}}">
            <a:extLst>
              <a:ext uri="{FF2B5EF4-FFF2-40B4-BE49-F238E27FC236}">
                <a16:creationId xmlns:a16="http://schemas.microsoft.com/office/drawing/2014/main" id="{DA14D7C1-59EA-A8EE-2E9C-33D31E3936A8}"/>
              </a:ext>
            </a:extLst>
          </p:cNvPr>
          <p:cNvSpPr>
            <a:spLocks noGrp="1"/>
          </p:cNvSpPr>
          <p:nvPr>
            <p:ph type="body" sz="quarter" idx="37" hasCustomPrompt="1"/>
          </p:nvPr>
        </p:nvSpPr>
        <p:spPr>
          <a:xfrm>
            <a:off x="548640" y="1947672"/>
            <a:ext cx="3858768" cy="274320"/>
          </a:xfrm>
        </p:spPr>
        <p:txBody>
          <a:bodyPr/>
          <a:lstStyle>
            <a:lvl1pPr marL="0" indent="0">
              <a:lnSpc>
                <a:spcPct val="110000"/>
              </a:lnSpc>
              <a:buNone/>
              <a:defRPr sz="1400" b="1"/>
            </a:lvl1pPr>
          </a:lstStyle>
          <a:p>
            <a:pPr lvl="0"/>
            <a:r>
              <a:rPr lang="en-US"/>
              <a:t>Layout heading</a:t>
            </a:r>
          </a:p>
        </p:txBody>
      </p:sp>
      <p:sp>
        <p:nvSpPr>
          <p:cNvPr id="7" name="Content Placeholder 6">
            <a:extLst>
              <a:ext uri="{FF2B5EF4-FFF2-40B4-BE49-F238E27FC236}">
                <a16:creationId xmlns:a16="http://schemas.microsoft.com/office/drawing/2014/main" id="{6F9EC50C-E367-97AE-9560-BD64A61A5AAA}"/>
              </a:ext>
            </a:extLst>
          </p:cNvPr>
          <p:cNvSpPr>
            <a:spLocks noGrp="1"/>
          </p:cNvSpPr>
          <p:nvPr>
            <p:ph sz="quarter" idx="34"/>
          </p:nvPr>
        </p:nvSpPr>
        <p:spPr>
          <a:xfrm>
            <a:off x="548640" y="2295144"/>
            <a:ext cx="3858768" cy="3861936"/>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Source" descr="{&quot;templafy&quot;:{&quot;id&quot;:&quot;166d9273-8fbf-4ed0-9ed7-b29c2b69432a&quot;}}">
            <a:extLst>
              <a:ext uri="{FF2B5EF4-FFF2-40B4-BE49-F238E27FC236}">
                <a16:creationId xmlns:a16="http://schemas.microsoft.com/office/drawing/2014/main" id="{7580BFD7-3123-7767-1735-697138AAB667}"/>
              </a:ext>
            </a:extLst>
          </p:cNvPr>
          <p:cNvSpPr>
            <a:spLocks noGrp="1"/>
          </p:cNvSpPr>
          <p:nvPr>
            <p:ph type="body" sz="quarter" idx="40" hasCustomPrompt="1"/>
          </p:nvPr>
        </p:nvSpPr>
        <p:spPr>
          <a:xfrm>
            <a:off x="548640" y="6230376"/>
            <a:ext cx="3858768" cy="180000"/>
          </a:xfrm>
        </p:spPr>
        <p:txBody>
          <a:bodyPr/>
          <a:lstStyle>
            <a:lvl1pPr marL="0" indent="0">
              <a:buNone/>
              <a:defRPr sz="800" b="0"/>
            </a:lvl1pPr>
          </a:lstStyle>
          <a:p>
            <a:pPr lvl="0"/>
            <a:r>
              <a:rPr lang="en-US"/>
              <a:t>Source</a:t>
            </a:r>
          </a:p>
        </p:txBody>
      </p:sp>
      <p:sp>
        <p:nvSpPr>
          <p:cNvPr id="12" name="Text Placeholder 10" descr="{&quot;templafy&quot;:{&quot;id&quot;:&quot;1058fddd-aa30-49d6-914e-afafe7478030&quot;}}">
            <a:extLst>
              <a:ext uri="{FF2B5EF4-FFF2-40B4-BE49-F238E27FC236}">
                <a16:creationId xmlns:a16="http://schemas.microsoft.com/office/drawing/2014/main" id="{649528FC-5F00-4D2D-7081-5D964C6A4C3B}"/>
              </a:ext>
            </a:extLst>
          </p:cNvPr>
          <p:cNvSpPr>
            <a:spLocks noGrp="1"/>
          </p:cNvSpPr>
          <p:nvPr>
            <p:ph type="body" sz="quarter" idx="38" hasCustomPrompt="1"/>
          </p:nvPr>
        </p:nvSpPr>
        <p:spPr>
          <a:xfrm>
            <a:off x="4767771" y="1947672"/>
            <a:ext cx="3858768" cy="274320"/>
          </a:xfrm>
        </p:spPr>
        <p:txBody>
          <a:bodyPr/>
          <a:lstStyle>
            <a:lvl1pPr marL="0" indent="0">
              <a:lnSpc>
                <a:spcPct val="110000"/>
              </a:lnSpc>
              <a:buNone/>
              <a:defRPr sz="1400" b="1"/>
            </a:lvl1pPr>
          </a:lstStyle>
          <a:p>
            <a:pPr lvl="0"/>
            <a:r>
              <a:rPr lang="en-US"/>
              <a:t>Layout heading</a:t>
            </a:r>
          </a:p>
        </p:txBody>
      </p:sp>
      <p:sp>
        <p:nvSpPr>
          <p:cNvPr id="8" name="Content Placeholder 6">
            <a:extLst>
              <a:ext uri="{FF2B5EF4-FFF2-40B4-BE49-F238E27FC236}">
                <a16:creationId xmlns:a16="http://schemas.microsoft.com/office/drawing/2014/main" id="{AD908022-DD82-6C5B-BEBC-6F486C4DE31F}"/>
              </a:ext>
            </a:extLst>
          </p:cNvPr>
          <p:cNvSpPr>
            <a:spLocks noGrp="1"/>
          </p:cNvSpPr>
          <p:nvPr>
            <p:ph sz="quarter" idx="35"/>
          </p:nvPr>
        </p:nvSpPr>
        <p:spPr>
          <a:xfrm>
            <a:off x="4767771" y="2295144"/>
            <a:ext cx="3858768" cy="3861936"/>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ource" descr="{&quot;templafy&quot;:{&quot;id&quot;:&quot;b76f17c5-256b-4f4f-8bf2-e59fd8413fd4&quot;}}">
            <a:extLst>
              <a:ext uri="{FF2B5EF4-FFF2-40B4-BE49-F238E27FC236}">
                <a16:creationId xmlns:a16="http://schemas.microsoft.com/office/drawing/2014/main" id="{555FCC77-D56F-EDF5-85A1-94A58A5EBD6E}"/>
              </a:ext>
            </a:extLst>
          </p:cNvPr>
          <p:cNvSpPr>
            <a:spLocks noGrp="1"/>
          </p:cNvSpPr>
          <p:nvPr>
            <p:ph type="body" sz="quarter" idx="41" hasCustomPrompt="1"/>
          </p:nvPr>
        </p:nvSpPr>
        <p:spPr>
          <a:xfrm>
            <a:off x="4767771" y="6230376"/>
            <a:ext cx="3858768" cy="180000"/>
          </a:xfrm>
        </p:spPr>
        <p:txBody>
          <a:bodyPr/>
          <a:lstStyle>
            <a:lvl1pPr marL="0" indent="0">
              <a:buNone/>
              <a:defRPr sz="800" b="0"/>
            </a:lvl1pPr>
          </a:lstStyle>
          <a:p>
            <a:pPr lvl="0"/>
            <a:r>
              <a:rPr lang="en-US"/>
              <a:t>Source</a:t>
            </a:r>
          </a:p>
        </p:txBody>
      </p:sp>
      <p:sp>
        <p:nvSpPr>
          <p:cNvPr id="40" name="Footer Placeholder 39">
            <a:extLst>
              <a:ext uri="{FF2B5EF4-FFF2-40B4-BE49-F238E27FC236}">
                <a16:creationId xmlns:a16="http://schemas.microsoft.com/office/drawing/2014/main" id="{D895419F-7C81-A481-185F-E500CB41FBD3}"/>
              </a:ext>
            </a:extLst>
          </p:cNvPr>
          <p:cNvSpPr>
            <a:spLocks noGrp="1"/>
          </p:cNvSpPr>
          <p:nvPr>
            <p:ph type="ftr" sz="quarter" idx="30"/>
          </p:nvPr>
        </p:nvSpPr>
        <p:spPr>
          <a:xfrm>
            <a:off x="2520000" y="7153200"/>
            <a:ext cx="9000000" cy="118800"/>
          </a:xfrm>
          <a:prstGeom prst="rect">
            <a:avLst/>
          </a:prstGeom>
        </p:spPr>
        <p:txBody>
          <a:bodyPr vert="horz" lIns="0" tIns="0" rIns="0" bIns="0" rtlCol="0" anchor="b"/>
          <a:lstStyle>
            <a:defPPr>
              <a:defRPr lang="en-US"/>
            </a:defPPr>
            <a:lvl1pPr algn="l" rtl="0" eaLnBrk="0" fontAlgn="base" hangingPunct="0">
              <a:spcBef>
                <a:spcPts val="0"/>
              </a:spcBef>
              <a:spcAft>
                <a:spcPct val="0"/>
              </a:spcAft>
              <a:defRPr lang="en-GB" sz="800" kern="1200">
                <a:solidFill>
                  <a:schemeClr val="tx1"/>
                </a:solidFill>
                <a:latin typeface="+mn-l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endParaRPr lang="en-US"/>
          </a:p>
        </p:txBody>
      </p:sp>
      <p:sp>
        <p:nvSpPr>
          <p:cNvPr id="13" name="Text Placeholder 10" descr="{&quot;templafy&quot;:{&quot;id&quot;:&quot;bd18d931-7160-41ae-bb8e-b3adc238d0a6&quot;}}">
            <a:extLst>
              <a:ext uri="{FF2B5EF4-FFF2-40B4-BE49-F238E27FC236}">
                <a16:creationId xmlns:a16="http://schemas.microsoft.com/office/drawing/2014/main" id="{9DC10FB3-4C0B-3C3B-8066-B0CC716D483A}"/>
              </a:ext>
            </a:extLst>
          </p:cNvPr>
          <p:cNvSpPr>
            <a:spLocks noGrp="1"/>
          </p:cNvSpPr>
          <p:nvPr>
            <p:ph type="body" sz="quarter" idx="39" hasCustomPrompt="1"/>
          </p:nvPr>
        </p:nvSpPr>
        <p:spPr>
          <a:xfrm>
            <a:off x="8989800" y="1947672"/>
            <a:ext cx="3858768" cy="274320"/>
          </a:xfrm>
        </p:spPr>
        <p:txBody>
          <a:bodyPr/>
          <a:lstStyle>
            <a:lvl1pPr marL="0" indent="0">
              <a:lnSpc>
                <a:spcPct val="110000"/>
              </a:lnSpc>
              <a:buNone/>
              <a:defRPr sz="1400" b="1"/>
            </a:lvl1pPr>
          </a:lstStyle>
          <a:p>
            <a:pPr lvl="0"/>
            <a:r>
              <a:rPr lang="en-US"/>
              <a:t>Layout heading</a:t>
            </a:r>
          </a:p>
        </p:txBody>
      </p:sp>
      <p:sp>
        <p:nvSpPr>
          <p:cNvPr id="9" name="Content Placeholder 6">
            <a:extLst>
              <a:ext uri="{FF2B5EF4-FFF2-40B4-BE49-F238E27FC236}">
                <a16:creationId xmlns:a16="http://schemas.microsoft.com/office/drawing/2014/main" id="{3557C2AD-F53B-14D3-1CAE-631EEAF28B13}"/>
              </a:ext>
            </a:extLst>
          </p:cNvPr>
          <p:cNvSpPr>
            <a:spLocks noGrp="1"/>
          </p:cNvSpPr>
          <p:nvPr>
            <p:ph sz="quarter" idx="36"/>
          </p:nvPr>
        </p:nvSpPr>
        <p:spPr>
          <a:xfrm>
            <a:off x="8989800" y="2295144"/>
            <a:ext cx="3858768" cy="3861936"/>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Source" descr="{&quot;templafy&quot;:{&quot;id&quot;:&quot;93244798-60c2-4748-8f4f-36456e06c3d6&quot;}}">
            <a:extLst>
              <a:ext uri="{FF2B5EF4-FFF2-40B4-BE49-F238E27FC236}">
                <a16:creationId xmlns:a16="http://schemas.microsoft.com/office/drawing/2014/main" id="{A328475D-8910-C0CA-FE88-2D0970DC2651}"/>
              </a:ext>
            </a:extLst>
          </p:cNvPr>
          <p:cNvSpPr>
            <a:spLocks noGrp="1"/>
          </p:cNvSpPr>
          <p:nvPr>
            <p:ph type="body" sz="quarter" idx="42" hasCustomPrompt="1"/>
          </p:nvPr>
        </p:nvSpPr>
        <p:spPr>
          <a:xfrm>
            <a:off x="8989800" y="6230376"/>
            <a:ext cx="3858768" cy="180000"/>
          </a:xfrm>
        </p:spPr>
        <p:txBody>
          <a:bodyPr/>
          <a:lstStyle>
            <a:lvl1pPr marL="0" indent="0">
              <a:buNone/>
              <a:defRPr sz="800" b="0"/>
            </a:lvl1pPr>
          </a:lstStyle>
          <a:p>
            <a:pPr lvl="0"/>
            <a:r>
              <a:rPr lang="en-US"/>
              <a:t>Source</a:t>
            </a:r>
          </a:p>
        </p:txBody>
      </p:sp>
      <p:pic>
        <p:nvPicPr>
          <p:cNvPr id="530968814" name="Logo" descr="{&quot;templafy&quot;:{&quot;id&quot;:&quot;04bac7ef-5b6d-4f4a-b16b-4574867548ee&quot;}}"/>
          <p:cNvPicPr>
            <a:picLocks noChangeAspect="1"/>
          </p:cNvPicPr>
          <p:nvPr/>
        </p:nvPicPr>
        <p:blipFill>
          <a:blip r:embed="rId6"/>
          <a:stretch>
            <a:fillRect/>
          </a:stretch>
        </p:blipFill>
        <p:spPr>
          <a:xfrm>
            <a:off x="12157200" y="7041600"/>
            <a:ext cx="698731" cy="248400"/>
          </a:xfrm>
          <a:prstGeom prst="rect">
            <a:avLst/>
          </a:prstGeom>
        </p:spPr>
      </p:pic>
      <p:sp>
        <p:nvSpPr>
          <p:cNvPr id="4" name="TemplafyBrandVersion" hidden="1">
            <a:extLst>
              <a:ext uri="{FF2B5EF4-FFF2-40B4-BE49-F238E27FC236}">
                <a16:creationId xmlns:a16="http://schemas.microsoft.com/office/drawing/2014/main" id="{1FD1374E-FC3C-618F-57C1-3AC1A620BA6E}"/>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3" name="Object 2" hidden="1">
            <a:extLst>
              <a:ext uri="{FF2B5EF4-FFF2-40B4-BE49-F238E27FC236}">
                <a16:creationId xmlns:a16="http://schemas.microsoft.com/office/drawing/2014/main" id="{5DEA8C5A-6DD7-125F-3919-57A51CDD4FDB}"/>
              </a:ext>
            </a:extLst>
          </p:cNvPr>
          <p:cNvGraphicFramePr>
            <a:graphicFrameLocks noChangeAspect="1"/>
          </p:cNvGraphicFramePr>
          <p:nvPr userDrawn="1">
            <p:custDataLst>
              <p:tags r:id="rId3"/>
            </p:custDataLst>
            <p:extLst>
              <p:ext uri="{D42A27DB-BD31-4B8C-83A1-F6EECF244321}">
                <p14:modId xmlns:p14="http://schemas.microsoft.com/office/powerpoint/2010/main" val="3597908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a:extLst>
                          <a:ext uri="{FF2B5EF4-FFF2-40B4-BE49-F238E27FC236}">
                            <a16:creationId xmlns:a16="http://schemas.microsoft.com/office/drawing/2014/main" id="{5DEA8C5A-6DD7-125F-3919-57A51CDD4FD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7CBD7CD-CF19-4C17-B6B2-363FB512E672}"/>
              </a:ext>
            </a:extLst>
          </p:cNvPr>
          <p:cNvSpPr/>
          <p:nvPr userDrawn="1">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9" name="PXP_GRIDLINES" hidden="1">
            <a:extLst>
              <a:ext uri="{FF2B5EF4-FFF2-40B4-BE49-F238E27FC236}">
                <a16:creationId xmlns:a16="http://schemas.microsoft.com/office/drawing/2014/main" id="{70C349BC-435C-6EA8-2ABC-0386B01C838C}"/>
              </a:ext>
            </a:extLst>
          </p:cNvPr>
          <p:cNvGrpSpPr/>
          <p:nvPr userDrawn="1"/>
        </p:nvGrpSpPr>
        <p:grpSpPr>
          <a:xfrm>
            <a:off x="-1" y="0"/>
            <a:ext cx="13371660" cy="7543800"/>
            <a:chOff x="-20924" y="0"/>
            <a:chExt cx="10058400" cy="7543800"/>
          </a:xfrm>
        </p:grpSpPr>
        <p:cxnSp>
          <p:nvCxnSpPr>
            <p:cNvPr id="20" name="Straight Connector 19">
              <a:extLst>
                <a:ext uri="{FF2B5EF4-FFF2-40B4-BE49-F238E27FC236}">
                  <a16:creationId xmlns:a16="http://schemas.microsoft.com/office/drawing/2014/main" id="{FD84C547-1B4C-B89E-74EA-17CE89B33936}"/>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BCE89D0-42A6-DF28-F4BC-598220D712F2}"/>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A0B6338-4617-358B-03B8-A6CDFBDD4ED4}"/>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5096110-B26D-BA38-9898-139E7486F17A}"/>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F257296-9074-8C55-12CD-27DB1CC54E8D}"/>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0E908D-1AED-FC31-4BDB-9A55F9BF213D}"/>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8449523"/>
      </p:ext>
    </p:extLst>
  </p:cSld>
  <p:clrMapOvr>
    <a:masterClrMapping/>
  </p:clrMapOvr>
  <p:extLst>
    <p:ext uri="{DCECCB84-F9BA-43D5-87BE-67443E8EF086}">
      <p15:sldGuideLst xmlns:p15="http://schemas.microsoft.com/office/powerpoint/2012/main">
        <p15:guide id="3" pos="5658">
          <p15:clr>
            <a:srgbClr val="FBAE40"/>
          </p15:clr>
        </p15:guide>
        <p15:guide id="4" pos="2997">
          <p15:clr>
            <a:srgbClr val="FBAE40"/>
          </p15:clr>
        </p15:guide>
        <p15:guide id="5" pos="2784">
          <p15:clr>
            <a:srgbClr val="FBAE40"/>
          </p15:clr>
        </p15:guide>
        <p15:guide id="6" pos="5436">
          <p15:clr>
            <a:srgbClr val="FBAE40"/>
          </p15:clr>
        </p15:guide>
        <p15:guide id="7" orient="horz" pos="890">
          <p15:clr>
            <a:srgbClr val="FBAE40"/>
          </p15:clr>
        </p15:guide>
        <p15:guide id="8" orient="horz" pos="1225">
          <p15:clr>
            <a:srgbClr val="FBAE40"/>
          </p15:clr>
        </p15:guide>
        <p15:guide id="10" orient="horz" pos="39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2x2">
    <p:spTree>
      <p:nvGrpSpPr>
        <p:cNvPr id="1" name=""/>
        <p:cNvGrpSpPr/>
        <p:nvPr/>
      </p:nvGrpSpPr>
      <p:grpSpPr>
        <a:xfrm>
          <a:off x="0" y="0"/>
          <a:ext cx="0" cy="0"/>
          <a:chOff x="0" y="0"/>
          <a:chExt cx="0" cy="0"/>
        </a:xfrm>
      </p:grpSpPr>
      <p:sp>
        <p:nvSpPr>
          <p:cNvPr id="2" name="text" descr="{&quot;templafy&quot;:{&quot;id&quot;:&quot;97ac9bb0-2399-436d-8d4b-da65b9f7b7bf&quot;}}" hidden="1" title="Translations.Draft">
            <a:extLst>
              <a:ext uri="{FF2B5EF4-FFF2-40B4-BE49-F238E27FC236}">
                <a16:creationId xmlns:a16="http://schemas.microsoft.com/office/drawing/2014/main" id="{B0240957-2FE0-E4F0-146C-08CB2911C22F}"/>
              </a:ext>
            </a:extLst>
          </p:cNvPr>
          <p:cNvSpPr txBox="1"/>
          <p:nvPr>
            <p:custDataLst>
              <p:tags r:id="rId1"/>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15" name="Classification Tag" descr="{&quot;templafy&quot;:{&quot;id&quot;:&quot;05f7d8cf-27b5-4394-801c-a527e233face&quot;}}">
            <a:extLst>
              <a:ext uri="{FF2B5EF4-FFF2-40B4-BE49-F238E27FC236}">
                <a16:creationId xmlns:a16="http://schemas.microsoft.com/office/drawing/2014/main" id="{CDCEF013-AC00-9636-4273-DE0159032D2A}"/>
              </a:ext>
            </a:extLst>
          </p:cNvPr>
          <p:cNvSpPr txBox="1"/>
          <p:nvPr userDrawn="1">
            <p:custDataLst>
              <p:tags r:id="rId2"/>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8" name="Title 7" descr="{&quot;templafy&quot;:{&quot;id&quot;:&quot;b3952c06-cef6-4f7d-9c2f-2d097b24ed01&quot;}}">
            <a:extLst>
              <a:ext uri="{FF2B5EF4-FFF2-40B4-BE49-F238E27FC236}">
                <a16:creationId xmlns:a16="http://schemas.microsoft.com/office/drawing/2014/main" id="{486B97CA-38B8-52B1-B35F-D1F3D756E66C}"/>
              </a:ext>
            </a:extLst>
          </p:cNvPr>
          <p:cNvSpPr>
            <a:spLocks noGrp="1"/>
          </p:cNvSpPr>
          <p:nvPr>
            <p:ph type="title" hasCustomPrompt="1"/>
          </p:nvPr>
        </p:nvSpPr>
        <p:spPr>
          <a:xfrm>
            <a:off x="548640" y="548640"/>
            <a:ext cx="12289536" cy="402336"/>
          </a:xfrm>
          <a:prstGeom prst="rect">
            <a:avLst/>
          </a:prstGeom>
        </p:spPr>
        <p:txBody>
          <a:bodyPr lIns="0" tIns="0" rIns="0" bIns="0" anchor="b"/>
          <a:lstStyle>
            <a:lvl1pPr>
              <a:defRPr sz="2800"/>
            </a:lvl1pPr>
          </a:lstStyle>
          <a:p>
            <a:r>
              <a:rPr lang="en-US"/>
              <a:t>&lt;&lt;Page heading&gt;&gt;</a:t>
            </a:r>
          </a:p>
        </p:txBody>
      </p:sp>
      <p:sp>
        <p:nvSpPr>
          <p:cNvPr id="5" name="Text Placeholder 7">
            <a:extLst>
              <a:ext uri="{FF2B5EF4-FFF2-40B4-BE49-F238E27FC236}">
                <a16:creationId xmlns:a16="http://schemas.microsoft.com/office/drawing/2014/main" id="{15CAC1C3-ACF2-40DC-E528-CEA38D15AD1F}"/>
              </a:ext>
            </a:extLst>
          </p:cNvPr>
          <p:cNvSpPr>
            <a:spLocks noGrp="1"/>
          </p:cNvSpPr>
          <p:nvPr>
            <p:ph type="body" sz="quarter" idx="33" hasCustomPrompt="1"/>
          </p:nvPr>
        </p:nvSpPr>
        <p:spPr>
          <a:xfrm>
            <a:off x="548640" y="1005840"/>
            <a:ext cx="12289536" cy="402336"/>
          </a:xfrm>
          <a:prstGeom prst="rect">
            <a:avLst/>
          </a:prstGeom>
        </p:spPr>
        <p:txBody>
          <a:bodyPr/>
          <a:lstStyle>
            <a:lvl1pPr marL="0" indent="0">
              <a:lnSpc>
                <a:spcPct val="100000"/>
              </a:lnSpc>
              <a:spcBef>
                <a:spcPts val="0"/>
              </a:spcBef>
              <a:buNone/>
              <a:defRPr sz="1600"/>
            </a:lvl1pPr>
          </a:lstStyle>
          <a:p>
            <a:pPr lvl="0"/>
            <a:r>
              <a:rPr lang="en-US"/>
              <a:t>Subtitle of the slide</a:t>
            </a:r>
          </a:p>
        </p:txBody>
      </p:sp>
      <p:sp>
        <p:nvSpPr>
          <p:cNvPr id="22" name="Text Placeholder 21" descr="{&quot;templafy&quot;:{&quot;id&quot;:&quot;5b14b455-83b2-427e-9399-f1af0c394b37&quot;}}">
            <a:extLst>
              <a:ext uri="{FF2B5EF4-FFF2-40B4-BE49-F238E27FC236}">
                <a16:creationId xmlns:a16="http://schemas.microsoft.com/office/drawing/2014/main" id="{CB66FEAB-C57C-DD9B-D5ED-13DA55282750}"/>
              </a:ext>
            </a:extLst>
          </p:cNvPr>
          <p:cNvSpPr>
            <a:spLocks noGrp="1"/>
          </p:cNvSpPr>
          <p:nvPr>
            <p:ph type="body" sz="quarter" idx="38" hasCustomPrompt="1"/>
          </p:nvPr>
        </p:nvSpPr>
        <p:spPr>
          <a:xfrm>
            <a:off x="548640" y="1947672"/>
            <a:ext cx="5971032" cy="274320"/>
          </a:xfrm>
        </p:spPr>
        <p:txBody>
          <a:bodyPr/>
          <a:lstStyle>
            <a:lvl1pPr marL="0" indent="0">
              <a:buNone/>
              <a:defRPr sz="1400" b="1"/>
            </a:lvl1pPr>
          </a:lstStyle>
          <a:p>
            <a:pPr lvl="0"/>
            <a:r>
              <a:rPr lang="en-US"/>
              <a:t>Layout heading</a:t>
            </a:r>
          </a:p>
        </p:txBody>
      </p:sp>
      <p:sp>
        <p:nvSpPr>
          <p:cNvPr id="7" name="Content Placeholder 6">
            <a:extLst>
              <a:ext uri="{FF2B5EF4-FFF2-40B4-BE49-F238E27FC236}">
                <a16:creationId xmlns:a16="http://schemas.microsoft.com/office/drawing/2014/main" id="{E414F953-9AE6-052F-D322-6E252871DB0F}"/>
              </a:ext>
            </a:extLst>
          </p:cNvPr>
          <p:cNvSpPr>
            <a:spLocks noGrp="1"/>
          </p:cNvSpPr>
          <p:nvPr>
            <p:ph sz="quarter" idx="34"/>
          </p:nvPr>
        </p:nvSpPr>
        <p:spPr>
          <a:xfrm>
            <a:off x="548640" y="2295144"/>
            <a:ext cx="5971032" cy="1523999"/>
          </a:xfrm>
        </p:spPr>
        <p:txBody>
          <a:bodyPr/>
          <a:lstStyle>
            <a:lvl1pPr>
              <a:defRPr sz="1400"/>
            </a:lvl1pPr>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32" name="Source" descr="{&quot;templafy&quot;:{&quot;id&quot;:&quot;8e350db0-2bb6-486a-b791-3af625ad9459&quot;}}">
            <a:extLst>
              <a:ext uri="{FF2B5EF4-FFF2-40B4-BE49-F238E27FC236}">
                <a16:creationId xmlns:a16="http://schemas.microsoft.com/office/drawing/2014/main" id="{B21280C9-C4FD-62DA-2B39-62DAF6068F4A}"/>
              </a:ext>
            </a:extLst>
          </p:cNvPr>
          <p:cNvSpPr>
            <a:spLocks noGrp="1"/>
          </p:cNvSpPr>
          <p:nvPr>
            <p:ph type="body" sz="quarter" idx="42" hasCustomPrompt="1"/>
          </p:nvPr>
        </p:nvSpPr>
        <p:spPr>
          <a:xfrm>
            <a:off x="548640" y="3891716"/>
            <a:ext cx="5971032" cy="180000"/>
          </a:xfrm>
        </p:spPr>
        <p:txBody>
          <a:bodyPr/>
          <a:lstStyle>
            <a:lvl1pPr marL="0" indent="0">
              <a:buNone/>
              <a:defRPr sz="800" b="0"/>
            </a:lvl1pPr>
          </a:lstStyle>
          <a:p>
            <a:pPr lvl="0"/>
            <a:r>
              <a:rPr lang="en-US"/>
              <a:t>Source</a:t>
            </a:r>
          </a:p>
        </p:txBody>
      </p:sp>
      <p:sp>
        <p:nvSpPr>
          <p:cNvPr id="23" name="Text Placeholder 21" descr="{&quot;templafy&quot;:{&quot;id&quot;:&quot;53f387c1-81b6-4b63-9d44-56d16b1bb67e&quot;}}">
            <a:extLst>
              <a:ext uri="{FF2B5EF4-FFF2-40B4-BE49-F238E27FC236}">
                <a16:creationId xmlns:a16="http://schemas.microsoft.com/office/drawing/2014/main" id="{11BC2886-3A0B-34FE-0289-B69FA65EC84C}"/>
              </a:ext>
            </a:extLst>
          </p:cNvPr>
          <p:cNvSpPr>
            <a:spLocks noGrp="1"/>
          </p:cNvSpPr>
          <p:nvPr>
            <p:ph type="body" sz="quarter" idx="39" hasCustomPrompt="1"/>
          </p:nvPr>
        </p:nvSpPr>
        <p:spPr>
          <a:xfrm>
            <a:off x="6867144" y="1947672"/>
            <a:ext cx="5971032" cy="274320"/>
          </a:xfrm>
        </p:spPr>
        <p:txBody>
          <a:bodyPr/>
          <a:lstStyle>
            <a:lvl1pPr marL="0" indent="0">
              <a:buNone/>
              <a:defRPr sz="1400" b="1"/>
            </a:lvl1pPr>
          </a:lstStyle>
          <a:p>
            <a:pPr lvl="0"/>
            <a:r>
              <a:rPr lang="en-US"/>
              <a:t>Layout heading</a:t>
            </a:r>
          </a:p>
        </p:txBody>
      </p:sp>
      <p:sp>
        <p:nvSpPr>
          <p:cNvPr id="13" name="Content Placeholder 6">
            <a:extLst>
              <a:ext uri="{FF2B5EF4-FFF2-40B4-BE49-F238E27FC236}">
                <a16:creationId xmlns:a16="http://schemas.microsoft.com/office/drawing/2014/main" id="{4AD6BDE4-FDE1-084F-F018-3E287FF8EF0C}"/>
              </a:ext>
            </a:extLst>
          </p:cNvPr>
          <p:cNvSpPr>
            <a:spLocks noGrp="1"/>
          </p:cNvSpPr>
          <p:nvPr>
            <p:ph sz="quarter" idx="35"/>
          </p:nvPr>
        </p:nvSpPr>
        <p:spPr>
          <a:xfrm>
            <a:off x="6867144" y="2295144"/>
            <a:ext cx="5971032" cy="1523999"/>
          </a:xfrm>
        </p:spPr>
        <p:txBody>
          <a:bodyPr/>
          <a:lstStyle>
            <a:lvl1pPr>
              <a:defRPr sz="1400"/>
            </a:lvl1pPr>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33" name="Source" descr="{&quot;templafy&quot;:{&quot;id&quot;:&quot;ea149c89-acd3-4c7f-bbf2-97ac690e3efe&quot;}}">
            <a:extLst>
              <a:ext uri="{FF2B5EF4-FFF2-40B4-BE49-F238E27FC236}">
                <a16:creationId xmlns:a16="http://schemas.microsoft.com/office/drawing/2014/main" id="{CD558E40-7D27-3F34-F973-03814D3A6014}"/>
              </a:ext>
            </a:extLst>
          </p:cNvPr>
          <p:cNvSpPr>
            <a:spLocks noGrp="1"/>
          </p:cNvSpPr>
          <p:nvPr>
            <p:ph type="body" sz="quarter" idx="43" hasCustomPrompt="1"/>
          </p:nvPr>
        </p:nvSpPr>
        <p:spPr>
          <a:xfrm>
            <a:off x="6867144" y="3891716"/>
            <a:ext cx="5971032" cy="180000"/>
          </a:xfrm>
        </p:spPr>
        <p:txBody>
          <a:bodyPr/>
          <a:lstStyle>
            <a:lvl1pPr marL="0" indent="0">
              <a:buNone/>
              <a:defRPr sz="800" b="0"/>
            </a:lvl1pPr>
          </a:lstStyle>
          <a:p>
            <a:pPr lvl="0"/>
            <a:r>
              <a:rPr lang="en-US"/>
              <a:t>Source</a:t>
            </a:r>
          </a:p>
        </p:txBody>
      </p:sp>
      <p:sp>
        <p:nvSpPr>
          <p:cNvPr id="24" name="Text Placeholder 21" descr="{&quot;templafy&quot;:{&quot;id&quot;:&quot;7c9473b7-d085-4aa6-b708-007e33cddb16&quot;}}">
            <a:extLst>
              <a:ext uri="{FF2B5EF4-FFF2-40B4-BE49-F238E27FC236}">
                <a16:creationId xmlns:a16="http://schemas.microsoft.com/office/drawing/2014/main" id="{D3E42FCD-F41A-0D09-3E60-7067CDC0BC64}"/>
              </a:ext>
            </a:extLst>
          </p:cNvPr>
          <p:cNvSpPr>
            <a:spLocks noGrp="1"/>
          </p:cNvSpPr>
          <p:nvPr>
            <p:ph type="body" sz="quarter" idx="40" hasCustomPrompt="1"/>
          </p:nvPr>
        </p:nvSpPr>
        <p:spPr>
          <a:xfrm>
            <a:off x="548640" y="4285465"/>
            <a:ext cx="5971032" cy="274320"/>
          </a:xfrm>
        </p:spPr>
        <p:txBody>
          <a:bodyPr/>
          <a:lstStyle>
            <a:lvl1pPr marL="0" indent="0">
              <a:buNone/>
              <a:defRPr sz="1400" b="1"/>
            </a:lvl1pPr>
          </a:lstStyle>
          <a:p>
            <a:pPr lvl="0"/>
            <a:r>
              <a:rPr lang="en-US"/>
              <a:t>Layout heading</a:t>
            </a:r>
          </a:p>
        </p:txBody>
      </p:sp>
      <p:sp>
        <p:nvSpPr>
          <p:cNvPr id="17" name="Content Placeholder 6">
            <a:extLst>
              <a:ext uri="{FF2B5EF4-FFF2-40B4-BE49-F238E27FC236}">
                <a16:creationId xmlns:a16="http://schemas.microsoft.com/office/drawing/2014/main" id="{C40A3216-F5F4-49D6-2213-3923E8F69066}"/>
              </a:ext>
            </a:extLst>
          </p:cNvPr>
          <p:cNvSpPr>
            <a:spLocks noGrp="1"/>
          </p:cNvSpPr>
          <p:nvPr>
            <p:ph sz="quarter" idx="36"/>
          </p:nvPr>
        </p:nvSpPr>
        <p:spPr>
          <a:xfrm>
            <a:off x="548640" y="4632937"/>
            <a:ext cx="5971032" cy="1523999"/>
          </a:xfrm>
        </p:spPr>
        <p:txBody>
          <a:bodyPr/>
          <a:lstStyle>
            <a:lvl1pPr>
              <a:defRPr sz="1400"/>
            </a:lvl1pPr>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39" name="Source" descr="{&quot;templafy&quot;:{&quot;id&quot;:&quot;95f944f2-63a0-4ae8-bf9c-81823e723edd&quot;}}">
            <a:extLst>
              <a:ext uri="{FF2B5EF4-FFF2-40B4-BE49-F238E27FC236}">
                <a16:creationId xmlns:a16="http://schemas.microsoft.com/office/drawing/2014/main" id="{DA787F34-39AD-C0A7-32E6-2E1ED617B1CA}"/>
              </a:ext>
            </a:extLst>
          </p:cNvPr>
          <p:cNvSpPr>
            <a:spLocks noGrp="1"/>
          </p:cNvSpPr>
          <p:nvPr>
            <p:ph type="body" sz="quarter" idx="44" hasCustomPrompt="1"/>
          </p:nvPr>
        </p:nvSpPr>
        <p:spPr>
          <a:xfrm>
            <a:off x="548640" y="6230376"/>
            <a:ext cx="5971032" cy="180000"/>
          </a:xfrm>
        </p:spPr>
        <p:txBody>
          <a:bodyPr/>
          <a:lstStyle>
            <a:lvl1pPr marL="0" indent="0">
              <a:buNone/>
              <a:defRPr sz="800" b="0"/>
            </a:lvl1pPr>
          </a:lstStyle>
          <a:p>
            <a:pPr lvl="0"/>
            <a:r>
              <a:rPr lang="en-US"/>
              <a:t>Source</a:t>
            </a:r>
          </a:p>
        </p:txBody>
      </p:sp>
      <p:sp>
        <p:nvSpPr>
          <p:cNvPr id="25" name="Text Placeholder 21" descr="{&quot;templafy&quot;:{&quot;id&quot;:&quot;2d7df0b7-3b2f-47c4-a6b5-2dc12a0dbaa8&quot;}}">
            <a:extLst>
              <a:ext uri="{FF2B5EF4-FFF2-40B4-BE49-F238E27FC236}">
                <a16:creationId xmlns:a16="http://schemas.microsoft.com/office/drawing/2014/main" id="{CB669AA3-DBAD-BA50-6C38-CB252DA312FC}"/>
              </a:ext>
            </a:extLst>
          </p:cNvPr>
          <p:cNvSpPr>
            <a:spLocks noGrp="1"/>
          </p:cNvSpPr>
          <p:nvPr>
            <p:ph type="body" sz="quarter" idx="41" hasCustomPrompt="1"/>
          </p:nvPr>
        </p:nvSpPr>
        <p:spPr>
          <a:xfrm>
            <a:off x="6867144" y="4285465"/>
            <a:ext cx="5971032" cy="274320"/>
          </a:xfrm>
        </p:spPr>
        <p:txBody>
          <a:bodyPr/>
          <a:lstStyle>
            <a:lvl1pPr marL="0" indent="0">
              <a:buNone/>
              <a:defRPr sz="1400" b="1"/>
            </a:lvl1pPr>
          </a:lstStyle>
          <a:p>
            <a:pPr lvl="0"/>
            <a:r>
              <a:rPr lang="en-US"/>
              <a:t>Layout heading</a:t>
            </a:r>
          </a:p>
        </p:txBody>
      </p:sp>
      <p:sp>
        <p:nvSpPr>
          <p:cNvPr id="20" name="Content Placeholder 6">
            <a:extLst>
              <a:ext uri="{FF2B5EF4-FFF2-40B4-BE49-F238E27FC236}">
                <a16:creationId xmlns:a16="http://schemas.microsoft.com/office/drawing/2014/main" id="{A40534FC-6A29-5EB2-64FC-B3FF22872327}"/>
              </a:ext>
            </a:extLst>
          </p:cNvPr>
          <p:cNvSpPr>
            <a:spLocks noGrp="1"/>
          </p:cNvSpPr>
          <p:nvPr>
            <p:ph sz="quarter" idx="37"/>
          </p:nvPr>
        </p:nvSpPr>
        <p:spPr>
          <a:xfrm>
            <a:off x="6867144" y="4632937"/>
            <a:ext cx="5971032" cy="1523999"/>
          </a:xfrm>
        </p:spPr>
        <p:txBody>
          <a:bodyPr/>
          <a:lstStyle>
            <a:lvl1pPr>
              <a:defRPr sz="1400"/>
            </a:lvl1pPr>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40" name="Source" descr="{&quot;templafy&quot;:{&quot;id&quot;:&quot;7c134617-7c8e-451c-88d6-e718bfa07796&quot;}}">
            <a:extLst>
              <a:ext uri="{FF2B5EF4-FFF2-40B4-BE49-F238E27FC236}">
                <a16:creationId xmlns:a16="http://schemas.microsoft.com/office/drawing/2014/main" id="{37E815F0-74D0-6D3E-FCCB-E0CA5DF73458}"/>
              </a:ext>
            </a:extLst>
          </p:cNvPr>
          <p:cNvSpPr>
            <a:spLocks noGrp="1"/>
          </p:cNvSpPr>
          <p:nvPr>
            <p:ph type="body" sz="quarter" idx="45" hasCustomPrompt="1"/>
          </p:nvPr>
        </p:nvSpPr>
        <p:spPr>
          <a:xfrm>
            <a:off x="6867144" y="6230376"/>
            <a:ext cx="5971032" cy="180000"/>
          </a:xfrm>
        </p:spPr>
        <p:txBody>
          <a:bodyPr/>
          <a:lstStyle>
            <a:lvl1pPr marL="0" indent="0">
              <a:buNone/>
              <a:defRPr sz="800" b="0"/>
            </a:lvl1pPr>
          </a:lstStyle>
          <a:p>
            <a:pPr lvl="0"/>
            <a:r>
              <a:rPr lang="en-US"/>
              <a:t>Source</a:t>
            </a:r>
          </a:p>
        </p:txBody>
      </p:sp>
      <p:sp>
        <p:nvSpPr>
          <p:cNvPr id="11" name="Footer Placeholder 10">
            <a:extLst>
              <a:ext uri="{FF2B5EF4-FFF2-40B4-BE49-F238E27FC236}">
                <a16:creationId xmlns:a16="http://schemas.microsoft.com/office/drawing/2014/main" id="{B1F95DCE-D4E0-1BAA-EA6B-35DD03F55BF4}"/>
              </a:ext>
            </a:extLst>
          </p:cNvPr>
          <p:cNvSpPr>
            <a:spLocks noGrp="1"/>
          </p:cNvSpPr>
          <p:nvPr>
            <p:ph type="ftr" sz="quarter" idx="28"/>
          </p:nvPr>
        </p:nvSpPr>
        <p:spPr>
          <a:xfrm>
            <a:off x="2520000" y="7153200"/>
            <a:ext cx="9000000" cy="118800"/>
          </a:xfrm>
          <a:prstGeom prst="rect">
            <a:avLst/>
          </a:prstGeom>
        </p:spPr>
        <p:txBody>
          <a:bodyPr vert="horz" lIns="0" tIns="0" rIns="0" bIns="0" rtlCol="0" anchor="b"/>
          <a:lstStyle>
            <a:defPPr>
              <a:defRPr lang="en-US"/>
            </a:defPPr>
            <a:lvl1pPr algn="l" rtl="0" eaLnBrk="0" fontAlgn="base" hangingPunct="0">
              <a:spcBef>
                <a:spcPts val="0"/>
              </a:spcBef>
              <a:spcAft>
                <a:spcPct val="0"/>
              </a:spcAft>
              <a:defRPr lang="en-GB" sz="800" kern="1200">
                <a:solidFill>
                  <a:schemeClr val="tx1"/>
                </a:solidFill>
                <a:latin typeface="+mn-l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endParaRPr lang="en-US"/>
          </a:p>
        </p:txBody>
      </p:sp>
      <p:pic>
        <p:nvPicPr>
          <p:cNvPr id="852683791" name="Logo" descr="{&quot;templafy&quot;:{&quot;id&quot;:&quot;0f1906af-52a2-45e5-a950-52111527993f&quot;}}"/>
          <p:cNvPicPr>
            <a:picLocks noChangeAspect="1"/>
          </p:cNvPicPr>
          <p:nvPr/>
        </p:nvPicPr>
        <p:blipFill>
          <a:blip r:embed="rId6"/>
          <a:stretch>
            <a:fillRect/>
          </a:stretch>
        </p:blipFill>
        <p:spPr>
          <a:xfrm>
            <a:off x="12157200" y="7041600"/>
            <a:ext cx="698731" cy="248400"/>
          </a:xfrm>
          <a:prstGeom prst="rect">
            <a:avLst/>
          </a:prstGeom>
        </p:spPr>
      </p:pic>
      <p:sp>
        <p:nvSpPr>
          <p:cNvPr id="4" name="TemplafyBrandVersion" hidden="1">
            <a:extLst>
              <a:ext uri="{FF2B5EF4-FFF2-40B4-BE49-F238E27FC236}">
                <a16:creationId xmlns:a16="http://schemas.microsoft.com/office/drawing/2014/main" id="{CA18EBDF-72DB-9914-D1AF-41CD4D722D98}"/>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3" name="Object 2" hidden="1">
            <a:extLst>
              <a:ext uri="{FF2B5EF4-FFF2-40B4-BE49-F238E27FC236}">
                <a16:creationId xmlns:a16="http://schemas.microsoft.com/office/drawing/2014/main" id="{0F8A1661-63C0-56BD-A7DF-707E687ED973}"/>
              </a:ext>
            </a:extLst>
          </p:cNvPr>
          <p:cNvGraphicFramePr>
            <a:graphicFrameLocks noChangeAspect="1"/>
          </p:cNvGraphicFramePr>
          <p:nvPr userDrawn="1">
            <p:custDataLst>
              <p:tags r:id="rId3"/>
            </p:custDataLst>
            <p:extLst>
              <p:ext uri="{D42A27DB-BD31-4B8C-83A1-F6EECF244321}">
                <p14:modId xmlns:p14="http://schemas.microsoft.com/office/powerpoint/2010/main" val="45137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a:extLst>
                          <a:ext uri="{FF2B5EF4-FFF2-40B4-BE49-F238E27FC236}">
                            <a16:creationId xmlns:a16="http://schemas.microsoft.com/office/drawing/2014/main" id="{0F8A1661-63C0-56BD-A7DF-707E687ED97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382FD32-5EED-7D1B-E09E-A354CCCACFEA}"/>
              </a:ext>
            </a:extLst>
          </p:cNvPr>
          <p:cNvSpPr/>
          <p:nvPr userDrawn="1">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2" name="PXP_GRIDLINES" hidden="1">
            <a:extLst>
              <a:ext uri="{FF2B5EF4-FFF2-40B4-BE49-F238E27FC236}">
                <a16:creationId xmlns:a16="http://schemas.microsoft.com/office/drawing/2014/main" id="{7365ED12-C871-DE21-8721-353B54E4679D}"/>
              </a:ext>
            </a:extLst>
          </p:cNvPr>
          <p:cNvGrpSpPr/>
          <p:nvPr userDrawn="1"/>
        </p:nvGrpSpPr>
        <p:grpSpPr>
          <a:xfrm>
            <a:off x="-1" y="0"/>
            <a:ext cx="13371660" cy="7543800"/>
            <a:chOff x="-20924" y="0"/>
            <a:chExt cx="10058400" cy="7543800"/>
          </a:xfrm>
        </p:grpSpPr>
        <p:cxnSp>
          <p:nvCxnSpPr>
            <p:cNvPr id="14" name="Straight Connector 13">
              <a:extLst>
                <a:ext uri="{FF2B5EF4-FFF2-40B4-BE49-F238E27FC236}">
                  <a16:creationId xmlns:a16="http://schemas.microsoft.com/office/drawing/2014/main" id="{21333010-1712-13B6-9B83-C591D790D8EA}"/>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140CF30-A04C-45E4-7AEA-4E3C1E3EF71E}"/>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E844B4-3C8F-CC60-1653-7D0510D03E2F}"/>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96D0A35-A12B-19BC-E0F3-317306AA9671}"/>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89A2E8-2C67-DE0C-0875-DCB523E34BD4}"/>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5225BA9-6768-E06C-F368-F9A52B6C4377}"/>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75120609"/>
      </p:ext>
    </p:extLst>
  </p:cSld>
  <p:clrMapOvr>
    <a:masterClrMapping/>
  </p:clrMapOvr>
  <p:extLst>
    <p:ext uri="{DCECCB84-F9BA-43D5-87BE-67443E8EF086}">
      <p15:sldGuideLst xmlns:p15="http://schemas.microsoft.com/office/powerpoint/2012/main">
        <p15:guide id="3" pos="4326">
          <p15:clr>
            <a:srgbClr val="FBAE40"/>
          </p15:clr>
        </p15:guide>
        <p15:guide id="4" pos="4116">
          <p15:clr>
            <a:srgbClr val="FBAE40"/>
          </p15:clr>
        </p15:guide>
        <p15:guide id="5" orient="horz" pos="890">
          <p15:clr>
            <a:srgbClr val="FBAE40"/>
          </p15:clr>
        </p15:guide>
        <p15:guide id="6" orient="horz" pos="1225">
          <p15:clr>
            <a:srgbClr val="FBAE40"/>
          </p15:clr>
        </p15:guide>
        <p15:guide id="8" orient="horz" pos="2694">
          <p15:clr>
            <a:srgbClr val="FBAE40"/>
          </p15:clr>
        </p15:guide>
        <p15:guide id="10" orient="horz" pos="3920">
          <p15:clr>
            <a:srgbClr val="FBAE40"/>
          </p15:clr>
        </p15:guide>
        <p15:guide id="11" orient="horz" pos="257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3x2">
    <p:spTree>
      <p:nvGrpSpPr>
        <p:cNvPr id="1" name=""/>
        <p:cNvGrpSpPr/>
        <p:nvPr/>
      </p:nvGrpSpPr>
      <p:grpSpPr>
        <a:xfrm>
          <a:off x="0" y="0"/>
          <a:ext cx="0" cy="0"/>
          <a:chOff x="0" y="0"/>
          <a:chExt cx="0" cy="0"/>
        </a:xfrm>
      </p:grpSpPr>
      <p:sp>
        <p:nvSpPr>
          <p:cNvPr id="2" name="text" descr="{&quot;templafy&quot;:{&quot;id&quot;:&quot;33fc50f7-0bd6-4bf5-a687-df9752fbb050&quot;}}" hidden="1" title="Translations.Draft">
            <a:extLst>
              <a:ext uri="{FF2B5EF4-FFF2-40B4-BE49-F238E27FC236}">
                <a16:creationId xmlns:a16="http://schemas.microsoft.com/office/drawing/2014/main" id="{F5707D6E-CE39-2B7D-B6D9-D073D660C514}"/>
              </a:ext>
            </a:extLst>
          </p:cNvPr>
          <p:cNvSpPr txBox="1"/>
          <p:nvPr>
            <p:custDataLst>
              <p:tags r:id="rId1"/>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9" name="Classification Tag" descr="{&quot;templafy&quot;:{&quot;id&quot;:&quot;cae89c81-2ccc-466b-9f7c-54e21dd356f4&quot;}}">
            <a:extLst>
              <a:ext uri="{FF2B5EF4-FFF2-40B4-BE49-F238E27FC236}">
                <a16:creationId xmlns:a16="http://schemas.microsoft.com/office/drawing/2014/main" id="{45C6F059-69FC-FA97-426D-5EB82E7D32EA}"/>
              </a:ext>
            </a:extLst>
          </p:cNvPr>
          <p:cNvSpPr txBox="1"/>
          <p:nvPr userDrawn="1">
            <p:custDataLst>
              <p:tags r:id="rId2"/>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12" name="Title 11" descr="{&quot;templafy&quot;:{&quot;id&quot;:&quot;b4db59ba-6ff7-491a-8348-5956b15fff36&quot;}}">
            <a:extLst>
              <a:ext uri="{FF2B5EF4-FFF2-40B4-BE49-F238E27FC236}">
                <a16:creationId xmlns:a16="http://schemas.microsoft.com/office/drawing/2014/main" id="{8225B078-1455-90DA-0B06-9297E2EDDE0D}"/>
              </a:ext>
            </a:extLst>
          </p:cNvPr>
          <p:cNvSpPr>
            <a:spLocks noGrp="1"/>
          </p:cNvSpPr>
          <p:nvPr>
            <p:ph type="title" hasCustomPrompt="1"/>
          </p:nvPr>
        </p:nvSpPr>
        <p:spPr>
          <a:xfrm>
            <a:off x="548640" y="548640"/>
            <a:ext cx="12289536" cy="402336"/>
          </a:xfrm>
          <a:prstGeom prst="rect">
            <a:avLst/>
          </a:prstGeom>
        </p:spPr>
        <p:txBody>
          <a:bodyPr lIns="0" tIns="0" rIns="0" bIns="0" anchor="b"/>
          <a:lstStyle>
            <a:lvl1pPr>
              <a:defRPr sz="2800"/>
            </a:lvl1pPr>
          </a:lstStyle>
          <a:p>
            <a:r>
              <a:rPr lang="en-US"/>
              <a:t>&lt;&lt;Page heading&gt;&gt;</a:t>
            </a:r>
          </a:p>
        </p:txBody>
      </p:sp>
      <p:sp>
        <p:nvSpPr>
          <p:cNvPr id="8" name="Text Placeholder 7">
            <a:extLst>
              <a:ext uri="{FF2B5EF4-FFF2-40B4-BE49-F238E27FC236}">
                <a16:creationId xmlns:a16="http://schemas.microsoft.com/office/drawing/2014/main" id="{5AEB285B-9813-AD0F-A51C-18DBE5219B10}"/>
              </a:ext>
            </a:extLst>
          </p:cNvPr>
          <p:cNvSpPr>
            <a:spLocks noGrp="1"/>
          </p:cNvSpPr>
          <p:nvPr>
            <p:ph type="body" sz="quarter" idx="33" hasCustomPrompt="1"/>
          </p:nvPr>
        </p:nvSpPr>
        <p:spPr>
          <a:xfrm>
            <a:off x="548640" y="1005840"/>
            <a:ext cx="12289536" cy="402336"/>
          </a:xfrm>
          <a:prstGeom prst="rect">
            <a:avLst/>
          </a:prstGeom>
        </p:spPr>
        <p:txBody>
          <a:bodyPr/>
          <a:lstStyle>
            <a:lvl1pPr marL="0" indent="0">
              <a:lnSpc>
                <a:spcPct val="100000"/>
              </a:lnSpc>
              <a:spcBef>
                <a:spcPts val="0"/>
              </a:spcBef>
              <a:buNone/>
              <a:defRPr sz="1600"/>
            </a:lvl1pPr>
          </a:lstStyle>
          <a:p>
            <a:pPr lvl="0"/>
            <a:r>
              <a:rPr lang="en-US"/>
              <a:t>Subtitle of the slide</a:t>
            </a:r>
          </a:p>
        </p:txBody>
      </p:sp>
      <p:sp>
        <p:nvSpPr>
          <p:cNvPr id="35" name="Text Placeholder 34" descr="{&quot;templafy&quot;:{&quot;id&quot;:&quot;a1c4bc96-5a98-4a2e-8142-e8ca9ddeb1da&quot;}}">
            <a:extLst>
              <a:ext uri="{FF2B5EF4-FFF2-40B4-BE49-F238E27FC236}">
                <a16:creationId xmlns:a16="http://schemas.microsoft.com/office/drawing/2014/main" id="{5E2651B5-BCF1-8DDE-E1CC-D827D12FAD0B}"/>
              </a:ext>
            </a:extLst>
          </p:cNvPr>
          <p:cNvSpPr>
            <a:spLocks noGrp="1"/>
          </p:cNvSpPr>
          <p:nvPr>
            <p:ph type="body" sz="quarter" idx="48" hasCustomPrompt="1"/>
          </p:nvPr>
        </p:nvSpPr>
        <p:spPr>
          <a:xfrm>
            <a:off x="548640" y="1947672"/>
            <a:ext cx="3858768" cy="274320"/>
          </a:xfrm>
        </p:spPr>
        <p:txBody>
          <a:bodyPr/>
          <a:lstStyle>
            <a:lvl1pPr marL="0" indent="0">
              <a:buNone/>
              <a:defRPr sz="1400" b="1"/>
            </a:lvl1pPr>
          </a:lstStyle>
          <a:p>
            <a:pPr lvl="0"/>
            <a:r>
              <a:rPr lang="en-US"/>
              <a:t>Layout heading</a:t>
            </a:r>
          </a:p>
        </p:txBody>
      </p:sp>
      <p:sp>
        <p:nvSpPr>
          <p:cNvPr id="11" name="Content Placeholder 10">
            <a:extLst>
              <a:ext uri="{FF2B5EF4-FFF2-40B4-BE49-F238E27FC236}">
                <a16:creationId xmlns:a16="http://schemas.microsoft.com/office/drawing/2014/main" id="{6F123901-3E85-F1BC-A7FD-3F7D3CAD293D}"/>
              </a:ext>
            </a:extLst>
          </p:cNvPr>
          <p:cNvSpPr>
            <a:spLocks noGrp="1"/>
          </p:cNvSpPr>
          <p:nvPr>
            <p:ph sz="quarter" idx="42"/>
          </p:nvPr>
        </p:nvSpPr>
        <p:spPr>
          <a:xfrm>
            <a:off x="548640" y="2295144"/>
            <a:ext cx="3858768" cy="1524000"/>
          </a:xfrm>
        </p:spPr>
        <p:txBody>
          <a:bodyPr/>
          <a:lstStyle>
            <a:lvl1pPr>
              <a:defRPr sz="1400"/>
            </a:lvl1pPr>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48" name="Source" descr="{&quot;templafy&quot;:{&quot;id&quot;:&quot;b076cc10-bf15-4732-a189-82bef97f9529&quot;}}">
            <a:extLst>
              <a:ext uri="{FF2B5EF4-FFF2-40B4-BE49-F238E27FC236}">
                <a16:creationId xmlns:a16="http://schemas.microsoft.com/office/drawing/2014/main" id="{17104FF0-96F7-7FB2-8C57-5FE689D4935C}"/>
              </a:ext>
            </a:extLst>
          </p:cNvPr>
          <p:cNvSpPr>
            <a:spLocks noGrp="1"/>
          </p:cNvSpPr>
          <p:nvPr>
            <p:ph type="body" sz="quarter" idx="54" hasCustomPrompt="1"/>
          </p:nvPr>
        </p:nvSpPr>
        <p:spPr>
          <a:xfrm>
            <a:off x="548640" y="3891104"/>
            <a:ext cx="3858768" cy="180000"/>
          </a:xfrm>
        </p:spPr>
        <p:txBody>
          <a:bodyPr/>
          <a:lstStyle>
            <a:lvl1pPr marL="0" indent="0">
              <a:buNone/>
              <a:defRPr sz="800" b="0"/>
            </a:lvl1pPr>
          </a:lstStyle>
          <a:p>
            <a:pPr lvl="0"/>
            <a:r>
              <a:rPr lang="en-US"/>
              <a:t>Source</a:t>
            </a:r>
          </a:p>
        </p:txBody>
      </p:sp>
      <p:sp>
        <p:nvSpPr>
          <p:cNvPr id="37" name="Text Placeholder 34" descr="{&quot;templafy&quot;:{&quot;id&quot;:&quot;49d6ac0a-c452-4384-a964-3ad974b43233&quot;}}">
            <a:extLst>
              <a:ext uri="{FF2B5EF4-FFF2-40B4-BE49-F238E27FC236}">
                <a16:creationId xmlns:a16="http://schemas.microsoft.com/office/drawing/2014/main" id="{4B6EC023-708B-D58C-15D9-7A533A55CCF7}"/>
              </a:ext>
            </a:extLst>
          </p:cNvPr>
          <p:cNvSpPr>
            <a:spLocks noGrp="1"/>
          </p:cNvSpPr>
          <p:nvPr>
            <p:ph type="body" sz="quarter" idx="49" hasCustomPrompt="1"/>
          </p:nvPr>
        </p:nvSpPr>
        <p:spPr>
          <a:xfrm>
            <a:off x="4767157" y="1947672"/>
            <a:ext cx="3858768" cy="274320"/>
          </a:xfrm>
        </p:spPr>
        <p:txBody>
          <a:bodyPr/>
          <a:lstStyle>
            <a:lvl1pPr marL="0" indent="0">
              <a:buNone/>
              <a:defRPr sz="1400" b="1"/>
            </a:lvl1pPr>
          </a:lstStyle>
          <a:p>
            <a:pPr lvl="0"/>
            <a:r>
              <a:rPr lang="en-US"/>
              <a:t>Layout heading</a:t>
            </a:r>
          </a:p>
        </p:txBody>
      </p:sp>
      <p:sp>
        <p:nvSpPr>
          <p:cNvPr id="13" name="Content Placeholder 10">
            <a:extLst>
              <a:ext uri="{FF2B5EF4-FFF2-40B4-BE49-F238E27FC236}">
                <a16:creationId xmlns:a16="http://schemas.microsoft.com/office/drawing/2014/main" id="{3E305356-2B43-8DF2-82DC-23767F0E6EB6}"/>
              </a:ext>
            </a:extLst>
          </p:cNvPr>
          <p:cNvSpPr>
            <a:spLocks noGrp="1"/>
          </p:cNvSpPr>
          <p:nvPr>
            <p:ph sz="quarter" idx="43"/>
          </p:nvPr>
        </p:nvSpPr>
        <p:spPr>
          <a:xfrm>
            <a:off x="4767157" y="2295144"/>
            <a:ext cx="3858768" cy="1524000"/>
          </a:xfrm>
        </p:spPr>
        <p:txBody>
          <a:bodyPr/>
          <a:lstStyle>
            <a:lvl1pPr>
              <a:defRPr sz="1400"/>
            </a:lvl1pPr>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49" name="Source" descr="{&quot;templafy&quot;:{&quot;id&quot;:&quot;d37d7b32-9d4e-45d0-8cf1-c46861fdd84c&quot;}}">
            <a:extLst>
              <a:ext uri="{FF2B5EF4-FFF2-40B4-BE49-F238E27FC236}">
                <a16:creationId xmlns:a16="http://schemas.microsoft.com/office/drawing/2014/main" id="{CFFE224C-3CDD-B59C-DE29-65D3B67DA66C}"/>
              </a:ext>
            </a:extLst>
          </p:cNvPr>
          <p:cNvSpPr>
            <a:spLocks noGrp="1"/>
          </p:cNvSpPr>
          <p:nvPr>
            <p:ph type="body" sz="quarter" idx="55" hasCustomPrompt="1"/>
          </p:nvPr>
        </p:nvSpPr>
        <p:spPr>
          <a:xfrm>
            <a:off x="4767157" y="3891104"/>
            <a:ext cx="3858768" cy="180000"/>
          </a:xfrm>
        </p:spPr>
        <p:txBody>
          <a:bodyPr/>
          <a:lstStyle>
            <a:lvl1pPr marL="0" indent="0">
              <a:buNone/>
              <a:defRPr sz="800" b="0"/>
            </a:lvl1pPr>
          </a:lstStyle>
          <a:p>
            <a:pPr lvl="0"/>
            <a:r>
              <a:rPr lang="en-US"/>
              <a:t>Source</a:t>
            </a:r>
          </a:p>
        </p:txBody>
      </p:sp>
      <p:sp>
        <p:nvSpPr>
          <p:cNvPr id="42" name="Text Placeholder 34" descr="{&quot;templafy&quot;:{&quot;id&quot;:&quot;f2cc5415-6379-43e4-968a-efa508d2d704&quot;}}">
            <a:extLst>
              <a:ext uri="{FF2B5EF4-FFF2-40B4-BE49-F238E27FC236}">
                <a16:creationId xmlns:a16="http://schemas.microsoft.com/office/drawing/2014/main" id="{0E2F80C2-F7CB-1E6D-4B84-4578A6B1CFB8}"/>
              </a:ext>
            </a:extLst>
          </p:cNvPr>
          <p:cNvSpPr>
            <a:spLocks noGrp="1"/>
          </p:cNvSpPr>
          <p:nvPr>
            <p:ph type="body" sz="quarter" idx="50" hasCustomPrompt="1"/>
          </p:nvPr>
        </p:nvSpPr>
        <p:spPr>
          <a:xfrm>
            <a:off x="8989800" y="1947672"/>
            <a:ext cx="3858768" cy="274320"/>
          </a:xfrm>
        </p:spPr>
        <p:txBody>
          <a:bodyPr/>
          <a:lstStyle>
            <a:lvl1pPr marL="0" indent="0">
              <a:buNone/>
              <a:defRPr sz="1400" b="1"/>
            </a:lvl1pPr>
          </a:lstStyle>
          <a:p>
            <a:pPr lvl="0"/>
            <a:r>
              <a:rPr lang="en-US"/>
              <a:t>Layout heading</a:t>
            </a:r>
          </a:p>
        </p:txBody>
      </p:sp>
      <p:sp>
        <p:nvSpPr>
          <p:cNvPr id="15" name="Content Placeholder 10">
            <a:extLst>
              <a:ext uri="{FF2B5EF4-FFF2-40B4-BE49-F238E27FC236}">
                <a16:creationId xmlns:a16="http://schemas.microsoft.com/office/drawing/2014/main" id="{43AC713B-1BB8-CD3F-C6D4-49F2EF9539E4}"/>
              </a:ext>
            </a:extLst>
          </p:cNvPr>
          <p:cNvSpPr>
            <a:spLocks noGrp="1"/>
          </p:cNvSpPr>
          <p:nvPr>
            <p:ph sz="quarter" idx="44"/>
          </p:nvPr>
        </p:nvSpPr>
        <p:spPr>
          <a:xfrm>
            <a:off x="8989800" y="2295144"/>
            <a:ext cx="3858768" cy="1524000"/>
          </a:xfrm>
        </p:spPr>
        <p:txBody>
          <a:bodyPr/>
          <a:lstStyle>
            <a:lvl1pPr>
              <a:defRPr sz="1400"/>
            </a:lvl1pPr>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59" name="Source" descr="{&quot;templafy&quot;:{&quot;id&quot;:&quot;157ea58c-1979-452d-b9fe-e3d2f7a1f1d2&quot;}}">
            <a:extLst>
              <a:ext uri="{FF2B5EF4-FFF2-40B4-BE49-F238E27FC236}">
                <a16:creationId xmlns:a16="http://schemas.microsoft.com/office/drawing/2014/main" id="{9AE19579-9372-30DA-FB0C-A2C29F7B1F16}"/>
              </a:ext>
            </a:extLst>
          </p:cNvPr>
          <p:cNvSpPr>
            <a:spLocks noGrp="1"/>
          </p:cNvSpPr>
          <p:nvPr>
            <p:ph type="body" sz="quarter" idx="56" hasCustomPrompt="1"/>
          </p:nvPr>
        </p:nvSpPr>
        <p:spPr>
          <a:xfrm>
            <a:off x="8989800" y="3891104"/>
            <a:ext cx="3858768" cy="180000"/>
          </a:xfrm>
        </p:spPr>
        <p:txBody>
          <a:bodyPr/>
          <a:lstStyle>
            <a:lvl1pPr marL="0" indent="0">
              <a:buNone/>
              <a:defRPr sz="800" b="0"/>
            </a:lvl1pPr>
          </a:lstStyle>
          <a:p>
            <a:pPr lvl="0"/>
            <a:r>
              <a:rPr lang="en-US"/>
              <a:t>Source</a:t>
            </a:r>
          </a:p>
        </p:txBody>
      </p:sp>
      <p:sp>
        <p:nvSpPr>
          <p:cNvPr id="43" name="Text Placeholder 34" descr="{&quot;templafy&quot;:{&quot;id&quot;:&quot;1d4cceac-56ab-4ef5-b92d-afe1270bbfd8&quot;}}">
            <a:extLst>
              <a:ext uri="{FF2B5EF4-FFF2-40B4-BE49-F238E27FC236}">
                <a16:creationId xmlns:a16="http://schemas.microsoft.com/office/drawing/2014/main" id="{0D0A4ED4-4D3D-5EA1-DE91-CE29482CBB45}"/>
              </a:ext>
            </a:extLst>
          </p:cNvPr>
          <p:cNvSpPr>
            <a:spLocks noGrp="1"/>
          </p:cNvSpPr>
          <p:nvPr>
            <p:ph type="body" sz="quarter" idx="51" hasCustomPrompt="1"/>
          </p:nvPr>
        </p:nvSpPr>
        <p:spPr>
          <a:xfrm>
            <a:off x="548640" y="4285465"/>
            <a:ext cx="3858768" cy="274320"/>
          </a:xfrm>
        </p:spPr>
        <p:txBody>
          <a:bodyPr/>
          <a:lstStyle>
            <a:lvl1pPr marL="0" indent="0">
              <a:buNone/>
              <a:defRPr sz="1400" b="1"/>
            </a:lvl1pPr>
          </a:lstStyle>
          <a:p>
            <a:pPr lvl="0"/>
            <a:r>
              <a:rPr lang="en-US"/>
              <a:t>Layout heading</a:t>
            </a:r>
          </a:p>
        </p:txBody>
      </p:sp>
      <p:sp>
        <p:nvSpPr>
          <p:cNvPr id="17" name="Content Placeholder 10">
            <a:extLst>
              <a:ext uri="{FF2B5EF4-FFF2-40B4-BE49-F238E27FC236}">
                <a16:creationId xmlns:a16="http://schemas.microsoft.com/office/drawing/2014/main" id="{8E1ECB84-8919-BA66-49F7-F9E027019CDD}"/>
              </a:ext>
            </a:extLst>
          </p:cNvPr>
          <p:cNvSpPr>
            <a:spLocks noGrp="1"/>
          </p:cNvSpPr>
          <p:nvPr>
            <p:ph sz="quarter" idx="45"/>
          </p:nvPr>
        </p:nvSpPr>
        <p:spPr>
          <a:xfrm>
            <a:off x="548640" y="4632937"/>
            <a:ext cx="3858768" cy="1524000"/>
          </a:xfrm>
        </p:spPr>
        <p:txBody>
          <a:bodyPr/>
          <a:lstStyle>
            <a:lvl1pPr>
              <a:defRPr sz="1400"/>
            </a:lvl1pPr>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60" name="Source" descr="{&quot;templafy&quot;:{&quot;id&quot;:&quot;644efb10-eb89-4bd6-9ce1-cee674553a2d&quot;}}">
            <a:extLst>
              <a:ext uri="{FF2B5EF4-FFF2-40B4-BE49-F238E27FC236}">
                <a16:creationId xmlns:a16="http://schemas.microsoft.com/office/drawing/2014/main" id="{3BC325B4-C0F7-6159-62E1-036180DD25CB}"/>
              </a:ext>
            </a:extLst>
          </p:cNvPr>
          <p:cNvSpPr>
            <a:spLocks noGrp="1"/>
          </p:cNvSpPr>
          <p:nvPr>
            <p:ph type="body" sz="quarter" idx="57" hasCustomPrompt="1"/>
          </p:nvPr>
        </p:nvSpPr>
        <p:spPr>
          <a:xfrm>
            <a:off x="548640" y="6230376"/>
            <a:ext cx="3858768" cy="180000"/>
          </a:xfrm>
        </p:spPr>
        <p:txBody>
          <a:bodyPr/>
          <a:lstStyle>
            <a:lvl1pPr marL="0" indent="0">
              <a:buNone/>
              <a:defRPr sz="800" b="0"/>
            </a:lvl1pPr>
          </a:lstStyle>
          <a:p>
            <a:pPr lvl="0"/>
            <a:r>
              <a:rPr lang="en-US"/>
              <a:t>Source</a:t>
            </a:r>
          </a:p>
        </p:txBody>
      </p:sp>
      <p:sp>
        <p:nvSpPr>
          <p:cNvPr id="44" name="Text Placeholder 34" descr="{&quot;templafy&quot;:{&quot;id&quot;:&quot;b4b02385-fce2-47e1-9144-2dd5ded6603e&quot;}}">
            <a:extLst>
              <a:ext uri="{FF2B5EF4-FFF2-40B4-BE49-F238E27FC236}">
                <a16:creationId xmlns:a16="http://schemas.microsoft.com/office/drawing/2014/main" id="{0A8FFFCF-D811-23F7-1462-D1DC4218BC8B}"/>
              </a:ext>
            </a:extLst>
          </p:cNvPr>
          <p:cNvSpPr>
            <a:spLocks noGrp="1"/>
          </p:cNvSpPr>
          <p:nvPr>
            <p:ph type="body" sz="quarter" idx="52" hasCustomPrompt="1"/>
          </p:nvPr>
        </p:nvSpPr>
        <p:spPr>
          <a:xfrm>
            <a:off x="4767157" y="4285465"/>
            <a:ext cx="3858768" cy="274320"/>
          </a:xfrm>
        </p:spPr>
        <p:txBody>
          <a:bodyPr/>
          <a:lstStyle>
            <a:lvl1pPr marL="0" indent="0">
              <a:buNone/>
              <a:defRPr sz="1400" b="1"/>
            </a:lvl1pPr>
          </a:lstStyle>
          <a:p>
            <a:pPr lvl="0"/>
            <a:r>
              <a:rPr lang="en-US"/>
              <a:t>Layout heading</a:t>
            </a:r>
          </a:p>
        </p:txBody>
      </p:sp>
      <p:sp>
        <p:nvSpPr>
          <p:cNvPr id="20" name="Content Placeholder 10">
            <a:extLst>
              <a:ext uri="{FF2B5EF4-FFF2-40B4-BE49-F238E27FC236}">
                <a16:creationId xmlns:a16="http://schemas.microsoft.com/office/drawing/2014/main" id="{EAE32859-885C-0A4B-29B1-F0D28C5BC56E}"/>
              </a:ext>
            </a:extLst>
          </p:cNvPr>
          <p:cNvSpPr>
            <a:spLocks noGrp="1"/>
          </p:cNvSpPr>
          <p:nvPr>
            <p:ph sz="quarter" idx="46"/>
          </p:nvPr>
        </p:nvSpPr>
        <p:spPr>
          <a:xfrm>
            <a:off x="4767157" y="4632937"/>
            <a:ext cx="3858768" cy="1524000"/>
          </a:xfrm>
        </p:spPr>
        <p:txBody>
          <a:bodyPr/>
          <a:lstStyle>
            <a:lvl1pPr>
              <a:defRPr sz="1400"/>
            </a:lvl1pPr>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61" name="Source" descr="{&quot;templafy&quot;:{&quot;id&quot;:&quot;5ef483a1-9d96-4b89-af97-895625c3b5b2&quot;}}">
            <a:extLst>
              <a:ext uri="{FF2B5EF4-FFF2-40B4-BE49-F238E27FC236}">
                <a16:creationId xmlns:a16="http://schemas.microsoft.com/office/drawing/2014/main" id="{BE5F5B35-43F6-A02F-0379-AE468A934CCB}"/>
              </a:ext>
            </a:extLst>
          </p:cNvPr>
          <p:cNvSpPr>
            <a:spLocks noGrp="1"/>
          </p:cNvSpPr>
          <p:nvPr>
            <p:ph type="body" sz="quarter" idx="58" hasCustomPrompt="1"/>
          </p:nvPr>
        </p:nvSpPr>
        <p:spPr>
          <a:xfrm>
            <a:off x="4767157" y="6230376"/>
            <a:ext cx="3858768" cy="180000"/>
          </a:xfrm>
        </p:spPr>
        <p:txBody>
          <a:bodyPr/>
          <a:lstStyle>
            <a:lvl1pPr marL="0" indent="0">
              <a:buNone/>
              <a:defRPr sz="800" b="0"/>
            </a:lvl1pPr>
          </a:lstStyle>
          <a:p>
            <a:pPr lvl="0"/>
            <a:r>
              <a:rPr lang="en-US"/>
              <a:t>Source</a:t>
            </a:r>
          </a:p>
        </p:txBody>
      </p:sp>
      <p:sp>
        <p:nvSpPr>
          <p:cNvPr id="45" name="Text Placeholder 34" descr="{&quot;templafy&quot;:{&quot;id&quot;:&quot;89b37c7b-6077-4f54-bdbe-e65746ccbdd8&quot;}}">
            <a:extLst>
              <a:ext uri="{FF2B5EF4-FFF2-40B4-BE49-F238E27FC236}">
                <a16:creationId xmlns:a16="http://schemas.microsoft.com/office/drawing/2014/main" id="{38CC5660-3C67-DCA5-8FBD-1A29DFCB9023}"/>
              </a:ext>
            </a:extLst>
          </p:cNvPr>
          <p:cNvSpPr>
            <a:spLocks noGrp="1"/>
          </p:cNvSpPr>
          <p:nvPr>
            <p:ph type="body" sz="quarter" idx="53" hasCustomPrompt="1"/>
          </p:nvPr>
        </p:nvSpPr>
        <p:spPr>
          <a:xfrm>
            <a:off x="8989800" y="4285465"/>
            <a:ext cx="3858768" cy="274320"/>
          </a:xfrm>
        </p:spPr>
        <p:txBody>
          <a:bodyPr/>
          <a:lstStyle>
            <a:lvl1pPr marL="0" indent="0">
              <a:buNone/>
              <a:defRPr sz="1400" b="1"/>
            </a:lvl1pPr>
          </a:lstStyle>
          <a:p>
            <a:pPr lvl="0"/>
            <a:r>
              <a:rPr lang="en-US"/>
              <a:t>Layout heading</a:t>
            </a:r>
          </a:p>
        </p:txBody>
      </p:sp>
      <p:sp>
        <p:nvSpPr>
          <p:cNvPr id="21" name="Content Placeholder 10">
            <a:extLst>
              <a:ext uri="{FF2B5EF4-FFF2-40B4-BE49-F238E27FC236}">
                <a16:creationId xmlns:a16="http://schemas.microsoft.com/office/drawing/2014/main" id="{33CADCD4-A6B0-0090-AE83-548DE3829625}"/>
              </a:ext>
            </a:extLst>
          </p:cNvPr>
          <p:cNvSpPr>
            <a:spLocks noGrp="1"/>
          </p:cNvSpPr>
          <p:nvPr>
            <p:ph sz="quarter" idx="47"/>
          </p:nvPr>
        </p:nvSpPr>
        <p:spPr>
          <a:xfrm>
            <a:off x="8989800" y="4632937"/>
            <a:ext cx="3858768" cy="1524000"/>
          </a:xfrm>
        </p:spPr>
        <p:txBody>
          <a:bodyPr/>
          <a:lstStyle>
            <a:lvl1pPr>
              <a:defRPr sz="1400"/>
            </a:lvl1pPr>
            <a:lvl2pPr>
              <a:defRPr sz="1400"/>
            </a:lvl2pPr>
            <a:lvl3pPr>
              <a:defRPr sz="1400"/>
            </a:lvl3pPr>
          </a:lstStyle>
          <a:p>
            <a:pPr lvl="0"/>
            <a:r>
              <a:rPr lang="en-US"/>
              <a:t>Click to edit Master text styles</a:t>
            </a:r>
          </a:p>
          <a:p>
            <a:pPr lvl="1"/>
            <a:r>
              <a:rPr lang="en-US"/>
              <a:t>Second level</a:t>
            </a:r>
          </a:p>
          <a:p>
            <a:pPr lvl="2"/>
            <a:r>
              <a:rPr lang="en-US"/>
              <a:t>Third level</a:t>
            </a:r>
          </a:p>
        </p:txBody>
      </p:sp>
      <p:sp>
        <p:nvSpPr>
          <p:cNvPr id="62" name="Source" descr="{&quot;templafy&quot;:{&quot;id&quot;:&quot;db90605c-a801-4669-83be-2b5c04dfefe4&quot;}}">
            <a:extLst>
              <a:ext uri="{FF2B5EF4-FFF2-40B4-BE49-F238E27FC236}">
                <a16:creationId xmlns:a16="http://schemas.microsoft.com/office/drawing/2014/main" id="{6590F973-C1A2-47BD-E219-F851B8EF6297}"/>
              </a:ext>
            </a:extLst>
          </p:cNvPr>
          <p:cNvSpPr>
            <a:spLocks noGrp="1"/>
          </p:cNvSpPr>
          <p:nvPr>
            <p:ph type="body" sz="quarter" idx="59" hasCustomPrompt="1"/>
          </p:nvPr>
        </p:nvSpPr>
        <p:spPr>
          <a:xfrm>
            <a:off x="8989800" y="6230376"/>
            <a:ext cx="3858768" cy="180000"/>
          </a:xfrm>
        </p:spPr>
        <p:txBody>
          <a:bodyPr/>
          <a:lstStyle>
            <a:lvl1pPr marL="0" indent="0">
              <a:buNone/>
              <a:defRPr sz="800" b="0"/>
            </a:lvl1pPr>
          </a:lstStyle>
          <a:p>
            <a:pPr lvl="0"/>
            <a:r>
              <a:rPr lang="en-US"/>
              <a:t>Source</a:t>
            </a:r>
          </a:p>
        </p:txBody>
      </p:sp>
      <p:sp>
        <p:nvSpPr>
          <p:cNvPr id="7" name="Footer Placeholder 6">
            <a:extLst>
              <a:ext uri="{FF2B5EF4-FFF2-40B4-BE49-F238E27FC236}">
                <a16:creationId xmlns:a16="http://schemas.microsoft.com/office/drawing/2014/main" id="{EE9CC7BB-15D6-2F7A-C949-F2D619F014EA}"/>
              </a:ext>
            </a:extLst>
          </p:cNvPr>
          <p:cNvSpPr>
            <a:spLocks noGrp="1"/>
          </p:cNvSpPr>
          <p:nvPr>
            <p:ph type="ftr" sz="quarter" idx="40"/>
          </p:nvPr>
        </p:nvSpPr>
        <p:spPr>
          <a:xfrm>
            <a:off x="2520000" y="7153200"/>
            <a:ext cx="9000000" cy="118800"/>
          </a:xfrm>
          <a:prstGeom prst="rect">
            <a:avLst/>
          </a:prstGeom>
        </p:spPr>
        <p:txBody>
          <a:bodyPr vert="horz" lIns="0" tIns="0" rIns="0" bIns="0" rtlCol="0" anchor="b"/>
          <a:lstStyle>
            <a:defPPr>
              <a:defRPr lang="en-US"/>
            </a:defPPr>
            <a:lvl1pPr algn="l" rtl="0" eaLnBrk="0" fontAlgn="base" hangingPunct="0">
              <a:spcBef>
                <a:spcPts val="0"/>
              </a:spcBef>
              <a:spcAft>
                <a:spcPct val="0"/>
              </a:spcAft>
              <a:defRPr lang="en-GB" sz="800" kern="1200">
                <a:solidFill>
                  <a:schemeClr val="tx1"/>
                </a:solidFill>
                <a:latin typeface="+mn-l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endParaRPr lang="en-US"/>
          </a:p>
        </p:txBody>
      </p:sp>
      <p:pic>
        <p:nvPicPr>
          <p:cNvPr id="2011728316" name="Logo" descr="{&quot;templafy&quot;:{&quot;id&quot;:&quot;6a2b31fb-5467-4ec2-9dcb-3916d2e5e0c5&quot;}}"/>
          <p:cNvPicPr>
            <a:picLocks noChangeAspect="1"/>
          </p:cNvPicPr>
          <p:nvPr/>
        </p:nvPicPr>
        <p:blipFill>
          <a:blip r:embed="rId6"/>
          <a:stretch>
            <a:fillRect/>
          </a:stretch>
        </p:blipFill>
        <p:spPr>
          <a:xfrm>
            <a:off x="12157200" y="7041600"/>
            <a:ext cx="698731" cy="248400"/>
          </a:xfrm>
          <a:prstGeom prst="rect">
            <a:avLst/>
          </a:prstGeom>
        </p:spPr>
      </p:pic>
      <p:sp>
        <p:nvSpPr>
          <p:cNvPr id="4" name="TemplafyBrandVersion" hidden="1">
            <a:extLst>
              <a:ext uri="{FF2B5EF4-FFF2-40B4-BE49-F238E27FC236}">
                <a16:creationId xmlns:a16="http://schemas.microsoft.com/office/drawing/2014/main" id="{C88CC4EE-3922-72AD-D674-8A142F90A728}"/>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3" name="Object 2" hidden="1">
            <a:extLst>
              <a:ext uri="{FF2B5EF4-FFF2-40B4-BE49-F238E27FC236}">
                <a16:creationId xmlns:a16="http://schemas.microsoft.com/office/drawing/2014/main" id="{F4E5A807-EF96-359B-684A-C0B18DD9C26A}"/>
              </a:ext>
            </a:extLst>
          </p:cNvPr>
          <p:cNvGraphicFramePr>
            <a:graphicFrameLocks noChangeAspect="1"/>
          </p:cNvGraphicFramePr>
          <p:nvPr userDrawn="1">
            <p:custDataLst>
              <p:tags r:id="rId3"/>
            </p:custDataLst>
            <p:extLst>
              <p:ext uri="{D42A27DB-BD31-4B8C-83A1-F6EECF244321}">
                <p14:modId xmlns:p14="http://schemas.microsoft.com/office/powerpoint/2010/main" val="5261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a:extLst>
                          <a:ext uri="{FF2B5EF4-FFF2-40B4-BE49-F238E27FC236}">
                            <a16:creationId xmlns:a16="http://schemas.microsoft.com/office/drawing/2014/main" id="{F4E5A807-EF96-359B-684A-C0B18DD9C2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A9714E5-B7B3-D88F-B45F-159BB8FFF534}"/>
              </a:ext>
            </a:extLst>
          </p:cNvPr>
          <p:cNvSpPr/>
          <p:nvPr userDrawn="1">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4" name="PXP_GRIDLINES" hidden="1">
            <a:extLst>
              <a:ext uri="{FF2B5EF4-FFF2-40B4-BE49-F238E27FC236}">
                <a16:creationId xmlns:a16="http://schemas.microsoft.com/office/drawing/2014/main" id="{6A01951A-6C11-DE18-751D-A9A6A76BE931}"/>
              </a:ext>
            </a:extLst>
          </p:cNvPr>
          <p:cNvGrpSpPr/>
          <p:nvPr userDrawn="1"/>
        </p:nvGrpSpPr>
        <p:grpSpPr>
          <a:xfrm>
            <a:off x="-1" y="0"/>
            <a:ext cx="13371660" cy="7543800"/>
            <a:chOff x="-20924" y="0"/>
            <a:chExt cx="10058400" cy="7543800"/>
          </a:xfrm>
        </p:grpSpPr>
        <p:cxnSp>
          <p:nvCxnSpPr>
            <p:cNvPr id="16" name="Straight Connector 15">
              <a:extLst>
                <a:ext uri="{FF2B5EF4-FFF2-40B4-BE49-F238E27FC236}">
                  <a16:creationId xmlns:a16="http://schemas.microsoft.com/office/drawing/2014/main" id="{6C59F1DE-7B45-8B98-9BEE-050486AF6661}"/>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D333CB-E8EC-C105-0B58-3FA4CED04AEE}"/>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5CF2D0F-18D9-8470-49A0-B2BACA4CF00B}"/>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EC838C3-02F2-0958-9734-51A10D16C35F}"/>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9BAFCE-1DFC-AA9B-1092-B01C2911A654}"/>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FCCF6E8-4668-0C37-A359-BE77A69E380C}"/>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2195547"/>
      </p:ext>
    </p:extLst>
  </p:cSld>
  <p:clrMapOvr>
    <a:masterClrMapping/>
  </p:clrMapOvr>
  <p:extLst>
    <p:ext uri="{DCECCB84-F9BA-43D5-87BE-67443E8EF086}">
      <p15:sldGuideLst xmlns:p15="http://schemas.microsoft.com/office/powerpoint/2012/main">
        <p15:guide id="3" pos="5658">
          <p15:clr>
            <a:srgbClr val="FBAE40"/>
          </p15:clr>
        </p15:guide>
        <p15:guide id="4" pos="5436">
          <p15:clr>
            <a:srgbClr val="FBAE40"/>
          </p15:clr>
        </p15:guide>
        <p15:guide id="5" pos="2997">
          <p15:clr>
            <a:srgbClr val="FBAE40"/>
          </p15:clr>
        </p15:guide>
        <p15:guide id="6" pos="2782">
          <p15:clr>
            <a:srgbClr val="FBAE40"/>
          </p15:clr>
        </p15:guide>
        <p15:guide id="7" orient="horz" pos="890">
          <p15:clr>
            <a:srgbClr val="FBAE40"/>
          </p15:clr>
        </p15:guide>
        <p15:guide id="8" orient="horz" pos="1222">
          <p15:clr>
            <a:srgbClr val="FBAE40"/>
          </p15:clr>
        </p15:guide>
        <p15:guide id="10" orient="horz" pos="2694">
          <p15:clr>
            <a:srgbClr val="FBAE40"/>
          </p15:clr>
        </p15:guide>
        <p15:guide id="11" orient="horz" pos="3920">
          <p15:clr>
            <a:srgbClr val="FBAE40"/>
          </p15:clr>
        </p15:guide>
        <p15:guide id="12" orient="horz" pos="257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2x(1 and 2)">
    <p:spTree>
      <p:nvGrpSpPr>
        <p:cNvPr id="1" name=""/>
        <p:cNvGrpSpPr/>
        <p:nvPr/>
      </p:nvGrpSpPr>
      <p:grpSpPr>
        <a:xfrm>
          <a:off x="0" y="0"/>
          <a:ext cx="0" cy="0"/>
          <a:chOff x="0" y="0"/>
          <a:chExt cx="0" cy="0"/>
        </a:xfrm>
      </p:grpSpPr>
      <p:sp>
        <p:nvSpPr>
          <p:cNvPr id="2" name="text" descr="{&quot;templafy&quot;:{&quot;id&quot;:&quot;4bf2d0ba-9e79-4e9e-8185-22695dcc2e36&quot;}}" hidden="1" title="Translations.Draft">
            <a:extLst>
              <a:ext uri="{FF2B5EF4-FFF2-40B4-BE49-F238E27FC236}">
                <a16:creationId xmlns:a16="http://schemas.microsoft.com/office/drawing/2014/main" id="{A6D52034-E5FC-D49B-E562-189BDF59814B}"/>
              </a:ext>
            </a:extLst>
          </p:cNvPr>
          <p:cNvSpPr txBox="1"/>
          <p:nvPr>
            <p:custDataLst>
              <p:tags r:id="rId1"/>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9" name="Classification Tag" descr="{&quot;templafy&quot;:{&quot;id&quot;:&quot;d775081f-bd49-44d7-b039-55234c7b195f&quot;}}">
            <a:extLst>
              <a:ext uri="{FF2B5EF4-FFF2-40B4-BE49-F238E27FC236}">
                <a16:creationId xmlns:a16="http://schemas.microsoft.com/office/drawing/2014/main" id="{5419D68D-0EF6-381C-284A-C6FD783B4CA7}"/>
              </a:ext>
            </a:extLst>
          </p:cNvPr>
          <p:cNvSpPr txBox="1"/>
          <p:nvPr userDrawn="1">
            <p:custDataLst>
              <p:tags r:id="rId2"/>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18" name="Title 17" descr="{&quot;templafy&quot;:{&quot;id&quot;:&quot;55da31e3-579a-4f94-98c4-c1c1ce6102ce&quot;}}">
            <a:extLst>
              <a:ext uri="{FF2B5EF4-FFF2-40B4-BE49-F238E27FC236}">
                <a16:creationId xmlns:a16="http://schemas.microsoft.com/office/drawing/2014/main" id="{AD62E098-1B70-853C-DF3C-E2908F547694}"/>
              </a:ext>
            </a:extLst>
          </p:cNvPr>
          <p:cNvSpPr>
            <a:spLocks noGrp="1"/>
          </p:cNvSpPr>
          <p:nvPr>
            <p:ph type="title" hasCustomPrompt="1"/>
          </p:nvPr>
        </p:nvSpPr>
        <p:spPr>
          <a:xfrm>
            <a:off x="548640" y="548640"/>
            <a:ext cx="12289536" cy="402336"/>
          </a:xfrm>
          <a:prstGeom prst="rect">
            <a:avLst/>
          </a:prstGeom>
        </p:spPr>
        <p:txBody>
          <a:bodyPr lIns="0" tIns="0" rIns="0" bIns="0" anchor="b"/>
          <a:lstStyle>
            <a:lvl1pPr>
              <a:lnSpc>
                <a:spcPct val="100000"/>
              </a:lnSpc>
              <a:spcBef>
                <a:spcPts val="0"/>
              </a:spcBef>
              <a:defRPr sz="2800"/>
            </a:lvl1pPr>
          </a:lstStyle>
          <a:p>
            <a:r>
              <a:rPr lang="en-US"/>
              <a:t>&lt;&lt;Page heading&gt;&gt;</a:t>
            </a:r>
          </a:p>
        </p:txBody>
      </p:sp>
      <p:sp>
        <p:nvSpPr>
          <p:cNvPr id="8" name="Text Placeholder 7">
            <a:extLst>
              <a:ext uri="{FF2B5EF4-FFF2-40B4-BE49-F238E27FC236}">
                <a16:creationId xmlns:a16="http://schemas.microsoft.com/office/drawing/2014/main" id="{20BAB76F-9E12-3D5C-400F-EFEB07B0F300}"/>
              </a:ext>
            </a:extLst>
          </p:cNvPr>
          <p:cNvSpPr>
            <a:spLocks noGrp="1"/>
          </p:cNvSpPr>
          <p:nvPr>
            <p:ph type="body" sz="quarter" idx="33" hasCustomPrompt="1"/>
          </p:nvPr>
        </p:nvSpPr>
        <p:spPr>
          <a:xfrm>
            <a:off x="548640" y="1005840"/>
            <a:ext cx="12289536" cy="402336"/>
          </a:xfrm>
          <a:prstGeom prst="rect">
            <a:avLst/>
          </a:prstGeom>
        </p:spPr>
        <p:txBody>
          <a:bodyPr/>
          <a:lstStyle>
            <a:lvl1pPr marL="0" indent="0">
              <a:lnSpc>
                <a:spcPct val="100000"/>
              </a:lnSpc>
              <a:spcBef>
                <a:spcPts val="0"/>
              </a:spcBef>
              <a:buNone/>
              <a:defRPr sz="1600"/>
            </a:lvl1pPr>
          </a:lstStyle>
          <a:p>
            <a:pPr lvl="0"/>
            <a:r>
              <a:rPr lang="en-US"/>
              <a:t>Subtitle of the slide</a:t>
            </a:r>
          </a:p>
        </p:txBody>
      </p:sp>
      <p:sp>
        <p:nvSpPr>
          <p:cNvPr id="14" name="Text Placeholder 10" descr="{&quot;templafy&quot;:{&quot;id&quot;:&quot;4cf7d18d-9623-4d9a-be32-ab0959923088&quot;}}">
            <a:extLst>
              <a:ext uri="{FF2B5EF4-FFF2-40B4-BE49-F238E27FC236}">
                <a16:creationId xmlns:a16="http://schemas.microsoft.com/office/drawing/2014/main" id="{70EBD54F-D897-AF0F-7823-9011CDA1B63C}"/>
              </a:ext>
            </a:extLst>
          </p:cNvPr>
          <p:cNvSpPr>
            <a:spLocks noGrp="1"/>
          </p:cNvSpPr>
          <p:nvPr>
            <p:ph type="body" sz="quarter" idx="37" hasCustomPrompt="1"/>
          </p:nvPr>
        </p:nvSpPr>
        <p:spPr>
          <a:xfrm>
            <a:off x="548640" y="1947672"/>
            <a:ext cx="5971032" cy="274320"/>
          </a:xfrm>
        </p:spPr>
        <p:txBody>
          <a:bodyPr/>
          <a:lstStyle>
            <a:lvl1pPr marL="0" indent="0">
              <a:buNone/>
              <a:defRPr sz="1400" b="1"/>
            </a:lvl1pPr>
          </a:lstStyle>
          <a:p>
            <a:pPr lvl="0"/>
            <a:r>
              <a:rPr lang="en-US"/>
              <a:t>Layout heading</a:t>
            </a:r>
          </a:p>
        </p:txBody>
      </p:sp>
      <p:sp>
        <p:nvSpPr>
          <p:cNvPr id="10" name="Content Placeholder 6">
            <a:extLst>
              <a:ext uri="{FF2B5EF4-FFF2-40B4-BE49-F238E27FC236}">
                <a16:creationId xmlns:a16="http://schemas.microsoft.com/office/drawing/2014/main" id="{DA72563F-7732-74B1-5ECC-317644C1A6E2}"/>
              </a:ext>
            </a:extLst>
          </p:cNvPr>
          <p:cNvSpPr>
            <a:spLocks noGrp="1"/>
          </p:cNvSpPr>
          <p:nvPr>
            <p:ph sz="quarter" idx="34"/>
          </p:nvPr>
        </p:nvSpPr>
        <p:spPr>
          <a:xfrm>
            <a:off x="548640" y="2295142"/>
            <a:ext cx="5971032" cy="38628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2" name="Source" descr="{&quot;templafy&quot;:{&quot;id&quot;:&quot;91e1e67f-67e4-44e7-a89e-72342c301f1e&quot;}}">
            <a:extLst>
              <a:ext uri="{FF2B5EF4-FFF2-40B4-BE49-F238E27FC236}">
                <a16:creationId xmlns:a16="http://schemas.microsoft.com/office/drawing/2014/main" id="{36F611B2-2422-5108-5C14-7DB1551B76CA}"/>
              </a:ext>
            </a:extLst>
          </p:cNvPr>
          <p:cNvSpPr>
            <a:spLocks noGrp="1"/>
          </p:cNvSpPr>
          <p:nvPr>
            <p:ph type="body" sz="quarter" idx="40" hasCustomPrompt="1"/>
          </p:nvPr>
        </p:nvSpPr>
        <p:spPr>
          <a:xfrm>
            <a:off x="548640" y="6230376"/>
            <a:ext cx="5971032" cy="180000"/>
          </a:xfrm>
        </p:spPr>
        <p:txBody>
          <a:bodyPr/>
          <a:lstStyle>
            <a:lvl1pPr marL="0" indent="0">
              <a:buNone/>
              <a:defRPr sz="800" b="0"/>
            </a:lvl1pPr>
          </a:lstStyle>
          <a:p>
            <a:pPr lvl="0"/>
            <a:r>
              <a:rPr lang="en-US"/>
              <a:t>Source</a:t>
            </a:r>
          </a:p>
        </p:txBody>
      </p:sp>
      <p:sp>
        <p:nvSpPr>
          <p:cNvPr id="15" name="Text Placeholder 10" descr="{&quot;templafy&quot;:{&quot;id&quot;:&quot;bd75cbff-f23c-4e22-a7a9-7ceee7e1b70e&quot;}}">
            <a:extLst>
              <a:ext uri="{FF2B5EF4-FFF2-40B4-BE49-F238E27FC236}">
                <a16:creationId xmlns:a16="http://schemas.microsoft.com/office/drawing/2014/main" id="{252F1826-C141-89F4-A099-6461EC41B165}"/>
              </a:ext>
            </a:extLst>
          </p:cNvPr>
          <p:cNvSpPr>
            <a:spLocks noGrp="1"/>
          </p:cNvSpPr>
          <p:nvPr>
            <p:ph type="body" sz="quarter" idx="38" hasCustomPrompt="1"/>
          </p:nvPr>
        </p:nvSpPr>
        <p:spPr>
          <a:xfrm>
            <a:off x="6864374" y="1947672"/>
            <a:ext cx="5971032" cy="274320"/>
          </a:xfrm>
        </p:spPr>
        <p:txBody>
          <a:bodyPr/>
          <a:lstStyle>
            <a:lvl1pPr marL="0" indent="0">
              <a:buNone/>
              <a:defRPr sz="1400" b="1"/>
            </a:lvl1pPr>
          </a:lstStyle>
          <a:p>
            <a:pPr lvl="0"/>
            <a:r>
              <a:rPr lang="en-US"/>
              <a:t>Layout heading</a:t>
            </a:r>
          </a:p>
        </p:txBody>
      </p:sp>
      <p:sp>
        <p:nvSpPr>
          <p:cNvPr id="11" name="Content Placeholder 6">
            <a:extLst>
              <a:ext uri="{FF2B5EF4-FFF2-40B4-BE49-F238E27FC236}">
                <a16:creationId xmlns:a16="http://schemas.microsoft.com/office/drawing/2014/main" id="{2FBAED15-80EF-8DCC-53D1-B7DD842D6A82}"/>
              </a:ext>
            </a:extLst>
          </p:cNvPr>
          <p:cNvSpPr>
            <a:spLocks noGrp="1"/>
          </p:cNvSpPr>
          <p:nvPr>
            <p:ph sz="quarter" idx="35"/>
          </p:nvPr>
        </p:nvSpPr>
        <p:spPr>
          <a:xfrm>
            <a:off x="6864374" y="2295142"/>
            <a:ext cx="5971032" cy="15228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4" name="Source" descr="{&quot;templafy&quot;:{&quot;id&quot;:&quot;1a22cc4a-5036-41ad-b53b-b43ca1ce1c8d&quot;}}">
            <a:extLst>
              <a:ext uri="{FF2B5EF4-FFF2-40B4-BE49-F238E27FC236}">
                <a16:creationId xmlns:a16="http://schemas.microsoft.com/office/drawing/2014/main" id="{9F77ADFD-1EE1-707A-6DED-2A98CE8D183A}"/>
              </a:ext>
            </a:extLst>
          </p:cNvPr>
          <p:cNvSpPr>
            <a:spLocks noGrp="1"/>
          </p:cNvSpPr>
          <p:nvPr>
            <p:ph type="body" sz="quarter" idx="41" hasCustomPrompt="1"/>
          </p:nvPr>
        </p:nvSpPr>
        <p:spPr>
          <a:xfrm>
            <a:off x="6864374" y="3891104"/>
            <a:ext cx="5971032" cy="180000"/>
          </a:xfrm>
        </p:spPr>
        <p:txBody>
          <a:bodyPr/>
          <a:lstStyle>
            <a:lvl1pPr marL="0" indent="0">
              <a:buNone/>
              <a:defRPr sz="800" b="0"/>
            </a:lvl1pPr>
          </a:lstStyle>
          <a:p>
            <a:pPr lvl="0"/>
            <a:r>
              <a:rPr lang="en-US"/>
              <a:t>Source</a:t>
            </a:r>
          </a:p>
        </p:txBody>
      </p:sp>
      <p:sp>
        <p:nvSpPr>
          <p:cNvPr id="17" name="Text Placeholder 10" descr="{&quot;templafy&quot;:{&quot;id&quot;:&quot;10e574de-e990-4067-9e2b-c9efb0f1a1ea&quot;}}">
            <a:extLst>
              <a:ext uri="{FF2B5EF4-FFF2-40B4-BE49-F238E27FC236}">
                <a16:creationId xmlns:a16="http://schemas.microsoft.com/office/drawing/2014/main" id="{D05AF82F-A1DF-D923-CDB9-8F7D92AFCE39}"/>
              </a:ext>
            </a:extLst>
          </p:cNvPr>
          <p:cNvSpPr>
            <a:spLocks noGrp="1"/>
          </p:cNvSpPr>
          <p:nvPr>
            <p:ph type="body" sz="quarter" idx="39" hasCustomPrompt="1"/>
          </p:nvPr>
        </p:nvSpPr>
        <p:spPr>
          <a:xfrm>
            <a:off x="6864374" y="4285465"/>
            <a:ext cx="5971032" cy="274320"/>
          </a:xfrm>
        </p:spPr>
        <p:txBody>
          <a:bodyPr/>
          <a:lstStyle>
            <a:lvl1pPr marL="0" indent="0">
              <a:buNone/>
              <a:defRPr sz="1400" b="1"/>
            </a:lvl1pPr>
          </a:lstStyle>
          <a:p>
            <a:pPr lvl="0"/>
            <a:r>
              <a:rPr lang="en-US"/>
              <a:t>Layout heading</a:t>
            </a:r>
          </a:p>
        </p:txBody>
      </p:sp>
      <p:sp>
        <p:nvSpPr>
          <p:cNvPr id="13" name="Content Placeholder 6">
            <a:extLst>
              <a:ext uri="{FF2B5EF4-FFF2-40B4-BE49-F238E27FC236}">
                <a16:creationId xmlns:a16="http://schemas.microsoft.com/office/drawing/2014/main" id="{69242768-A92B-0986-F2A9-DD1FDD2D7B9C}"/>
              </a:ext>
            </a:extLst>
          </p:cNvPr>
          <p:cNvSpPr>
            <a:spLocks noGrp="1"/>
          </p:cNvSpPr>
          <p:nvPr>
            <p:ph sz="quarter" idx="36"/>
          </p:nvPr>
        </p:nvSpPr>
        <p:spPr>
          <a:xfrm>
            <a:off x="6864374" y="4632937"/>
            <a:ext cx="5971032" cy="15228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9" name="Source" descr="{&quot;templafy&quot;:{&quot;id&quot;:&quot;4695509b-b45f-446d-93f4-7250c102e461&quot;}}">
            <a:extLst>
              <a:ext uri="{FF2B5EF4-FFF2-40B4-BE49-F238E27FC236}">
                <a16:creationId xmlns:a16="http://schemas.microsoft.com/office/drawing/2014/main" id="{8463D2E8-7420-AFF0-6547-1E31B0F718E3}"/>
              </a:ext>
            </a:extLst>
          </p:cNvPr>
          <p:cNvSpPr>
            <a:spLocks noGrp="1"/>
          </p:cNvSpPr>
          <p:nvPr>
            <p:ph type="body" sz="quarter" idx="42" hasCustomPrompt="1"/>
          </p:nvPr>
        </p:nvSpPr>
        <p:spPr>
          <a:xfrm>
            <a:off x="6864374" y="6230376"/>
            <a:ext cx="5971032" cy="180000"/>
          </a:xfrm>
        </p:spPr>
        <p:txBody>
          <a:bodyPr/>
          <a:lstStyle>
            <a:lvl1pPr marL="0" indent="0">
              <a:buNone/>
              <a:defRPr sz="800" b="0"/>
            </a:lvl1pPr>
          </a:lstStyle>
          <a:p>
            <a:pPr lvl="0"/>
            <a:r>
              <a:rPr lang="en-US"/>
              <a:t>Source</a:t>
            </a:r>
          </a:p>
        </p:txBody>
      </p:sp>
      <p:sp>
        <p:nvSpPr>
          <p:cNvPr id="7" name="Footer Placeholder 6">
            <a:extLst>
              <a:ext uri="{FF2B5EF4-FFF2-40B4-BE49-F238E27FC236}">
                <a16:creationId xmlns:a16="http://schemas.microsoft.com/office/drawing/2014/main" id="{98D4EF91-B573-4FBA-3BB2-72FCAEF26299}"/>
              </a:ext>
            </a:extLst>
          </p:cNvPr>
          <p:cNvSpPr>
            <a:spLocks noGrp="1"/>
          </p:cNvSpPr>
          <p:nvPr>
            <p:ph type="ftr" sz="quarter" idx="28"/>
          </p:nvPr>
        </p:nvSpPr>
        <p:spPr>
          <a:xfrm>
            <a:off x="2520000" y="7153200"/>
            <a:ext cx="9000000" cy="118800"/>
          </a:xfrm>
          <a:prstGeom prst="rect">
            <a:avLst/>
          </a:prstGeom>
        </p:spPr>
        <p:txBody>
          <a:bodyPr vert="horz" lIns="0" tIns="0" rIns="0" bIns="0" rtlCol="0" anchor="b"/>
          <a:lstStyle>
            <a:defPPr>
              <a:defRPr lang="en-US"/>
            </a:defPPr>
            <a:lvl1pPr algn="l" rtl="0" eaLnBrk="0" fontAlgn="base" hangingPunct="0">
              <a:spcBef>
                <a:spcPts val="0"/>
              </a:spcBef>
              <a:spcAft>
                <a:spcPct val="0"/>
              </a:spcAft>
              <a:defRPr lang="en-GB" sz="800" kern="1200">
                <a:solidFill>
                  <a:schemeClr val="tx1"/>
                </a:solidFill>
                <a:latin typeface="+mn-l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endParaRPr lang="en-US"/>
          </a:p>
        </p:txBody>
      </p:sp>
      <p:pic>
        <p:nvPicPr>
          <p:cNvPr id="1593416213" name="Logo" descr="{&quot;templafy&quot;:{&quot;id&quot;:&quot;4aefb070-a15e-4172-8aa2-179fb0d9629c&quot;}}"/>
          <p:cNvPicPr>
            <a:picLocks noChangeAspect="1"/>
          </p:cNvPicPr>
          <p:nvPr/>
        </p:nvPicPr>
        <p:blipFill>
          <a:blip r:embed="rId6"/>
          <a:stretch>
            <a:fillRect/>
          </a:stretch>
        </p:blipFill>
        <p:spPr>
          <a:xfrm>
            <a:off x="12157200" y="7041600"/>
            <a:ext cx="698731" cy="248400"/>
          </a:xfrm>
          <a:prstGeom prst="rect">
            <a:avLst/>
          </a:prstGeom>
        </p:spPr>
      </p:pic>
      <p:sp>
        <p:nvSpPr>
          <p:cNvPr id="4" name="TemplafyBrandVersion" hidden="1">
            <a:extLst>
              <a:ext uri="{FF2B5EF4-FFF2-40B4-BE49-F238E27FC236}">
                <a16:creationId xmlns:a16="http://schemas.microsoft.com/office/drawing/2014/main" id="{6DA66AC9-36A6-9687-9D76-87033ED6CA6A}"/>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3" name="Object 2" hidden="1">
            <a:extLst>
              <a:ext uri="{FF2B5EF4-FFF2-40B4-BE49-F238E27FC236}">
                <a16:creationId xmlns:a16="http://schemas.microsoft.com/office/drawing/2014/main" id="{0FB7687E-B2AD-781C-9D86-A5510C681F9D}"/>
              </a:ext>
            </a:extLst>
          </p:cNvPr>
          <p:cNvGraphicFramePr>
            <a:graphicFrameLocks noChangeAspect="1"/>
          </p:cNvGraphicFramePr>
          <p:nvPr userDrawn="1">
            <p:custDataLst>
              <p:tags r:id="rId3"/>
            </p:custDataLst>
            <p:extLst>
              <p:ext uri="{D42A27DB-BD31-4B8C-83A1-F6EECF244321}">
                <p14:modId xmlns:p14="http://schemas.microsoft.com/office/powerpoint/2010/main" val="2230085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a:extLst>
                          <a:ext uri="{FF2B5EF4-FFF2-40B4-BE49-F238E27FC236}">
                            <a16:creationId xmlns:a16="http://schemas.microsoft.com/office/drawing/2014/main" id="{0FB7687E-B2AD-781C-9D86-A5510C681F9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81AC01B-26DB-85AC-CFD2-BB6EE18CE1E3}"/>
              </a:ext>
            </a:extLst>
          </p:cNvPr>
          <p:cNvSpPr/>
          <p:nvPr userDrawn="1">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6" name="PXP_GRIDLINES" hidden="1">
            <a:extLst>
              <a:ext uri="{FF2B5EF4-FFF2-40B4-BE49-F238E27FC236}">
                <a16:creationId xmlns:a16="http://schemas.microsoft.com/office/drawing/2014/main" id="{1F7ADA7E-88D6-D637-7F8C-1732D7249767}"/>
              </a:ext>
            </a:extLst>
          </p:cNvPr>
          <p:cNvGrpSpPr/>
          <p:nvPr userDrawn="1"/>
        </p:nvGrpSpPr>
        <p:grpSpPr>
          <a:xfrm>
            <a:off x="-1" y="0"/>
            <a:ext cx="13371660" cy="7543800"/>
            <a:chOff x="-20924" y="0"/>
            <a:chExt cx="10058400" cy="7543800"/>
          </a:xfrm>
        </p:grpSpPr>
        <p:cxnSp>
          <p:nvCxnSpPr>
            <p:cNvPr id="19" name="Straight Connector 18">
              <a:extLst>
                <a:ext uri="{FF2B5EF4-FFF2-40B4-BE49-F238E27FC236}">
                  <a16:creationId xmlns:a16="http://schemas.microsoft.com/office/drawing/2014/main" id="{36CC350C-DFCF-3112-35D2-1B178327F2D7}"/>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21DB6B4-3582-AF31-598D-1F66B1E8E002}"/>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8C48908-6C97-1879-C0EE-3B30E2DBA2B4}"/>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5CA7F02-3935-8076-68E1-E4EE66790038}"/>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E280651-01AA-ACDD-1CC6-4892483AD66C}"/>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BC8A055-2D34-D868-44FE-B31584BF4D30}"/>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2728600"/>
      </p:ext>
    </p:extLst>
  </p:cSld>
  <p:clrMapOvr>
    <a:masterClrMapping/>
  </p:clrMapOvr>
  <p:extLst>
    <p:ext uri="{DCECCB84-F9BA-43D5-87BE-67443E8EF086}">
      <p15:sldGuideLst xmlns:p15="http://schemas.microsoft.com/office/powerpoint/2012/main">
        <p15:guide id="3" pos="4326">
          <p15:clr>
            <a:srgbClr val="FBAE40"/>
          </p15:clr>
        </p15:guide>
        <p15:guide id="4" pos="4116">
          <p15:clr>
            <a:srgbClr val="FBAE40"/>
          </p15:clr>
        </p15:guide>
        <p15:guide id="5" orient="horz" pos="890">
          <p15:clr>
            <a:srgbClr val="FBAE40"/>
          </p15:clr>
        </p15:guide>
        <p15:guide id="6" orient="horz" pos="1224">
          <p15:clr>
            <a:srgbClr val="FBAE40"/>
          </p15:clr>
        </p15:guide>
        <p15:guide id="8" orient="horz" pos="2576">
          <p15:clr>
            <a:srgbClr val="FBAE40"/>
          </p15:clr>
        </p15:guide>
        <p15:guide id="9" orient="horz" pos="3920">
          <p15:clr>
            <a:srgbClr val="FBAE40"/>
          </p15:clr>
        </p15:guide>
        <p15:guide id="10" orient="horz" pos="269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2x(2 and 1)">
    <p:spTree>
      <p:nvGrpSpPr>
        <p:cNvPr id="1" name=""/>
        <p:cNvGrpSpPr/>
        <p:nvPr/>
      </p:nvGrpSpPr>
      <p:grpSpPr>
        <a:xfrm>
          <a:off x="0" y="0"/>
          <a:ext cx="0" cy="0"/>
          <a:chOff x="0" y="0"/>
          <a:chExt cx="0" cy="0"/>
        </a:xfrm>
      </p:grpSpPr>
      <p:sp>
        <p:nvSpPr>
          <p:cNvPr id="2" name="text" descr="{&quot;templafy&quot;:{&quot;id&quot;:&quot;84b395df-9797-48bc-b6de-3bd39b94bbb1&quot;}}" hidden="1" title="Translations.Draft">
            <a:extLst>
              <a:ext uri="{FF2B5EF4-FFF2-40B4-BE49-F238E27FC236}">
                <a16:creationId xmlns:a16="http://schemas.microsoft.com/office/drawing/2014/main" id="{AC78F13A-6206-9E5E-ECF3-D3D0F22FF9ED}"/>
              </a:ext>
            </a:extLst>
          </p:cNvPr>
          <p:cNvSpPr txBox="1"/>
          <p:nvPr>
            <p:custDataLst>
              <p:tags r:id="rId1"/>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9" name="Classification Tag" descr="{&quot;templafy&quot;:{&quot;id&quot;:&quot;07bfdf11-6843-4682-90ba-7de1cd66b72c&quot;}}">
            <a:extLst>
              <a:ext uri="{FF2B5EF4-FFF2-40B4-BE49-F238E27FC236}">
                <a16:creationId xmlns:a16="http://schemas.microsoft.com/office/drawing/2014/main" id="{36C1E500-E451-DF58-0725-55C3C827D960}"/>
              </a:ext>
            </a:extLst>
          </p:cNvPr>
          <p:cNvSpPr txBox="1"/>
          <p:nvPr userDrawn="1">
            <p:custDataLst>
              <p:tags r:id="rId2"/>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10" name="Title 9" descr="{&quot;templafy&quot;:{&quot;id&quot;:&quot;0dc1113f-ec8b-483f-824c-dbf3fdc6e89b&quot;}}">
            <a:extLst>
              <a:ext uri="{FF2B5EF4-FFF2-40B4-BE49-F238E27FC236}">
                <a16:creationId xmlns:a16="http://schemas.microsoft.com/office/drawing/2014/main" id="{1B8D1BC7-0083-9CF5-5BE4-41041FED8DDA}"/>
              </a:ext>
            </a:extLst>
          </p:cNvPr>
          <p:cNvSpPr>
            <a:spLocks noGrp="1"/>
          </p:cNvSpPr>
          <p:nvPr>
            <p:ph type="title" hasCustomPrompt="1"/>
          </p:nvPr>
        </p:nvSpPr>
        <p:spPr>
          <a:xfrm>
            <a:off x="548640" y="548640"/>
            <a:ext cx="12289536" cy="402336"/>
          </a:xfrm>
          <a:prstGeom prst="rect">
            <a:avLst/>
          </a:prstGeom>
        </p:spPr>
        <p:txBody>
          <a:bodyPr lIns="0" tIns="0" rIns="0" bIns="0" anchor="b"/>
          <a:lstStyle>
            <a:lvl1pPr>
              <a:defRPr sz="2800"/>
            </a:lvl1pPr>
          </a:lstStyle>
          <a:p>
            <a:r>
              <a:rPr lang="en-US"/>
              <a:t>&lt;&lt;Page heading&gt;&gt;</a:t>
            </a:r>
          </a:p>
        </p:txBody>
      </p:sp>
      <p:sp>
        <p:nvSpPr>
          <p:cNvPr id="12" name="Text Placeholder 7">
            <a:extLst>
              <a:ext uri="{FF2B5EF4-FFF2-40B4-BE49-F238E27FC236}">
                <a16:creationId xmlns:a16="http://schemas.microsoft.com/office/drawing/2014/main" id="{E5D2D2CD-CB41-B100-6BDF-3F0D1805EA13}"/>
              </a:ext>
            </a:extLst>
          </p:cNvPr>
          <p:cNvSpPr>
            <a:spLocks noGrp="1"/>
          </p:cNvSpPr>
          <p:nvPr>
            <p:ph type="body" sz="quarter" idx="33" hasCustomPrompt="1"/>
          </p:nvPr>
        </p:nvSpPr>
        <p:spPr>
          <a:xfrm>
            <a:off x="548640" y="1005840"/>
            <a:ext cx="12289536" cy="402336"/>
          </a:xfrm>
          <a:prstGeom prst="rect">
            <a:avLst/>
          </a:prstGeom>
        </p:spPr>
        <p:txBody>
          <a:bodyPr/>
          <a:lstStyle>
            <a:lvl1pPr marL="0" indent="0">
              <a:lnSpc>
                <a:spcPct val="100000"/>
              </a:lnSpc>
              <a:spcBef>
                <a:spcPts val="0"/>
              </a:spcBef>
              <a:buNone/>
              <a:defRPr sz="1600"/>
            </a:lvl1pPr>
          </a:lstStyle>
          <a:p>
            <a:pPr lvl="0"/>
            <a:r>
              <a:rPr lang="en-US"/>
              <a:t>Subtitle of the slide</a:t>
            </a:r>
          </a:p>
        </p:txBody>
      </p:sp>
      <p:sp>
        <p:nvSpPr>
          <p:cNvPr id="24" name="Text Placeholder 10" descr="{&quot;templafy&quot;:{&quot;id&quot;:&quot;689708e6-3600-4937-94da-6a47d56103c9&quot;}}">
            <a:extLst>
              <a:ext uri="{FF2B5EF4-FFF2-40B4-BE49-F238E27FC236}">
                <a16:creationId xmlns:a16="http://schemas.microsoft.com/office/drawing/2014/main" id="{8BF76374-941D-DDB6-47FE-F5A31FC7FBBF}"/>
              </a:ext>
            </a:extLst>
          </p:cNvPr>
          <p:cNvSpPr>
            <a:spLocks noGrp="1"/>
          </p:cNvSpPr>
          <p:nvPr>
            <p:ph type="body" sz="quarter" idx="37" hasCustomPrompt="1"/>
          </p:nvPr>
        </p:nvSpPr>
        <p:spPr>
          <a:xfrm>
            <a:off x="548640" y="1947672"/>
            <a:ext cx="5971032" cy="274320"/>
          </a:xfrm>
        </p:spPr>
        <p:txBody>
          <a:bodyPr/>
          <a:lstStyle>
            <a:lvl1pPr marL="0" indent="0">
              <a:buNone/>
              <a:defRPr sz="1400" b="1"/>
            </a:lvl1pPr>
          </a:lstStyle>
          <a:p>
            <a:pPr lvl="0"/>
            <a:r>
              <a:rPr lang="en-US"/>
              <a:t>Layout heading</a:t>
            </a:r>
          </a:p>
        </p:txBody>
      </p:sp>
      <p:sp>
        <p:nvSpPr>
          <p:cNvPr id="21" name="Content Placeholder 6">
            <a:extLst>
              <a:ext uri="{FF2B5EF4-FFF2-40B4-BE49-F238E27FC236}">
                <a16:creationId xmlns:a16="http://schemas.microsoft.com/office/drawing/2014/main" id="{2AF8FCD7-75D8-4F16-9D84-8EDCBF54B691}"/>
              </a:ext>
            </a:extLst>
          </p:cNvPr>
          <p:cNvSpPr>
            <a:spLocks noGrp="1"/>
          </p:cNvSpPr>
          <p:nvPr>
            <p:ph sz="quarter" idx="34"/>
          </p:nvPr>
        </p:nvSpPr>
        <p:spPr>
          <a:xfrm>
            <a:off x="548640" y="2295142"/>
            <a:ext cx="5971032" cy="15228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36" name="Source" descr="{&quot;templafy&quot;:{&quot;id&quot;:&quot;646eb7ee-0286-4435-98ee-b06778e5493b&quot;}}">
            <a:extLst>
              <a:ext uri="{FF2B5EF4-FFF2-40B4-BE49-F238E27FC236}">
                <a16:creationId xmlns:a16="http://schemas.microsoft.com/office/drawing/2014/main" id="{A4D86D57-9837-CF12-4BCC-29F23653F02C}"/>
              </a:ext>
            </a:extLst>
          </p:cNvPr>
          <p:cNvSpPr>
            <a:spLocks noGrp="1"/>
          </p:cNvSpPr>
          <p:nvPr>
            <p:ph type="body" sz="quarter" idx="40" hasCustomPrompt="1"/>
          </p:nvPr>
        </p:nvSpPr>
        <p:spPr>
          <a:xfrm>
            <a:off x="548640" y="3891716"/>
            <a:ext cx="5971032" cy="180000"/>
          </a:xfrm>
        </p:spPr>
        <p:txBody>
          <a:bodyPr/>
          <a:lstStyle>
            <a:lvl1pPr marL="0" indent="0">
              <a:buNone/>
              <a:defRPr sz="800" b="0"/>
            </a:lvl1pPr>
          </a:lstStyle>
          <a:p>
            <a:pPr lvl="0"/>
            <a:r>
              <a:rPr lang="en-US"/>
              <a:t>Source</a:t>
            </a:r>
          </a:p>
        </p:txBody>
      </p:sp>
      <p:sp>
        <p:nvSpPr>
          <p:cNvPr id="30" name="Text Placeholder 10" descr="{&quot;templafy&quot;:{&quot;id&quot;:&quot;f8deb398-0234-4ea3-b491-192714058d69&quot;}}">
            <a:extLst>
              <a:ext uri="{FF2B5EF4-FFF2-40B4-BE49-F238E27FC236}">
                <a16:creationId xmlns:a16="http://schemas.microsoft.com/office/drawing/2014/main" id="{A15D7A90-A484-0D70-B1E1-663C74A40FAA}"/>
              </a:ext>
            </a:extLst>
          </p:cNvPr>
          <p:cNvSpPr>
            <a:spLocks noGrp="1"/>
          </p:cNvSpPr>
          <p:nvPr>
            <p:ph type="body" sz="quarter" idx="38" hasCustomPrompt="1"/>
          </p:nvPr>
        </p:nvSpPr>
        <p:spPr>
          <a:xfrm>
            <a:off x="548640" y="4285465"/>
            <a:ext cx="5971032" cy="274320"/>
          </a:xfrm>
        </p:spPr>
        <p:txBody>
          <a:bodyPr/>
          <a:lstStyle>
            <a:lvl1pPr marL="0" indent="0">
              <a:buNone/>
              <a:defRPr sz="1400" b="1"/>
            </a:lvl1pPr>
          </a:lstStyle>
          <a:p>
            <a:pPr lvl="0"/>
            <a:r>
              <a:rPr lang="en-US"/>
              <a:t>Layout heading</a:t>
            </a:r>
          </a:p>
        </p:txBody>
      </p:sp>
      <p:sp>
        <p:nvSpPr>
          <p:cNvPr id="22" name="Content Placeholder 6">
            <a:extLst>
              <a:ext uri="{FF2B5EF4-FFF2-40B4-BE49-F238E27FC236}">
                <a16:creationId xmlns:a16="http://schemas.microsoft.com/office/drawing/2014/main" id="{B70781FC-F3E5-561B-0637-2A253E0D161F}"/>
              </a:ext>
            </a:extLst>
          </p:cNvPr>
          <p:cNvSpPr>
            <a:spLocks noGrp="1"/>
          </p:cNvSpPr>
          <p:nvPr>
            <p:ph sz="quarter" idx="35"/>
          </p:nvPr>
        </p:nvSpPr>
        <p:spPr>
          <a:xfrm>
            <a:off x="548640" y="4632937"/>
            <a:ext cx="5971032" cy="15228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37" name="Source" descr="{&quot;templafy&quot;:{&quot;id&quot;:&quot;38d81065-eb9d-4595-838b-02d2ed1075eb&quot;}}">
            <a:extLst>
              <a:ext uri="{FF2B5EF4-FFF2-40B4-BE49-F238E27FC236}">
                <a16:creationId xmlns:a16="http://schemas.microsoft.com/office/drawing/2014/main" id="{D28BDBE8-495F-8A96-0D7D-B9DA9127C951}"/>
              </a:ext>
            </a:extLst>
          </p:cNvPr>
          <p:cNvSpPr>
            <a:spLocks noGrp="1"/>
          </p:cNvSpPr>
          <p:nvPr>
            <p:ph type="body" sz="quarter" idx="41" hasCustomPrompt="1"/>
          </p:nvPr>
        </p:nvSpPr>
        <p:spPr>
          <a:xfrm>
            <a:off x="548640" y="6230376"/>
            <a:ext cx="5971032" cy="180000"/>
          </a:xfrm>
        </p:spPr>
        <p:txBody>
          <a:bodyPr/>
          <a:lstStyle>
            <a:lvl1pPr marL="0" indent="0">
              <a:buNone/>
              <a:defRPr sz="800" b="0"/>
            </a:lvl1pPr>
          </a:lstStyle>
          <a:p>
            <a:pPr lvl="0"/>
            <a:r>
              <a:rPr lang="en-US"/>
              <a:t>Source</a:t>
            </a:r>
          </a:p>
        </p:txBody>
      </p:sp>
      <p:sp>
        <p:nvSpPr>
          <p:cNvPr id="31" name="Text Placeholder 10" descr="{&quot;templafy&quot;:{&quot;id&quot;:&quot;d5a8ef77-d87e-40e6-bef9-0f8f7e9094bf&quot;}}">
            <a:extLst>
              <a:ext uri="{FF2B5EF4-FFF2-40B4-BE49-F238E27FC236}">
                <a16:creationId xmlns:a16="http://schemas.microsoft.com/office/drawing/2014/main" id="{A21A7FF9-B47F-6357-B62D-EEF1C213BF21}"/>
              </a:ext>
            </a:extLst>
          </p:cNvPr>
          <p:cNvSpPr>
            <a:spLocks noGrp="1"/>
          </p:cNvSpPr>
          <p:nvPr>
            <p:ph type="body" sz="quarter" idx="39" hasCustomPrompt="1"/>
          </p:nvPr>
        </p:nvSpPr>
        <p:spPr>
          <a:xfrm>
            <a:off x="6864374" y="1947672"/>
            <a:ext cx="5971032" cy="274320"/>
          </a:xfrm>
        </p:spPr>
        <p:txBody>
          <a:bodyPr/>
          <a:lstStyle>
            <a:lvl1pPr marL="0" indent="0">
              <a:buNone/>
              <a:defRPr sz="1400" b="1"/>
            </a:lvl1pPr>
          </a:lstStyle>
          <a:p>
            <a:pPr lvl="0"/>
            <a:r>
              <a:rPr lang="en-US"/>
              <a:t>Layout heading</a:t>
            </a:r>
          </a:p>
        </p:txBody>
      </p:sp>
      <p:sp>
        <p:nvSpPr>
          <p:cNvPr id="23" name="Content Placeholder 6">
            <a:extLst>
              <a:ext uri="{FF2B5EF4-FFF2-40B4-BE49-F238E27FC236}">
                <a16:creationId xmlns:a16="http://schemas.microsoft.com/office/drawing/2014/main" id="{CBB8B74A-DF1E-B78E-1118-F2F9968A4A1C}"/>
              </a:ext>
            </a:extLst>
          </p:cNvPr>
          <p:cNvSpPr>
            <a:spLocks noGrp="1"/>
          </p:cNvSpPr>
          <p:nvPr>
            <p:ph sz="quarter" idx="36"/>
          </p:nvPr>
        </p:nvSpPr>
        <p:spPr>
          <a:xfrm>
            <a:off x="6864374" y="2295142"/>
            <a:ext cx="5971032" cy="38628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38" name="Source" descr="{&quot;templafy&quot;:{&quot;id&quot;:&quot;c8d5bd70-d9a9-49b5-a382-dca0825c7967&quot;}}">
            <a:extLst>
              <a:ext uri="{FF2B5EF4-FFF2-40B4-BE49-F238E27FC236}">
                <a16:creationId xmlns:a16="http://schemas.microsoft.com/office/drawing/2014/main" id="{F42702BE-F23E-5163-9454-A5DDC7BBB146}"/>
              </a:ext>
            </a:extLst>
          </p:cNvPr>
          <p:cNvSpPr>
            <a:spLocks noGrp="1"/>
          </p:cNvSpPr>
          <p:nvPr>
            <p:ph type="body" sz="quarter" idx="42" hasCustomPrompt="1"/>
          </p:nvPr>
        </p:nvSpPr>
        <p:spPr>
          <a:xfrm>
            <a:off x="6864374" y="6230376"/>
            <a:ext cx="5971032" cy="180000"/>
          </a:xfrm>
        </p:spPr>
        <p:txBody>
          <a:bodyPr/>
          <a:lstStyle>
            <a:lvl1pPr marL="0" indent="0">
              <a:buNone/>
              <a:defRPr sz="800" b="0"/>
            </a:lvl1pPr>
          </a:lstStyle>
          <a:p>
            <a:pPr lvl="0"/>
            <a:r>
              <a:rPr lang="en-US"/>
              <a:t>Source</a:t>
            </a:r>
          </a:p>
        </p:txBody>
      </p:sp>
      <p:sp>
        <p:nvSpPr>
          <p:cNvPr id="7" name="Footer Placeholder 6">
            <a:extLst>
              <a:ext uri="{FF2B5EF4-FFF2-40B4-BE49-F238E27FC236}">
                <a16:creationId xmlns:a16="http://schemas.microsoft.com/office/drawing/2014/main" id="{6F303DC8-A046-00C0-82D1-9FD333B3D170}"/>
              </a:ext>
            </a:extLst>
          </p:cNvPr>
          <p:cNvSpPr>
            <a:spLocks noGrp="1"/>
          </p:cNvSpPr>
          <p:nvPr>
            <p:ph type="ftr" sz="quarter" idx="28"/>
          </p:nvPr>
        </p:nvSpPr>
        <p:spPr>
          <a:xfrm>
            <a:off x="2520000" y="7153200"/>
            <a:ext cx="9000000" cy="118800"/>
          </a:xfrm>
          <a:prstGeom prst="rect">
            <a:avLst/>
          </a:prstGeom>
        </p:spPr>
        <p:txBody>
          <a:bodyPr vert="horz" lIns="0" tIns="0" rIns="0" bIns="0" rtlCol="0" anchor="b"/>
          <a:lstStyle>
            <a:defPPr>
              <a:defRPr lang="en-US"/>
            </a:defPPr>
            <a:lvl1pPr algn="l" rtl="0" eaLnBrk="0" fontAlgn="base" hangingPunct="0">
              <a:spcBef>
                <a:spcPts val="0"/>
              </a:spcBef>
              <a:spcAft>
                <a:spcPct val="0"/>
              </a:spcAft>
              <a:defRPr lang="en-GB" sz="800" kern="1200">
                <a:solidFill>
                  <a:schemeClr val="tx1"/>
                </a:solidFill>
                <a:latin typeface="+mn-l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endParaRPr lang="en-US"/>
          </a:p>
        </p:txBody>
      </p:sp>
      <p:pic>
        <p:nvPicPr>
          <p:cNvPr id="452322470" name="Logo" descr="{&quot;templafy&quot;:{&quot;id&quot;:&quot;f3e3e3b7-6232-4ff8-99ab-291b58a64dcf&quot;}}"/>
          <p:cNvPicPr>
            <a:picLocks noChangeAspect="1"/>
          </p:cNvPicPr>
          <p:nvPr/>
        </p:nvPicPr>
        <p:blipFill>
          <a:blip r:embed="rId6"/>
          <a:stretch>
            <a:fillRect/>
          </a:stretch>
        </p:blipFill>
        <p:spPr>
          <a:xfrm>
            <a:off x="12157200" y="7041600"/>
            <a:ext cx="698731" cy="248400"/>
          </a:xfrm>
          <a:prstGeom prst="rect">
            <a:avLst/>
          </a:prstGeom>
        </p:spPr>
      </p:pic>
      <p:sp>
        <p:nvSpPr>
          <p:cNvPr id="4" name="TemplafyBrandVersion" hidden="1">
            <a:extLst>
              <a:ext uri="{FF2B5EF4-FFF2-40B4-BE49-F238E27FC236}">
                <a16:creationId xmlns:a16="http://schemas.microsoft.com/office/drawing/2014/main" id="{1A8B0CA2-5221-9DB2-7255-ADFB586A19B2}"/>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3" name="Object 2" hidden="1">
            <a:extLst>
              <a:ext uri="{FF2B5EF4-FFF2-40B4-BE49-F238E27FC236}">
                <a16:creationId xmlns:a16="http://schemas.microsoft.com/office/drawing/2014/main" id="{636C5A5C-7326-2C57-18F1-9180E6E7BFC1}"/>
              </a:ext>
            </a:extLst>
          </p:cNvPr>
          <p:cNvGraphicFramePr>
            <a:graphicFrameLocks noChangeAspect="1"/>
          </p:cNvGraphicFramePr>
          <p:nvPr userDrawn="1">
            <p:custDataLst>
              <p:tags r:id="rId3"/>
            </p:custDataLst>
            <p:extLst>
              <p:ext uri="{D42A27DB-BD31-4B8C-83A1-F6EECF244321}">
                <p14:modId xmlns:p14="http://schemas.microsoft.com/office/powerpoint/2010/main" val="2610707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a:extLst>
                          <a:ext uri="{FF2B5EF4-FFF2-40B4-BE49-F238E27FC236}">
                            <a16:creationId xmlns:a16="http://schemas.microsoft.com/office/drawing/2014/main" id="{636C5A5C-7326-2C57-18F1-9180E6E7BF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2186F75-5F20-CC8F-316A-AC40CB33A710}"/>
              </a:ext>
            </a:extLst>
          </p:cNvPr>
          <p:cNvSpPr/>
          <p:nvPr userDrawn="1">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1" name="PXP_GRIDLINES" hidden="1">
            <a:extLst>
              <a:ext uri="{FF2B5EF4-FFF2-40B4-BE49-F238E27FC236}">
                <a16:creationId xmlns:a16="http://schemas.microsoft.com/office/drawing/2014/main" id="{08F8473D-7B12-40A1-E718-3213F4C79638}"/>
              </a:ext>
            </a:extLst>
          </p:cNvPr>
          <p:cNvGrpSpPr/>
          <p:nvPr userDrawn="1"/>
        </p:nvGrpSpPr>
        <p:grpSpPr>
          <a:xfrm>
            <a:off x="-1" y="0"/>
            <a:ext cx="13371660" cy="7543800"/>
            <a:chOff x="-20924" y="0"/>
            <a:chExt cx="10058400" cy="7543800"/>
          </a:xfrm>
        </p:grpSpPr>
        <p:cxnSp>
          <p:nvCxnSpPr>
            <p:cNvPr id="13" name="Straight Connector 12">
              <a:extLst>
                <a:ext uri="{FF2B5EF4-FFF2-40B4-BE49-F238E27FC236}">
                  <a16:creationId xmlns:a16="http://schemas.microsoft.com/office/drawing/2014/main" id="{DD098DC7-F9C1-4899-16D0-179D3D2B95D3}"/>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404F5F-7163-29C0-7CA1-A474372C1CAE}"/>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8E4175D-FD68-B324-993B-5314482291CF}"/>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75DC1D-3E78-E7BE-EA13-5973B64F4D75}"/>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F5182F6-F3E7-E5C6-FEFD-0AA960E32127}"/>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8188C9-EC0E-B07B-A41F-451702EDBE2D}"/>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68056382"/>
      </p:ext>
    </p:extLst>
  </p:cSld>
  <p:clrMapOvr>
    <a:masterClrMapping/>
  </p:clrMapOvr>
  <p:extLst>
    <p:ext uri="{DCECCB84-F9BA-43D5-87BE-67443E8EF086}">
      <p15:sldGuideLst xmlns:p15="http://schemas.microsoft.com/office/powerpoint/2012/main">
        <p15:guide id="3" pos="4326">
          <p15:clr>
            <a:srgbClr val="FBAE40"/>
          </p15:clr>
        </p15:guide>
        <p15:guide id="4" pos="4116">
          <p15:clr>
            <a:srgbClr val="FBAE40"/>
          </p15:clr>
        </p15:guide>
        <p15:guide id="5" orient="horz" pos="890">
          <p15:clr>
            <a:srgbClr val="FBAE40"/>
          </p15:clr>
        </p15:guide>
        <p15:guide id="6" orient="horz" pos="1224">
          <p15:clr>
            <a:srgbClr val="FBAE40"/>
          </p15:clr>
        </p15:guide>
        <p15:guide id="8" orient="horz" pos="2694">
          <p15:clr>
            <a:srgbClr val="FBAE40"/>
          </p15:clr>
        </p15:guide>
        <p15:guide id="12" orient="horz" pos="3920">
          <p15:clr>
            <a:srgbClr val="FBAE40"/>
          </p15:clr>
        </p15:guide>
        <p15:guide id="13" orient="horz" pos="257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box + top picture">
    <p:spTree>
      <p:nvGrpSpPr>
        <p:cNvPr id="1" name=""/>
        <p:cNvGrpSpPr/>
        <p:nvPr/>
      </p:nvGrpSpPr>
      <p:grpSpPr>
        <a:xfrm>
          <a:off x="0" y="0"/>
          <a:ext cx="0" cy="0"/>
          <a:chOff x="0" y="0"/>
          <a:chExt cx="0" cy="0"/>
        </a:xfrm>
      </p:grpSpPr>
      <p:sp>
        <p:nvSpPr>
          <p:cNvPr id="9" name="text" descr="{&quot;templafy&quot;:{&quot;id&quot;:&quot;959aedb1-ecfa-47c8-8189-fba0b425676a&quot;}}" hidden="1" title="Translations.Draft">
            <a:extLst>
              <a:ext uri="{FF2B5EF4-FFF2-40B4-BE49-F238E27FC236}">
                <a16:creationId xmlns:a16="http://schemas.microsoft.com/office/drawing/2014/main" id="{ECDDBB97-450D-A689-0570-0B41F5C9C5D7}"/>
              </a:ext>
            </a:extLst>
          </p:cNvPr>
          <p:cNvSpPr txBox="1"/>
          <p:nvPr>
            <p:custDataLst>
              <p:tags r:id="rId1"/>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5" name="Classification Tag" descr="{&quot;templafy&quot;:{&quot;id&quot;:&quot;daf79c0f-cecf-4d24-9176-e033548c9ee1&quot;}}">
            <a:extLst>
              <a:ext uri="{FF2B5EF4-FFF2-40B4-BE49-F238E27FC236}">
                <a16:creationId xmlns:a16="http://schemas.microsoft.com/office/drawing/2014/main" id="{DACD0A58-AF1F-4513-8561-31DDA6ED2937}"/>
              </a:ext>
            </a:extLst>
          </p:cNvPr>
          <p:cNvSpPr txBox="1"/>
          <p:nvPr userDrawn="1">
            <p:custDataLst>
              <p:tags r:id="rId2"/>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6" name="Title 5" descr="{&quot;templafy&quot;:{&quot;id&quot;:&quot;de0fdb99-c4cb-4ecb-ae9a-08504f7a9527&quot;}}">
            <a:extLst>
              <a:ext uri="{FF2B5EF4-FFF2-40B4-BE49-F238E27FC236}">
                <a16:creationId xmlns:a16="http://schemas.microsoft.com/office/drawing/2014/main" id="{FFA1D805-5ADD-B2ED-9A0C-CB361D7A3147}"/>
              </a:ext>
            </a:extLst>
          </p:cNvPr>
          <p:cNvSpPr>
            <a:spLocks noGrp="1"/>
          </p:cNvSpPr>
          <p:nvPr>
            <p:ph type="title" hasCustomPrompt="1"/>
          </p:nvPr>
        </p:nvSpPr>
        <p:spPr>
          <a:xfrm>
            <a:off x="548640" y="548640"/>
            <a:ext cx="6153785" cy="402336"/>
          </a:xfrm>
          <a:prstGeom prst="rect">
            <a:avLst/>
          </a:prstGeom>
        </p:spPr>
        <p:txBody>
          <a:bodyPr lIns="0" tIns="0" rIns="0" bIns="0" anchor="b"/>
          <a:lstStyle>
            <a:lvl1pPr>
              <a:defRPr sz="2800"/>
            </a:lvl1pPr>
          </a:lstStyle>
          <a:p>
            <a:r>
              <a:rPr lang="en-US"/>
              <a:t>&lt;&lt;Page heading&gt;&gt;</a:t>
            </a:r>
          </a:p>
        </p:txBody>
      </p:sp>
      <p:sp>
        <p:nvSpPr>
          <p:cNvPr id="23" name="Text Placeholder 22">
            <a:extLst>
              <a:ext uri="{FF2B5EF4-FFF2-40B4-BE49-F238E27FC236}">
                <a16:creationId xmlns:a16="http://schemas.microsoft.com/office/drawing/2014/main" id="{4AF02C15-EDB2-A594-AE74-50605463B12C}"/>
              </a:ext>
            </a:extLst>
          </p:cNvPr>
          <p:cNvSpPr>
            <a:spLocks noGrp="1"/>
          </p:cNvSpPr>
          <p:nvPr>
            <p:ph type="body" sz="quarter" idx="25" hasCustomPrompt="1"/>
          </p:nvPr>
        </p:nvSpPr>
        <p:spPr>
          <a:xfrm>
            <a:off x="548640" y="1005840"/>
            <a:ext cx="6156683" cy="402336"/>
          </a:xfrm>
          <a:prstGeom prst="rect">
            <a:avLst/>
          </a:prstGeom>
        </p:spPr>
        <p:txBody>
          <a:bodyPr/>
          <a:lstStyle>
            <a:lvl1pPr marL="0" indent="0">
              <a:lnSpc>
                <a:spcPct val="100000"/>
              </a:lnSpc>
              <a:spcBef>
                <a:spcPts val="0"/>
              </a:spcBef>
              <a:buNone/>
              <a:defRPr sz="1600"/>
            </a:lvl1pPr>
            <a:lvl2pPr>
              <a:defRPr sz="1800"/>
            </a:lvl2pPr>
            <a:lvl3pPr>
              <a:defRPr sz="1800"/>
            </a:lvl3pPr>
            <a:lvl4pPr>
              <a:defRPr sz="1800"/>
            </a:lvl4pPr>
            <a:lvl5pPr>
              <a:defRPr sz="1800"/>
            </a:lvl5pPr>
          </a:lstStyle>
          <a:p>
            <a:pPr lvl="0"/>
            <a:r>
              <a:rPr lang="en-US"/>
              <a:t>Subtitle of the slide</a:t>
            </a:r>
          </a:p>
        </p:txBody>
      </p:sp>
      <p:sp>
        <p:nvSpPr>
          <p:cNvPr id="12" name="Content Placeholder 9" descr="{&quot;templafy&quot;:{&quot;id&quot;:&quot;1e6a4af1-6641-4efe-963d-7f6c7506e94c&quot;}}">
            <a:extLst>
              <a:ext uri="{FF2B5EF4-FFF2-40B4-BE49-F238E27FC236}">
                <a16:creationId xmlns:a16="http://schemas.microsoft.com/office/drawing/2014/main" id="{3B70648E-1249-881B-617A-44D4BAFC320C}"/>
              </a:ext>
            </a:extLst>
          </p:cNvPr>
          <p:cNvSpPr>
            <a:spLocks noGrp="1"/>
          </p:cNvSpPr>
          <p:nvPr>
            <p:ph sz="quarter" idx="27" hasCustomPrompt="1"/>
          </p:nvPr>
        </p:nvSpPr>
        <p:spPr>
          <a:xfrm>
            <a:off x="548640" y="1947672"/>
            <a:ext cx="6156683" cy="274320"/>
          </a:xfrm>
        </p:spPr>
        <p:txBody>
          <a:bodyPr/>
          <a:lstStyle>
            <a:lvl1pPr marL="0" indent="0">
              <a:buNone/>
              <a:defRPr sz="1400" b="1"/>
            </a:lvl1pPr>
          </a:lstStyle>
          <a:p>
            <a:pPr lvl="0"/>
            <a:r>
              <a:rPr lang="en-US"/>
              <a:t>Layout heading</a:t>
            </a:r>
          </a:p>
        </p:txBody>
      </p:sp>
      <p:sp>
        <p:nvSpPr>
          <p:cNvPr id="10" name="Content Placeholder 9">
            <a:extLst>
              <a:ext uri="{FF2B5EF4-FFF2-40B4-BE49-F238E27FC236}">
                <a16:creationId xmlns:a16="http://schemas.microsoft.com/office/drawing/2014/main" id="{9C54D557-3677-1E3D-E4CB-07D2A9FDDA2B}"/>
              </a:ext>
            </a:extLst>
          </p:cNvPr>
          <p:cNvSpPr>
            <a:spLocks noGrp="1"/>
          </p:cNvSpPr>
          <p:nvPr>
            <p:ph sz="quarter" idx="26"/>
          </p:nvPr>
        </p:nvSpPr>
        <p:spPr>
          <a:xfrm>
            <a:off x="548640" y="2295142"/>
            <a:ext cx="6156684" cy="38628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Source" descr="{&quot;templafy&quot;:{&quot;id&quot;:&quot;0a7c550d-67a8-4462-9baa-82585007913b&quot;}}">
            <a:extLst>
              <a:ext uri="{FF2B5EF4-FFF2-40B4-BE49-F238E27FC236}">
                <a16:creationId xmlns:a16="http://schemas.microsoft.com/office/drawing/2014/main" id="{8AB0C2F1-3786-D80E-A1C5-7AAE68870051}"/>
              </a:ext>
            </a:extLst>
          </p:cNvPr>
          <p:cNvSpPr>
            <a:spLocks noGrp="1"/>
          </p:cNvSpPr>
          <p:nvPr>
            <p:ph type="body" sz="quarter" idx="29" hasCustomPrompt="1"/>
          </p:nvPr>
        </p:nvSpPr>
        <p:spPr>
          <a:xfrm>
            <a:off x="548640" y="6230376"/>
            <a:ext cx="6157912" cy="182880"/>
          </a:xfrm>
        </p:spPr>
        <p:txBody>
          <a:bodyPr/>
          <a:lstStyle>
            <a:lvl1pPr marL="0" indent="0">
              <a:buNone/>
              <a:defRPr sz="800"/>
            </a:lvl1pPr>
          </a:lstStyle>
          <a:p>
            <a:pPr lvl="0"/>
            <a:r>
              <a:rPr lang="en-US"/>
              <a:t>Source</a:t>
            </a:r>
          </a:p>
        </p:txBody>
      </p:sp>
      <p:sp>
        <p:nvSpPr>
          <p:cNvPr id="7" name="Picture Placeholder 6">
            <a:extLst>
              <a:ext uri="{FF2B5EF4-FFF2-40B4-BE49-F238E27FC236}">
                <a16:creationId xmlns:a16="http://schemas.microsoft.com/office/drawing/2014/main" id="{D42DD8FD-2783-E82D-761D-34991DFB14FA}"/>
              </a:ext>
            </a:extLst>
          </p:cNvPr>
          <p:cNvSpPr>
            <a:spLocks noGrp="1"/>
          </p:cNvSpPr>
          <p:nvPr>
            <p:ph type="pic" sz="quarter" idx="28"/>
          </p:nvPr>
        </p:nvSpPr>
        <p:spPr>
          <a:xfrm>
            <a:off x="7464851" y="-1"/>
            <a:ext cx="5939999" cy="6223001"/>
          </a:xfrm>
        </p:spPr>
        <p:txBody>
          <a:bodyPr tIns="648000" anchor="ctr"/>
          <a:lstStyle>
            <a:lvl1pPr marL="0" indent="0" algn="ctr">
              <a:buNone/>
              <a:defRPr sz="1400"/>
            </a:lvl1pPr>
          </a:lstStyle>
          <a:p>
            <a:r>
              <a:rPr lang="en-US"/>
              <a:t>Click icon to add picture</a:t>
            </a:r>
          </a:p>
        </p:txBody>
      </p:sp>
      <p:sp>
        <p:nvSpPr>
          <p:cNvPr id="4" name="Footer Placeholder 3">
            <a:extLst>
              <a:ext uri="{FF2B5EF4-FFF2-40B4-BE49-F238E27FC236}">
                <a16:creationId xmlns:a16="http://schemas.microsoft.com/office/drawing/2014/main" id="{BBC4E530-2597-70CD-795B-1668923FEBAF}"/>
              </a:ext>
            </a:extLst>
          </p:cNvPr>
          <p:cNvSpPr>
            <a:spLocks noGrp="1"/>
          </p:cNvSpPr>
          <p:nvPr>
            <p:ph type="ftr" sz="quarter" idx="11"/>
          </p:nvPr>
        </p:nvSpPr>
        <p:spPr>
          <a:xfrm>
            <a:off x="2520000" y="7153200"/>
            <a:ext cx="9000000" cy="118800"/>
          </a:xfrm>
          <a:prstGeom prst="rect">
            <a:avLst/>
          </a:prstGeom>
        </p:spPr>
        <p:txBody>
          <a:bodyPr vert="horz" lIns="0" tIns="0" rIns="0" bIns="0" rtlCol="0" anchor="b"/>
          <a:lstStyle>
            <a:defPPr>
              <a:defRPr lang="en-US"/>
            </a:defPPr>
            <a:lvl1pPr algn="l" rtl="0" eaLnBrk="0" fontAlgn="base" hangingPunct="0">
              <a:spcBef>
                <a:spcPts val="0"/>
              </a:spcBef>
              <a:spcAft>
                <a:spcPct val="0"/>
              </a:spcAft>
              <a:defRPr lang="en-GB" sz="800"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endParaRPr lang="en-US"/>
          </a:p>
        </p:txBody>
      </p:sp>
      <p:pic>
        <p:nvPicPr>
          <p:cNvPr id="2038442956" name="Logo" descr="{&quot;templafy&quot;:{&quot;id&quot;:&quot;31766f88-3af3-4478-91e0-a025e75e93e4&quot;}}"/>
          <p:cNvPicPr>
            <a:picLocks noChangeAspect="1"/>
          </p:cNvPicPr>
          <p:nvPr/>
        </p:nvPicPr>
        <p:blipFill>
          <a:blip r:embed="rId6"/>
          <a:stretch>
            <a:fillRect/>
          </a:stretch>
        </p:blipFill>
        <p:spPr>
          <a:xfrm>
            <a:off x="12157200" y="7041600"/>
            <a:ext cx="698731" cy="248400"/>
          </a:xfrm>
          <a:prstGeom prst="rect">
            <a:avLst/>
          </a:prstGeom>
        </p:spPr>
      </p:pic>
      <p:sp>
        <p:nvSpPr>
          <p:cNvPr id="14" name="TemplafyBrandVersion" hidden="1">
            <a:extLst>
              <a:ext uri="{FF2B5EF4-FFF2-40B4-BE49-F238E27FC236}">
                <a16:creationId xmlns:a16="http://schemas.microsoft.com/office/drawing/2014/main" id="{79FDFD5C-BE09-4622-63B9-933A96A87071}"/>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15" name="Object 14" hidden="1">
            <a:extLst>
              <a:ext uri="{FF2B5EF4-FFF2-40B4-BE49-F238E27FC236}">
                <a16:creationId xmlns:a16="http://schemas.microsoft.com/office/drawing/2014/main" id="{619ED45E-5A98-BB27-E968-E8130217C405}"/>
              </a:ext>
            </a:extLst>
          </p:cNvPr>
          <p:cNvGraphicFramePr>
            <a:graphicFrameLocks noChangeAspect="1"/>
          </p:cNvGraphicFramePr>
          <p:nvPr userDrawn="1">
            <p:custDataLst>
              <p:tags r:id="rId3"/>
            </p:custDataLst>
            <p:extLst>
              <p:ext uri="{D42A27DB-BD31-4B8C-83A1-F6EECF244321}">
                <p14:modId xmlns:p14="http://schemas.microsoft.com/office/powerpoint/2010/main" val="3090212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15" name="Object 14" hidden="1">
                        <a:extLst>
                          <a:ext uri="{FF2B5EF4-FFF2-40B4-BE49-F238E27FC236}">
                            <a16:creationId xmlns:a16="http://schemas.microsoft.com/office/drawing/2014/main" id="{619ED45E-5A98-BB27-E968-E8130217C40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4C51448A-5532-F015-ADAF-F820D871D60C}"/>
              </a:ext>
            </a:extLst>
          </p:cNvPr>
          <p:cNvSpPr/>
          <p:nvPr userDrawn="1">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7" name="PXP_GRIDLINES" hidden="1">
            <a:extLst>
              <a:ext uri="{FF2B5EF4-FFF2-40B4-BE49-F238E27FC236}">
                <a16:creationId xmlns:a16="http://schemas.microsoft.com/office/drawing/2014/main" id="{BBBB2E5E-027C-9EE8-545F-BF584B5D5B84}"/>
              </a:ext>
            </a:extLst>
          </p:cNvPr>
          <p:cNvGrpSpPr/>
          <p:nvPr userDrawn="1"/>
        </p:nvGrpSpPr>
        <p:grpSpPr>
          <a:xfrm>
            <a:off x="-1" y="0"/>
            <a:ext cx="13371660" cy="7543800"/>
            <a:chOff x="-20924" y="0"/>
            <a:chExt cx="10058400" cy="7543800"/>
          </a:xfrm>
        </p:grpSpPr>
        <p:cxnSp>
          <p:nvCxnSpPr>
            <p:cNvPr id="18" name="Straight Connector 17">
              <a:extLst>
                <a:ext uri="{FF2B5EF4-FFF2-40B4-BE49-F238E27FC236}">
                  <a16:creationId xmlns:a16="http://schemas.microsoft.com/office/drawing/2014/main" id="{0137DAE9-3EEC-F8DD-11FF-136283CC7E50}"/>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A6FE9B0-F949-B02D-B532-BD34209BE04A}"/>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07CDDB1-3138-E0F0-785E-3E539E3E4F56}"/>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7C27F2C-CACE-1E87-10A3-8F9D68A818CC}"/>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3F6ED43-9AD6-4FE4-D5C0-88C3DB332219}"/>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D6ADC9B-B8A3-B082-4D4A-64C0F4B15A27}"/>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77501011"/>
      </p:ext>
    </p:extLst>
  </p:cSld>
  <p:clrMapOvr>
    <a:masterClrMapping/>
  </p:clrMapOvr>
  <p:extLst>
    <p:ext uri="{DCECCB84-F9BA-43D5-87BE-67443E8EF086}">
      <p15:sldGuideLst xmlns:p15="http://schemas.microsoft.com/office/powerpoint/2012/main">
        <p15:guide id="2" orient="horz" pos="1223">
          <p15:clr>
            <a:srgbClr val="FBAE40"/>
          </p15:clr>
        </p15:guide>
        <p15:guide id="3" orient="horz" pos="890">
          <p15:clr>
            <a:srgbClr val="FBAE40"/>
          </p15:clr>
        </p15:guide>
        <p15:guide id="6" pos="4222">
          <p15:clr>
            <a:srgbClr val="FBAE40"/>
          </p15:clr>
        </p15:guide>
        <p15:guide id="7" orient="horz" pos="389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A ">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08128C2F-FF3F-74CF-114F-B9964FF32C5E}"/>
              </a:ext>
              <a:ext uri="{C183D7F6-B498-43B3-948B-1728B52AA6E4}">
                <adec:decorative xmlns:adec="http://schemas.microsoft.com/office/drawing/2017/decorative" val="1"/>
              </a:ext>
            </a:extLst>
          </p:cNvPr>
          <p:cNvSpPr>
            <a:spLocks noGrp="1"/>
          </p:cNvSpPr>
          <p:nvPr>
            <p:ph type="pic" sz="quarter" idx="19"/>
          </p:nvPr>
        </p:nvSpPr>
        <p:spPr>
          <a:xfrm>
            <a:off x="4791600" y="1454400"/>
            <a:ext cx="8614800" cy="6091200"/>
          </a:xfrm>
          <a:custGeom>
            <a:avLst/>
            <a:gdLst>
              <a:gd name="connsiteX0" fmla="*/ 0 w 8614800"/>
              <a:gd name="connsiteY0" fmla="*/ 0 h 6091200"/>
              <a:gd name="connsiteX1" fmla="*/ 8614800 w 8614800"/>
              <a:gd name="connsiteY1" fmla="*/ 0 h 6091200"/>
              <a:gd name="connsiteX2" fmla="*/ 8614800 w 8614800"/>
              <a:gd name="connsiteY2" fmla="*/ 4784400 h 6091200"/>
              <a:gd name="connsiteX3" fmla="*/ 6202800 w 8614800"/>
              <a:gd name="connsiteY3" fmla="*/ 4784400 h 6091200"/>
              <a:gd name="connsiteX4" fmla="*/ 6202800 w 8614800"/>
              <a:gd name="connsiteY4" fmla="*/ 5713200 h 6091200"/>
              <a:gd name="connsiteX5" fmla="*/ 8614800 w 8614800"/>
              <a:gd name="connsiteY5" fmla="*/ 5713200 h 6091200"/>
              <a:gd name="connsiteX6" fmla="*/ 8614800 w 8614800"/>
              <a:gd name="connsiteY6" fmla="*/ 6091200 h 6091200"/>
              <a:gd name="connsiteX7" fmla="*/ 0 w 8614800"/>
              <a:gd name="connsiteY7" fmla="*/ 6091200 h 609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4800" h="6091200">
                <a:moveTo>
                  <a:pt x="0" y="0"/>
                </a:moveTo>
                <a:lnTo>
                  <a:pt x="8614800" y="0"/>
                </a:lnTo>
                <a:lnTo>
                  <a:pt x="8614800" y="4784400"/>
                </a:lnTo>
                <a:lnTo>
                  <a:pt x="6202800" y="4784400"/>
                </a:lnTo>
                <a:lnTo>
                  <a:pt x="6202800" y="5713200"/>
                </a:lnTo>
                <a:lnTo>
                  <a:pt x="8614800" y="5713200"/>
                </a:lnTo>
                <a:lnTo>
                  <a:pt x="8614800" y="6091200"/>
                </a:lnTo>
                <a:lnTo>
                  <a:pt x="0" y="6091200"/>
                </a:lnTo>
                <a:close/>
              </a:path>
            </a:pathLst>
          </a:custGeom>
          <a:solidFill>
            <a:srgbClr val="CCCABC"/>
          </a:solidFill>
        </p:spPr>
        <p:txBody>
          <a:bodyPr wrap="square" tIns="720000" anchor="t" anchorCtr="1">
            <a:noAutofit/>
          </a:bodyPr>
          <a:lstStyle>
            <a:lvl1pPr marL="0" indent="0">
              <a:buNone/>
              <a:defRPr/>
            </a:lvl1pPr>
          </a:lstStyle>
          <a:p>
            <a:r>
              <a:rPr lang="en-US"/>
              <a:t>Click icon to add picture</a:t>
            </a:r>
          </a:p>
        </p:txBody>
      </p:sp>
      <p:sp>
        <p:nvSpPr>
          <p:cNvPr id="3" name="text" descr="{&quot;templafy&quot;:{&quot;id&quot;:&quot;1a50339a-d8de-4d9f-9591-8178656c96cd&quot;}}" hidden="1" title="Translations.Draft">
            <a:extLst>
              <a:ext uri="{FF2B5EF4-FFF2-40B4-BE49-F238E27FC236}">
                <a16:creationId xmlns:a16="http://schemas.microsoft.com/office/drawing/2014/main" id="{58B31B69-425D-6F80-21D2-F5BBAE492FE5}"/>
              </a:ext>
            </a:extLst>
          </p:cNvPr>
          <p:cNvSpPr txBox="1"/>
          <p:nvPr>
            <p:custDataLst>
              <p:tags r:id="rId1"/>
            </p:custDataLst>
          </p:nvPr>
        </p:nvSpPr>
        <p:spPr>
          <a:xfrm>
            <a:off x="507600" y="547200"/>
            <a:ext cx="824400" cy="1836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400" b="1" i="0" u="none" baseline="0">
                <a:solidFill>
                  <a:schemeClr val="tx2"/>
                </a:solidFill>
                <a:latin typeface="+mn-lt"/>
              </a:rPr>
              <a:t>Draft</a:t>
            </a:r>
          </a:p>
        </p:txBody>
      </p:sp>
      <p:sp>
        <p:nvSpPr>
          <p:cNvPr id="9" name="Keyline Title" descr="{&quot;templafy&quot;:{&quot;id&quot;:&quot;9a71b0d6-5ca5-4a6f-8a35-fa0830bb5965&quot;}}">
            <a:extLst>
              <a:ext uri="{FF2B5EF4-FFF2-40B4-BE49-F238E27FC236}">
                <a16:creationId xmlns:a16="http://schemas.microsoft.com/office/drawing/2014/main" id="{C4143F5F-57BE-0817-FC2D-DA0BEB72EDD5}"/>
              </a:ext>
            </a:extLst>
          </p:cNvPr>
          <p:cNvSpPr>
            <a:spLocks noGrp="1"/>
          </p:cNvSpPr>
          <p:nvPr>
            <p:ph type="title" hasCustomPrompt="1"/>
          </p:nvPr>
        </p:nvSpPr>
        <p:spPr>
          <a:xfrm>
            <a:off x="584358" y="1463040"/>
            <a:ext cx="3852000" cy="1800000"/>
          </a:xfrm>
          <a:custGeom>
            <a:avLst/>
            <a:gdLst>
              <a:gd name="connsiteX0" fmla="*/ 0 w 12313368"/>
              <a:gd name="connsiteY0" fmla="*/ 0 h 495300"/>
              <a:gd name="connsiteX1" fmla="*/ 12313368 w 12313368"/>
              <a:gd name="connsiteY1" fmla="*/ 0 h 495300"/>
              <a:gd name="connsiteX2" fmla="*/ 12313368 w 12313368"/>
              <a:gd name="connsiteY2" fmla="*/ 495300 h 495300"/>
              <a:gd name="connsiteX3" fmla="*/ 0 w 12313368"/>
              <a:gd name="connsiteY3" fmla="*/ 495300 h 495300"/>
              <a:gd name="connsiteX4" fmla="*/ 0 w 12313368"/>
              <a:gd name="connsiteY4" fmla="*/ 0 h 495300"/>
              <a:gd name="connsiteX0" fmla="*/ 12313368 w 12404808"/>
              <a:gd name="connsiteY0" fmla="*/ 495300 h 495300"/>
              <a:gd name="connsiteX1" fmla="*/ 0 w 12404808"/>
              <a:gd name="connsiteY1" fmla="*/ 495300 h 495300"/>
              <a:gd name="connsiteX2" fmla="*/ 0 w 12404808"/>
              <a:gd name="connsiteY2" fmla="*/ 0 h 495300"/>
              <a:gd name="connsiteX3" fmla="*/ 12404808 w 12404808"/>
              <a:gd name="connsiteY3" fmla="*/ 91440 h 495300"/>
              <a:gd name="connsiteX0" fmla="*/ 12313368 w 12313368"/>
              <a:gd name="connsiteY0" fmla="*/ 495300 h 495300"/>
              <a:gd name="connsiteX1" fmla="*/ 0 w 12313368"/>
              <a:gd name="connsiteY1" fmla="*/ 495300 h 495300"/>
              <a:gd name="connsiteX2" fmla="*/ 0 w 12313368"/>
              <a:gd name="connsiteY2" fmla="*/ 0 h 495300"/>
              <a:gd name="connsiteX0" fmla="*/ 0 w 0"/>
              <a:gd name="connsiteY0" fmla="*/ 495300 h 495300"/>
              <a:gd name="connsiteX1" fmla="*/ 0 w 0"/>
              <a:gd name="connsiteY1" fmla="*/ 0 h 495300"/>
              <a:gd name="connsiteX0" fmla="*/ 0 w 0"/>
              <a:gd name="connsiteY0" fmla="*/ 10000 h 10000"/>
              <a:gd name="connsiteX1" fmla="*/ 0 w 0"/>
              <a:gd name="connsiteY1" fmla="*/ 0 h 10000"/>
              <a:gd name="connsiteX2" fmla="*/ 0 w 0"/>
              <a:gd name="connsiteY2" fmla="*/ 10000 h 10000"/>
            </a:gdLst>
            <a:ahLst/>
            <a:cxnLst>
              <a:cxn ang="0">
                <a:pos x="connsiteX0" y="connsiteY0"/>
              </a:cxn>
              <a:cxn ang="0">
                <a:pos x="connsiteX1" y="connsiteY1"/>
              </a:cxn>
              <a:cxn ang="0">
                <a:pos x="connsiteX2" y="connsiteY2"/>
              </a:cxn>
            </a:cxnLst>
            <a:rect l="l" t="t" r="r" b="b"/>
            <a:pathLst>
              <a:path h="10000">
                <a:moveTo>
                  <a:pt x="0" y="10000"/>
                </a:moveTo>
                <a:lnTo>
                  <a:pt x="0" y="0"/>
                </a:lnTo>
                <a:lnTo>
                  <a:pt x="0" y="10000"/>
                </a:lnTo>
                <a:close/>
              </a:path>
            </a:pathLst>
          </a:custGeom>
          <a:ln w="76200" cap="sq">
            <a:solidFill>
              <a:schemeClr val="tx2"/>
            </a:solidFill>
            <a:miter lim="800000"/>
          </a:ln>
        </p:spPr>
        <p:txBody>
          <a:bodyPr wrap="square" lIns="410400" anchor="t">
            <a:noAutofit/>
          </a:bodyPr>
          <a:lstStyle>
            <a:lvl1pPr>
              <a:lnSpc>
                <a:spcPct val="86000"/>
              </a:lnSpc>
              <a:defRPr sz="4400">
                <a:solidFill>
                  <a:schemeClr val="tx1"/>
                </a:solidFill>
              </a:defRPr>
            </a:lvl1pPr>
          </a:lstStyle>
          <a:p>
            <a:br>
              <a:rPr lang="en-US"/>
            </a:br>
            <a:r>
              <a:rPr lang="en-US"/>
              <a:t>Presentation title</a:t>
            </a:r>
          </a:p>
        </p:txBody>
      </p:sp>
      <p:sp>
        <p:nvSpPr>
          <p:cNvPr id="7" name="Infoline Title" descr="{&quot;templafy&quot;:{&quot;id&quot;:&quot;6ed0759c-e753-4201-8d62-1d274c4c3d88&quot;}}">
            <a:extLst>
              <a:ext uri="{FF2B5EF4-FFF2-40B4-BE49-F238E27FC236}">
                <a16:creationId xmlns:a16="http://schemas.microsoft.com/office/drawing/2014/main" id="{FC21D86A-5AB3-C30D-E4B4-05FF4A61B8D0}"/>
              </a:ext>
            </a:extLst>
          </p:cNvPr>
          <p:cNvSpPr>
            <a:spLocks noGrp="1"/>
          </p:cNvSpPr>
          <p:nvPr>
            <p:ph type="body" sz="quarter" idx="29" hasCustomPrompt="1"/>
          </p:nvPr>
        </p:nvSpPr>
        <p:spPr>
          <a:xfrm>
            <a:off x="583200" y="2924775"/>
            <a:ext cx="3805200" cy="338400"/>
          </a:xfrm>
        </p:spPr>
        <p:txBody>
          <a:bodyPr lIns="410400" tIns="0" rIns="0" bIns="0"/>
          <a:lstStyle>
            <a:lvl1pPr marL="0" indent="0">
              <a:spcBef>
                <a:spcPts val="0"/>
              </a:spcBef>
              <a:buFontTx/>
              <a:buNone/>
              <a:defRPr sz="2200"/>
            </a:lvl1pPr>
          </a:lstStyle>
          <a:p>
            <a:pPr lvl="0"/>
            <a:r>
              <a:rPr lang="en-US"/>
              <a:t>&lt;&lt;Infoline&gt;&gt;</a:t>
            </a:r>
          </a:p>
        </p:txBody>
      </p:sp>
      <p:sp>
        <p:nvSpPr>
          <p:cNvPr id="14" name="Text Placeholder 13" descr="{&quot;templafy&quot;:{&quot;id&quot;:&quot;136cb9d1-17f4-4d8c-ab63-fb4320a96fd7&quot;}}">
            <a:extLst>
              <a:ext uri="{FF2B5EF4-FFF2-40B4-BE49-F238E27FC236}">
                <a16:creationId xmlns:a16="http://schemas.microsoft.com/office/drawing/2014/main" id="{A4E56FA7-7A1E-203F-89B9-5BFAA64217CD}"/>
              </a:ext>
            </a:extLst>
          </p:cNvPr>
          <p:cNvSpPr>
            <a:spLocks noGrp="1"/>
          </p:cNvSpPr>
          <p:nvPr>
            <p:ph type="body" sz="quarter" idx="30" hasCustomPrompt="1"/>
          </p:nvPr>
        </p:nvSpPr>
        <p:spPr>
          <a:xfrm>
            <a:off x="547688" y="46584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8" name="Text Placeholder 13" descr="{&quot;templafy&quot;:{&quot;id&quot;:&quot;8592c434-e067-49e8-86b2-8a10f0aa276c&quot;}}">
            <a:extLst>
              <a:ext uri="{FF2B5EF4-FFF2-40B4-BE49-F238E27FC236}">
                <a16:creationId xmlns:a16="http://schemas.microsoft.com/office/drawing/2014/main" id="{DAC312AB-11F1-885C-1A09-34148DB61E96}"/>
              </a:ext>
            </a:extLst>
          </p:cNvPr>
          <p:cNvSpPr>
            <a:spLocks noGrp="1"/>
          </p:cNvSpPr>
          <p:nvPr>
            <p:ph type="body" sz="quarter" idx="33" hasCustomPrompt="1"/>
          </p:nvPr>
        </p:nvSpPr>
        <p:spPr>
          <a:xfrm>
            <a:off x="547200" y="49104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5" name="Text Placeholder 13" descr="{&quot;templafy&quot;:{&quot;id&quot;:&quot;15e78427-5629-4abc-a2da-112be01aabe2&quot;}}">
            <a:extLst>
              <a:ext uri="{FF2B5EF4-FFF2-40B4-BE49-F238E27FC236}">
                <a16:creationId xmlns:a16="http://schemas.microsoft.com/office/drawing/2014/main" id="{F714BA28-ABA1-1E2D-FCAD-02357B3A94B1}"/>
              </a:ext>
            </a:extLst>
          </p:cNvPr>
          <p:cNvSpPr>
            <a:spLocks noGrp="1"/>
          </p:cNvSpPr>
          <p:nvPr>
            <p:ph type="body" sz="quarter" idx="31" hasCustomPrompt="1"/>
          </p:nvPr>
        </p:nvSpPr>
        <p:spPr>
          <a:xfrm>
            <a:off x="547688" y="52416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10" name="Text Placeholder 13" descr="{&quot;templafy&quot;:{&quot;id&quot;:&quot;b5ea2915-d27c-4c55-972b-d3e4135d3367&quot;}}">
            <a:extLst>
              <a:ext uri="{FF2B5EF4-FFF2-40B4-BE49-F238E27FC236}">
                <a16:creationId xmlns:a16="http://schemas.microsoft.com/office/drawing/2014/main" id="{912965F0-3BFA-52D7-80C7-8936FE07046F}"/>
              </a:ext>
            </a:extLst>
          </p:cNvPr>
          <p:cNvSpPr>
            <a:spLocks noGrp="1"/>
          </p:cNvSpPr>
          <p:nvPr>
            <p:ph type="body" sz="quarter" idx="34" hasCustomPrompt="1"/>
          </p:nvPr>
        </p:nvSpPr>
        <p:spPr>
          <a:xfrm>
            <a:off x="547199" y="54936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6" name="Text Placeholder 13" descr="{&quot;templafy&quot;:{&quot;id&quot;:&quot;62b5d627-5e5d-4632-8a0c-53d35308d260&quot;}}">
            <a:extLst>
              <a:ext uri="{FF2B5EF4-FFF2-40B4-BE49-F238E27FC236}">
                <a16:creationId xmlns:a16="http://schemas.microsoft.com/office/drawing/2014/main" id="{20CDB483-E483-512F-9AA7-1FD6290F02E2}"/>
              </a:ext>
            </a:extLst>
          </p:cNvPr>
          <p:cNvSpPr>
            <a:spLocks noGrp="1"/>
          </p:cNvSpPr>
          <p:nvPr>
            <p:ph type="body" sz="quarter" idx="32" hasCustomPrompt="1"/>
          </p:nvPr>
        </p:nvSpPr>
        <p:spPr>
          <a:xfrm>
            <a:off x="547200" y="58284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12" name="Text Placeholder 13" descr="{&quot;templafy&quot;:{&quot;id&quot;:&quot;0c3cbf1d-ee62-4e7a-9ac9-005e72a2d327&quot;}}">
            <a:extLst>
              <a:ext uri="{FF2B5EF4-FFF2-40B4-BE49-F238E27FC236}">
                <a16:creationId xmlns:a16="http://schemas.microsoft.com/office/drawing/2014/main" id="{24877F8C-8536-570D-DB18-69ED1FFDE170}"/>
              </a:ext>
            </a:extLst>
          </p:cNvPr>
          <p:cNvSpPr>
            <a:spLocks noGrp="1"/>
          </p:cNvSpPr>
          <p:nvPr>
            <p:ph type="body" sz="quarter" idx="35" hasCustomPrompt="1"/>
          </p:nvPr>
        </p:nvSpPr>
        <p:spPr>
          <a:xfrm>
            <a:off x="547200" y="60804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1" name="Date" descr="{&quot;templafy&quot;:{&quot;id&quot;:&quot;4b650679-0d6f-4a76-8010-9db3e784cf80&quot;}}">
            <a:extLst>
              <a:ext uri="{FF2B5EF4-FFF2-40B4-BE49-F238E27FC236}">
                <a16:creationId xmlns:a16="http://schemas.microsoft.com/office/drawing/2014/main" id="{BB4D4232-CAD3-2C5F-973E-A8E640FAB76C}"/>
              </a:ext>
            </a:extLst>
          </p:cNvPr>
          <p:cNvSpPr>
            <a:spLocks noGrp="1"/>
          </p:cNvSpPr>
          <p:nvPr>
            <p:ph type="body" sz="quarter" idx="26" hasCustomPrompt="1"/>
          </p:nvPr>
        </p:nvSpPr>
        <p:spPr>
          <a:xfrm>
            <a:off x="548640" y="6852517"/>
            <a:ext cx="1371600" cy="137160"/>
          </a:xfrm>
          <a:prstGeom prst="rect">
            <a:avLst/>
          </a:prstGeom>
        </p:spPr>
        <p:txBody>
          <a:bodyPr/>
          <a:lstStyle>
            <a:lvl1pPr marL="0" indent="0">
              <a:lnSpc>
                <a:spcPct val="100000"/>
              </a:lnSpc>
              <a:spcBef>
                <a:spcPts val="0"/>
              </a:spcBef>
              <a:buNone/>
              <a:defRPr sz="1100"/>
            </a:lvl1pPr>
            <a:lvl2pPr marL="191520" indent="0">
              <a:buNone/>
              <a:defRPr/>
            </a:lvl2pPr>
            <a:lvl3pPr marL="384048" indent="0">
              <a:buNone/>
              <a:defRPr/>
            </a:lvl3pPr>
            <a:lvl4pPr marL="576389" indent="0">
              <a:buNone/>
              <a:defRPr/>
            </a:lvl4pPr>
            <a:lvl5pPr marL="768413" indent="0">
              <a:buNone/>
              <a:defRPr/>
            </a:lvl5pPr>
          </a:lstStyle>
          <a:p>
            <a:pPr lvl="0"/>
            <a:r>
              <a:rPr lang="en-US"/>
              <a:t>&lt;&lt;Date&gt;&gt;</a:t>
            </a:r>
          </a:p>
        </p:txBody>
      </p:sp>
      <p:sp>
        <p:nvSpPr>
          <p:cNvPr id="6" name="LogoTab">
            <a:extLst>
              <a:ext uri="{FF2B5EF4-FFF2-40B4-BE49-F238E27FC236}">
                <a16:creationId xmlns:a16="http://schemas.microsoft.com/office/drawing/2014/main" id="{659BC50E-3523-A7C9-C04C-C66E44F90ED3}"/>
              </a:ext>
            </a:extLst>
          </p:cNvPr>
          <p:cNvSpPr/>
          <p:nvPr/>
        </p:nvSpPr>
        <p:spPr>
          <a:xfrm>
            <a:off x="10994400" y="6238800"/>
            <a:ext cx="2412000" cy="9288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pic>
        <p:nvPicPr>
          <p:cNvPr id="605404795" name="InsideLogo" descr="{&quot;templafy&quot;:{&quot;id&quot;:&quot;ef697097-98c9-49d7-ae7d-d903a446ba68&quot;}}"/>
          <p:cNvPicPr>
            <a:picLocks noChangeAspect="1"/>
          </p:cNvPicPr>
          <p:nvPr/>
        </p:nvPicPr>
        <p:blipFill>
          <a:blip r:embed="rId6"/>
          <a:stretch>
            <a:fillRect/>
          </a:stretch>
        </p:blipFill>
        <p:spPr>
          <a:xfrm>
            <a:off x="11271600" y="6429600"/>
            <a:ext cx="1569612" cy="558000"/>
          </a:xfrm>
          <a:prstGeom prst="rect">
            <a:avLst/>
          </a:prstGeom>
        </p:spPr>
      </p:pic>
      <p:sp>
        <p:nvSpPr>
          <p:cNvPr id="17" name="TemplafyBrandVersion" hidden="1">
            <a:extLst>
              <a:ext uri="{FF2B5EF4-FFF2-40B4-BE49-F238E27FC236}">
                <a16:creationId xmlns:a16="http://schemas.microsoft.com/office/drawing/2014/main" id="{14DFF444-7C94-2D7A-A30B-F4A1D4BD64F2}"/>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18" name="Object 17" hidden="1">
            <a:extLst>
              <a:ext uri="{FF2B5EF4-FFF2-40B4-BE49-F238E27FC236}">
                <a16:creationId xmlns:a16="http://schemas.microsoft.com/office/drawing/2014/main" id="{BE157FD7-A129-7C41-4957-1A126CDF1C3D}"/>
              </a:ext>
            </a:extLst>
          </p:cNvPr>
          <p:cNvGraphicFramePr>
            <a:graphicFrameLocks noChangeAspect="1"/>
          </p:cNvGraphicFramePr>
          <p:nvPr>
            <p:custDataLst>
              <p:tags r:id="rId2"/>
            </p:custDataLst>
            <p:extLst>
              <p:ext uri="{D42A27DB-BD31-4B8C-83A1-F6EECF244321}">
                <p14:modId xmlns:p14="http://schemas.microsoft.com/office/powerpoint/2010/main" val="1676784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18" name="Object 17" hidden="1">
                        <a:extLst>
                          <a:ext uri="{FF2B5EF4-FFF2-40B4-BE49-F238E27FC236}">
                            <a16:creationId xmlns:a16="http://schemas.microsoft.com/office/drawing/2014/main" id="{BE157FD7-A129-7C41-4957-1A126CDF1C3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19" name="Object 18" hidden="1">
            <a:extLst>
              <a:ext uri="{FF2B5EF4-FFF2-40B4-BE49-F238E27FC236}">
                <a16:creationId xmlns:a16="http://schemas.microsoft.com/office/drawing/2014/main" id="{029D940B-C874-F734-F7D3-578B0B8B6592}"/>
              </a:ext>
            </a:extLst>
          </p:cNvPr>
          <p:cNvGraphicFramePr>
            <a:graphicFrameLocks noChangeAspect="1"/>
          </p:cNvGraphicFramePr>
          <p:nvPr>
            <p:custDataLst>
              <p:tags r:id="rId3"/>
            </p:custDataLst>
            <p:extLst>
              <p:ext uri="{D42A27DB-BD31-4B8C-83A1-F6EECF244321}">
                <p14:modId xmlns:p14="http://schemas.microsoft.com/office/powerpoint/2010/main" val="3241492086"/>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19" name="Object 18" hidden="1">
                        <a:extLst>
                          <a:ext uri="{FF2B5EF4-FFF2-40B4-BE49-F238E27FC236}">
                            <a16:creationId xmlns:a16="http://schemas.microsoft.com/office/drawing/2014/main" id="{029D940B-C874-F734-F7D3-578B0B8B6592}"/>
                          </a:ext>
                        </a:extLst>
                      </p:cNvPr>
                      <p:cNvPicPr/>
                      <p:nvPr/>
                    </p:nvPicPr>
                    <p:blipFill>
                      <a:blip r:embed="rId8"/>
                      <a:stretch>
                        <a:fillRect/>
                      </a:stretch>
                    </p:blipFill>
                    <p:spPr>
                      <a:xfrm>
                        <a:off x="153988" y="153988"/>
                        <a:ext cx="1588" cy="1588"/>
                      </a:xfrm>
                      <a:prstGeom prst="rect">
                        <a:avLst/>
                      </a:prstGeom>
                    </p:spPr>
                  </p:pic>
                </p:oleObj>
              </mc:Fallback>
            </mc:AlternateContent>
          </a:graphicData>
        </a:graphic>
      </p:graphicFrame>
      <p:graphicFrame>
        <p:nvGraphicFramePr>
          <p:cNvPr id="20" name="Object 19" hidden="1">
            <a:extLst>
              <a:ext uri="{FF2B5EF4-FFF2-40B4-BE49-F238E27FC236}">
                <a16:creationId xmlns:a16="http://schemas.microsoft.com/office/drawing/2014/main" id="{7E7C06E7-FE48-A2E3-671E-936DB50AB655}"/>
              </a:ext>
            </a:extLst>
          </p:cNvPr>
          <p:cNvGraphicFramePr>
            <a:graphicFrameLocks noChangeAspect="1"/>
          </p:cNvGraphicFramePr>
          <p:nvPr>
            <p:custDataLst>
              <p:tags r:id="rId4"/>
            </p:custDataLst>
            <p:extLst>
              <p:ext uri="{D42A27DB-BD31-4B8C-83A1-F6EECF244321}">
                <p14:modId xmlns:p14="http://schemas.microsoft.com/office/powerpoint/2010/main" val="2006883382"/>
              </p:ext>
            </p:ext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20" name="Object 19" hidden="1">
                        <a:extLst>
                          <a:ext uri="{FF2B5EF4-FFF2-40B4-BE49-F238E27FC236}">
                            <a16:creationId xmlns:a16="http://schemas.microsoft.com/office/drawing/2014/main" id="{7E7C06E7-FE48-A2E3-671E-936DB50AB655}"/>
                          </a:ext>
                        </a:extLst>
                      </p:cNvPr>
                      <p:cNvPicPr/>
                      <p:nvPr/>
                    </p:nvPicPr>
                    <p:blipFill>
                      <a:blip r:embed="rId8"/>
                      <a:stretch>
                        <a:fillRect/>
                      </a:stretch>
                    </p:blipFill>
                    <p:spPr>
                      <a:xfrm>
                        <a:off x="306388" y="3063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60084099"/>
      </p:ext>
    </p:extLst>
  </p:cSld>
  <p:clrMapOvr>
    <a:masterClrMapping/>
  </p:clrMapOvr>
  <p:extLst>
    <p:ext uri="{DCECCB84-F9BA-43D5-87BE-67443E8EF086}">
      <p15:sldGuideLst xmlns:p15="http://schemas.microsoft.com/office/powerpoint/2012/main">
        <p15:guide id="1" pos="3014">
          <p15:clr>
            <a:srgbClr val="FBAE40"/>
          </p15:clr>
        </p15:guide>
        <p15:guide id="6" orient="horz" pos="922">
          <p15:clr>
            <a:srgbClr val="FBAE40"/>
          </p15:clr>
        </p15:guide>
        <p15:guide id="7" pos="277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P Divider- do not use">
    <p:spTree>
      <p:nvGrpSpPr>
        <p:cNvPr id="1" name=""/>
        <p:cNvGrpSpPr/>
        <p:nvPr/>
      </p:nvGrpSpPr>
      <p:grpSpPr>
        <a:xfrm>
          <a:off x="0" y="0"/>
          <a:ext cx="0" cy="0"/>
          <a:chOff x="0" y="0"/>
          <a:chExt cx="0" cy="0"/>
        </a:xfrm>
      </p:grpSpPr>
      <p:sp>
        <p:nvSpPr>
          <p:cNvPr id="2" name="text" descr="{&quot;templafy&quot;:{&quot;id&quot;:&quot;c783e237-05c1-48b4-aa44-9b64033fc08b&quot;}}" hidden="1" title="Translations.Draft">
            <a:extLst>
              <a:ext uri="{FF2B5EF4-FFF2-40B4-BE49-F238E27FC236}">
                <a16:creationId xmlns:a16="http://schemas.microsoft.com/office/drawing/2014/main" id="{D5CDBBD6-9C69-A9AC-177D-19FB370EBE20}"/>
              </a:ext>
            </a:extLst>
          </p:cNvPr>
          <p:cNvSpPr txBox="1"/>
          <p:nvPr>
            <p:custDataLst>
              <p:tags r:id="rId1"/>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20" name="TemplafyBrandVersion" hidden="1">
            <a:extLst>
              <a:ext uri="{FF2B5EF4-FFF2-40B4-BE49-F238E27FC236}">
                <a16:creationId xmlns:a16="http://schemas.microsoft.com/office/drawing/2014/main" id="{29ACB739-CAF7-51CE-AB51-4CD0235963EB}"/>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pic>
        <p:nvPicPr>
          <p:cNvPr id="81300403" name="Logo" descr="{&quot;templafy&quot;:{&quot;id&quot;:&quot;f9bb42fd-dcf1-4f9d-ad5f-31f27606a244&quot;}}"/>
          <p:cNvPicPr>
            <a:picLocks noChangeAspect="1"/>
          </p:cNvPicPr>
          <p:nvPr/>
        </p:nvPicPr>
        <p:blipFill>
          <a:blip r:embed="rId5"/>
          <a:stretch>
            <a:fillRect/>
          </a:stretch>
        </p:blipFill>
        <p:spPr>
          <a:xfrm>
            <a:off x="12157200" y="7041600"/>
            <a:ext cx="698731" cy="248400"/>
          </a:xfrm>
          <a:prstGeom prst="rect">
            <a:avLst/>
          </a:prstGeom>
        </p:spPr>
      </p:pic>
      <p:graphicFrame>
        <p:nvGraphicFramePr>
          <p:cNvPr id="4" name="Object 3" hidden="1">
            <a:extLst>
              <a:ext uri="{FF2B5EF4-FFF2-40B4-BE49-F238E27FC236}">
                <a16:creationId xmlns:a16="http://schemas.microsoft.com/office/drawing/2014/main" id="{24EB4B9A-7653-1B66-804B-0D057A515C27}"/>
              </a:ext>
            </a:extLst>
          </p:cNvPr>
          <p:cNvGraphicFramePr>
            <a:graphicFrameLocks noChangeAspect="1"/>
          </p:cNvGraphicFramePr>
          <p:nvPr userDrawn="1">
            <p:custDataLst>
              <p:tags r:id="rId2"/>
            </p:custDataLst>
            <p:extLst>
              <p:ext uri="{D42A27DB-BD31-4B8C-83A1-F6EECF244321}">
                <p14:modId xmlns:p14="http://schemas.microsoft.com/office/powerpoint/2010/main" val="2697969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a:extLst>
                          <a:ext uri="{FF2B5EF4-FFF2-40B4-BE49-F238E27FC236}">
                            <a16:creationId xmlns:a16="http://schemas.microsoft.com/office/drawing/2014/main" id="{24EB4B9A-7653-1B66-804B-0D057A515C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7ADC69-5583-8EA5-4AB1-CC3E574B7202}"/>
              </a:ext>
            </a:extLst>
          </p:cNvPr>
          <p:cNvSpPr/>
          <p:nvPr userDrawn="1">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21" name="PXP_GRIDLINES" hidden="1">
            <a:extLst>
              <a:ext uri="{FF2B5EF4-FFF2-40B4-BE49-F238E27FC236}">
                <a16:creationId xmlns:a16="http://schemas.microsoft.com/office/drawing/2014/main" id="{DBF835AB-8335-8363-160A-C0E02C58DFD8}"/>
              </a:ext>
            </a:extLst>
          </p:cNvPr>
          <p:cNvGrpSpPr/>
          <p:nvPr userDrawn="1"/>
        </p:nvGrpSpPr>
        <p:grpSpPr>
          <a:xfrm>
            <a:off x="-1" y="0"/>
            <a:ext cx="13371660" cy="7543800"/>
            <a:chOff x="-20924" y="0"/>
            <a:chExt cx="10058400" cy="7543800"/>
          </a:xfrm>
        </p:grpSpPr>
        <p:cxnSp>
          <p:nvCxnSpPr>
            <p:cNvPr id="22" name="Straight Connector 21">
              <a:extLst>
                <a:ext uri="{FF2B5EF4-FFF2-40B4-BE49-F238E27FC236}">
                  <a16:creationId xmlns:a16="http://schemas.microsoft.com/office/drawing/2014/main" id="{53898C3C-5C3F-75E4-5D1B-A2DF5BB46001}"/>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3AC2972-A2FE-92FD-4FE3-8708A5B3BA28}"/>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6E0AE4C-9760-8297-1E87-3F75C291AEE0}"/>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8C65828-2B95-3BB3-D8B6-5F1169A52B97}"/>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E35B700-BD35-9728-AD43-C08A576818E5}"/>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5492F42-A6A8-E2F0-A240-CE21C41C2D17}"/>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8" name="SP Agenda Subsection" hidden="1">
            <a:extLst>
              <a:ext uri="{FF2B5EF4-FFF2-40B4-BE49-F238E27FC236}">
                <a16:creationId xmlns:a16="http://schemas.microsoft.com/office/drawing/2014/main" id="{5B767CB1-98FD-0084-D15F-0EA0752C2EC5}"/>
              </a:ext>
            </a:extLst>
          </p:cNvPr>
          <p:cNvGrpSpPr/>
          <p:nvPr userDrawn="1"/>
        </p:nvGrpSpPr>
        <p:grpSpPr>
          <a:xfrm>
            <a:off x="583200" y="2376000"/>
            <a:ext cx="10706400" cy="1594800"/>
            <a:chOff x="547200" y="2376000"/>
            <a:chExt cx="7873025" cy="1594800"/>
          </a:xfrm>
        </p:grpSpPr>
        <p:sp>
          <p:nvSpPr>
            <p:cNvPr id="30" name="Textbox" descr="{&quot;templafy&quot;:{&quot;id&quot;:&quot;78e7f47e-96aa-49c5-8134-6c96ae39c7c3&quot;}}" hidden="1" title="Translations.SectionN">
              <a:extLst>
                <a:ext uri="{FF2B5EF4-FFF2-40B4-BE49-F238E27FC236}">
                  <a16:creationId xmlns:a16="http://schemas.microsoft.com/office/drawing/2014/main" id="{1C8ABA58-B9CF-ACA3-91C2-18E9B7755268}"/>
                </a:ext>
              </a:extLst>
            </p:cNvPr>
            <p:cNvSpPr txBox="1">
              <a:spLocks/>
            </p:cNvSpPr>
            <p:nvPr/>
          </p:nvSpPr>
          <p:spPr>
            <a:xfrm>
              <a:off x="883405" y="2376000"/>
              <a:ext cx="2162832" cy="216000"/>
            </a:xfrm>
            <a:prstGeom prst="rect">
              <a:avLst/>
            </a:prstGeom>
            <a:noFill/>
          </p:spPr>
          <p:txBody>
            <a:bodyPr wrap="none" lIns="0" rIns="0"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en-US" sz="1400" b="0" kern="0" baseline="0">
                  <a:solidFill>
                    <a:srgbClr val="000000"/>
                  </a:solidFill>
                  <a:latin typeface="+mn-lt"/>
                  <a:ea typeface="+mn-ea"/>
                  <a:cs typeface="+mn-cs"/>
                </a:rPr>
                <a:t>Section &lt;N&gt;</a:t>
              </a:r>
              <a:endParaRPr lang="en-US"/>
            </a:p>
          </p:txBody>
        </p:sp>
        <p:sp>
          <p:nvSpPr>
            <p:cNvPr id="29" name="SubsectionTextTitle" hidden="1">
              <a:extLst>
                <a:ext uri="{FF2B5EF4-FFF2-40B4-BE49-F238E27FC236}">
                  <a16:creationId xmlns:a16="http://schemas.microsoft.com/office/drawing/2014/main" id="{54DC7440-369F-046F-D938-A3C97D9C382F}"/>
                </a:ext>
              </a:extLst>
            </p:cNvPr>
            <p:cNvSpPr txBox="1">
              <a:spLocks/>
            </p:cNvSpPr>
            <p:nvPr/>
          </p:nvSpPr>
          <p:spPr>
            <a:xfrm>
              <a:off x="547200" y="2944800"/>
              <a:ext cx="7777723" cy="1026000"/>
            </a:xfrm>
            <a:custGeom>
              <a:avLst/>
              <a:gdLst>
                <a:gd name="connsiteX0" fmla="*/ 0 w 7405200"/>
                <a:gd name="connsiteY0" fmla="*/ 0 h 1220400"/>
                <a:gd name="connsiteX1" fmla="*/ 7405200 w 7405200"/>
                <a:gd name="connsiteY1" fmla="*/ 0 h 1220400"/>
                <a:gd name="connsiteX2" fmla="*/ 7405200 w 7405200"/>
                <a:gd name="connsiteY2" fmla="*/ 1220400 h 1220400"/>
                <a:gd name="connsiteX3" fmla="*/ 0 w 7405200"/>
                <a:gd name="connsiteY3" fmla="*/ 1220400 h 1220400"/>
                <a:gd name="connsiteX4" fmla="*/ 0 w 7405200"/>
                <a:gd name="connsiteY4" fmla="*/ 0 h 1220400"/>
                <a:gd name="connsiteX0" fmla="*/ 0 w 7405200"/>
                <a:gd name="connsiteY0" fmla="*/ 0 h 1220400"/>
                <a:gd name="connsiteX1" fmla="*/ 7405200 w 7405200"/>
                <a:gd name="connsiteY1" fmla="*/ 0 h 1220400"/>
                <a:gd name="connsiteX2" fmla="*/ 0 w 7405200"/>
                <a:gd name="connsiteY2" fmla="*/ 1220400 h 1220400"/>
                <a:gd name="connsiteX3" fmla="*/ 0 w 7405200"/>
                <a:gd name="connsiteY3" fmla="*/ 0 h 1220400"/>
                <a:gd name="connsiteX0" fmla="*/ 0 w 0"/>
                <a:gd name="connsiteY0" fmla="*/ 0 h 1220400"/>
                <a:gd name="connsiteX1" fmla="*/ 0 w 0"/>
                <a:gd name="connsiteY1" fmla="*/ 1220400 h 1220400"/>
                <a:gd name="connsiteX2" fmla="*/ 0 w 0"/>
                <a:gd name="connsiteY2" fmla="*/ 0 h 1220400"/>
              </a:gdLst>
              <a:ahLst/>
              <a:cxnLst>
                <a:cxn ang="0">
                  <a:pos x="connsiteX0" y="connsiteY0"/>
                </a:cxn>
                <a:cxn ang="0">
                  <a:pos x="connsiteX1" y="connsiteY1"/>
                </a:cxn>
                <a:cxn ang="0">
                  <a:pos x="connsiteX2" y="connsiteY2"/>
                </a:cxn>
              </a:cxnLst>
              <a:rect l="l" t="t" r="r" b="b"/>
              <a:pathLst>
                <a:path h="1220400">
                  <a:moveTo>
                    <a:pt x="0" y="0"/>
                  </a:moveTo>
                  <a:lnTo>
                    <a:pt x="0" y="1220400"/>
                  </a:lnTo>
                  <a:lnTo>
                    <a:pt x="0" y="0"/>
                  </a:lnTo>
                  <a:close/>
                </a:path>
              </a:pathLst>
            </a:custGeom>
            <a:noFill/>
            <a:ln w="76200" cap="sq">
              <a:solidFill>
                <a:schemeClr val="tx2"/>
              </a:solidFill>
              <a:miter lim="800000"/>
            </a:ln>
            <a:extLst>
              <a:ext uri="{909E8E84-426E-40DD-AFC4-6F175D3DCCD1}">
                <a14:hiddenFill xmlns:a14="http://schemas.microsoft.com/office/drawing/2010/main">
                  <a:solidFill>
                    <a:schemeClr val="bg2">
                      <a:lumMod val="100000"/>
                    </a:schemeClr>
                  </a:solidFill>
                </a14:hiddenFill>
              </a:ext>
            </a:extLst>
          </p:spPr>
          <p:txBody>
            <a:bodyPr wrap="square" lIns="410400" tIns="0" rIns="0" bIns="0" rtlCol="0" anchor="t" anchorCtr="0">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defTabSz="7701375">
                <a:lnSpc>
                  <a:spcPct val="86000"/>
                </a:lnSpc>
                <a:tabLst>
                  <a:tab pos="7848067" algn="l"/>
                </a:tabLst>
              </a:pPr>
              <a:r>
                <a:rPr lang="en-US" altLang="zh-CN" sz="4400" b="0" kern="0" baseline="0">
                  <a:solidFill>
                    <a:schemeClr val="tx1"/>
                  </a:solidFill>
                  <a:latin typeface="+mn-lt"/>
                  <a:ea typeface="+mj-ea"/>
                  <a:cs typeface="+mn-cs"/>
                </a:rPr>
                <a:t>&lt;TEXT&gt;</a:t>
              </a:r>
              <a:endParaRPr lang="en-US" altLang="en-US" sz="4400" b="0" kern="0" baseline="0">
                <a:solidFill>
                  <a:schemeClr val="tx1"/>
                </a:solidFill>
                <a:latin typeface="+mn-lt"/>
                <a:ea typeface="+mj-ea"/>
                <a:cs typeface="+mn-cs"/>
              </a:endParaRPr>
            </a:p>
          </p:txBody>
        </p:sp>
        <p:sp>
          <p:nvSpPr>
            <p:cNvPr id="33" name="Textbox" hidden="1">
              <a:extLst>
                <a:ext uri="{FF2B5EF4-FFF2-40B4-BE49-F238E27FC236}">
                  <a16:creationId xmlns:a16="http://schemas.microsoft.com/office/drawing/2014/main" id="{B8372C62-D8E1-454A-3D52-A98D86E653DF}"/>
                </a:ext>
              </a:extLst>
            </p:cNvPr>
            <p:cNvSpPr txBox="1">
              <a:spLocks/>
            </p:cNvSpPr>
            <p:nvPr/>
          </p:nvSpPr>
          <p:spPr>
            <a:xfrm>
              <a:off x="4499596" y="2944800"/>
              <a:ext cx="1283933" cy="406269"/>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zh-CN" sz="1600" b="0" kern="0" baseline="0">
                  <a:solidFill>
                    <a:srgbClr val="000000">
                      <a:alpha val="0"/>
                    </a:srgbClr>
                  </a:solidFill>
                  <a:latin typeface="+mn-lt"/>
                  <a:ea typeface="+mn-ea"/>
                  <a:cs typeface="+mn-cs"/>
                </a:rPr>
                <a:t>&lt;RESPONSIBLE&gt;</a:t>
              </a:r>
              <a:endParaRPr lang="en-US" altLang="en-US" sz="1600" b="0" kern="0" baseline="0">
                <a:solidFill>
                  <a:srgbClr val="000000">
                    <a:alpha val="0"/>
                  </a:srgbClr>
                </a:solidFill>
                <a:latin typeface="+mn-lt"/>
                <a:ea typeface="+mn-ea"/>
                <a:cs typeface="+mn-cs"/>
              </a:endParaRPr>
            </a:p>
          </p:txBody>
        </p:sp>
        <p:sp>
          <p:nvSpPr>
            <p:cNvPr id="32" name="Textbox" hidden="1">
              <a:extLst>
                <a:ext uri="{FF2B5EF4-FFF2-40B4-BE49-F238E27FC236}">
                  <a16:creationId xmlns:a16="http://schemas.microsoft.com/office/drawing/2014/main" id="{64BD7C32-2D54-4974-C575-DCC57A375CFE}"/>
                </a:ext>
              </a:extLst>
            </p:cNvPr>
            <p:cNvSpPr txBox="1">
              <a:spLocks/>
            </p:cNvSpPr>
            <p:nvPr/>
          </p:nvSpPr>
          <p:spPr>
            <a:xfrm>
              <a:off x="5873537" y="2944800"/>
              <a:ext cx="1162158" cy="406269"/>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a:solidFill>
                    <a:srgbClr val="000000">
                      <a:alpha val="0"/>
                    </a:srgbClr>
                  </a:solidFill>
                  <a:latin typeface="+mn-lt"/>
                  <a:ea typeface="+mn-ea"/>
                  <a:cs typeface="+mn-cs"/>
                </a:rPr>
                <a:t>&lt;TIMESLOT&gt;</a:t>
              </a:r>
              <a:endParaRPr lang="en-US" altLang="en-US" sz="1600" b="0" kern="0" baseline="0">
                <a:solidFill>
                  <a:srgbClr val="000000">
                    <a:alpha val="0"/>
                  </a:srgbClr>
                </a:solidFill>
                <a:latin typeface="+mn-lt"/>
                <a:ea typeface="+mn-ea"/>
                <a:cs typeface="+mn-cs"/>
              </a:endParaRPr>
            </a:p>
          </p:txBody>
        </p:sp>
        <p:sp>
          <p:nvSpPr>
            <p:cNvPr id="34" name="Textbox" hidden="1">
              <a:extLst>
                <a:ext uri="{FF2B5EF4-FFF2-40B4-BE49-F238E27FC236}">
                  <a16:creationId xmlns:a16="http://schemas.microsoft.com/office/drawing/2014/main" id="{80DBF193-209D-AB10-7638-6E82F3A11FB7}"/>
                </a:ext>
              </a:extLst>
            </p:cNvPr>
            <p:cNvSpPr txBox="1">
              <a:spLocks/>
            </p:cNvSpPr>
            <p:nvPr/>
          </p:nvSpPr>
          <p:spPr>
            <a:xfrm>
              <a:off x="7117761" y="2944800"/>
              <a:ext cx="632701" cy="406269"/>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a:solidFill>
                    <a:srgbClr val="000000">
                      <a:alpha val="0"/>
                    </a:srgbClr>
                  </a:solidFill>
                  <a:latin typeface="+mn-lt"/>
                  <a:ea typeface="+mn-ea"/>
                  <a:cs typeface="+mn-cs"/>
                </a:rPr>
                <a:t>&lt;DURATION&gt;</a:t>
              </a:r>
              <a:endParaRPr lang="en-US" altLang="en-US" sz="1600" b="0" kern="0" baseline="0">
                <a:solidFill>
                  <a:srgbClr val="000000">
                    <a:alpha val="0"/>
                  </a:srgbClr>
                </a:solidFill>
                <a:latin typeface="+mn-lt"/>
                <a:ea typeface="+mn-ea"/>
                <a:cs typeface="+mn-cs"/>
              </a:endParaRPr>
            </a:p>
          </p:txBody>
        </p:sp>
        <p:sp>
          <p:nvSpPr>
            <p:cNvPr id="31" name="Textbox" hidden="1">
              <a:extLst>
                <a:ext uri="{FF2B5EF4-FFF2-40B4-BE49-F238E27FC236}">
                  <a16:creationId xmlns:a16="http://schemas.microsoft.com/office/drawing/2014/main" id="{5569EABB-E2B2-5703-1D50-EE02DDBA0902}"/>
                </a:ext>
              </a:extLst>
            </p:cNvPr>
            <p:cNvSpPr txBox="1">
              <a:spLocks/>
            </p:cNvSpPr>
            <p:nvPr/>
          </p:nvSpPr>
          <p:spPr>
            <a:xfrm>
              <a:off x="7832528" y="2944800"/>
              <a:ext cx="587697" cy="406269"/>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r" rtl="0" eaLnBrk="0" fontAlgn="base" hangingPunct="0">
                <a:spcBef>
                  <a:spcPct val="50000"/>
                </a:spcBef>
                <a:spcAft>
                  <a:spcPct val="0"/>
                </a:spcAft>
              </a:pPr>
              <a:r>
                <a:rPr lang="en-US" altLang="zh-CN" sz="1600" b="0" kern="0" baseline="0">
                  <a:solidFill>
                    <a:srgbClr val="000000">
                      <a:alpha val="0"/>
                    </a:srgbClr>
                  </a:solidFill>
                  <a:latin typeface="+mn-lt"/>
                  <a:ea typeface="+mn-ea"/>
                  <a:cs typeface="+mn-cs"/>
                </a:rPr>
                <a:t>&lt;P&gt;</a:t>
              </a:r>
              <a:endParaRPr lang="en-US" altLang="en-US" sz="1600" b="0" kern="0" baseline="0">
                <a:solidFill>
                  <a:srgbClr val="000000">
                    <a:alpha val="0"/>
                  </a:srgbClr>
                </a:solidFill>
                <a:latin typeface="+mn-lt"/>
                <a:ea typeface="+mn-ea"/>
                <a:cs typeface="+mn-cs"/>
              </a:endParaRPr>
            </a:p>
          </p:txBody>
        </p:sp>
      </p:grpSp>
      <p:grpSp>
        <p:nvGrpSpPr>
          <p:cNvPr id="35" name="SP Agenda Section" hidden="1">
            <a:extLst>
              <a:ext uri="{FF2B5EF4-FFF2-40B4-BE49-F238E27FC236}">
                <a16:creationId xmlns:a16="http://schemas.microsoft.com/office/drawing/2014/main" id="{520805BE-7833-376E-990C-5B1AB918394D}"/>
              </a:ext>
            </a:extLst>
          </p:cNvPr>
          <p:cNvGrpSpPr/>
          <p:nvPr userDrawn="1"/>
        </p:nvGrpSpPr>
        <p:grpSpPr>
          <a:xfrm>
            <a:off x="583200" y="2376000"/>
            <a:ext cx="10706400" cy="1594799"/>
            <a:chOff x="547200" y="2376000"/>
            <a:chExt cx="7498192" cy="1594799"/>
          </a:xfrm>
        </p:grpSpPr>
        <p:sp>
          <p:nvSpPr>
            <p:cNvPr id="37" name="Textbox" descr="{&quot;templafy&quot;:{&quot;id&quot;:&quot;2eba91ea-fd3e-4a10-8cdf-c1fb393de127&quot;}}" hidden="1" title="Translations.SectionN">
              <a:extLst>
                <a:ext uri="{FF2B5EF4-FFF2-40B4-BE49-F238E27FC236}">
                  <a16:creationId xmlns:a16="http://schemas.microsoft.com/office/drawing/2014/main" id="{CB55B58C-436A-E7DB-D6C3-99BAEE9635C8}"/>
                </a:ext>
              </a:extLst>
            </p:cNvPr>
            <p:cNvSpPr txBox="1">
              <a:spLocks/>
            </p:cNvSpPr>
            <p:nvPr/>
          </p:nvSpPr>
          <p:spPr>
            <a:xfrm>
              <a:off x="867399" y="2376000"/>
              <a:ext cx="2059200" cy="216000"/>
            </a:xfrm>
            <a:prstGeom prst="rect">
              <a:avLst/>
            </a:prstGeom>
            <a:noFill/>
          </p:spPr>
          <p:txBody>
            <a:bodyPr wrap="none" lIns="0" rIns="0"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en-US" sz="1400" b="0" kern="0" baseline="0">
                  <a:solidFill>
                    <a:srgbClr val="000000"/>
                  </a:solidFill>
                  <a:latin typeface="+mn-lt"/>
                  <a:ea typeface="+mn-ea"/>
                  <a:cs typeface="+mn-cs"/>
                </a:rPr>
                <a:t>Section &lt;N&gt;</a:t>
              </a:r>
              <a:endParaRPr lang="en-US"/>
            </a:p>
          </p:txBody>
        </p:sp>
        <p:sp>
          <p:nvSpPr>
            <p:cNvPr id="36" name="SectionTextTitle" hidden="1">
              <a:extLst>
                <a:ext uri="{FF2B5EF4-FFF2-40B4-BE49-F238E27FC236}">
                  <a16:creationId xmlns:a16="http://schemas.microsoft.com/office/drawing/2014/main" id="{C942779F-09B1-31D1-79CA-DE2114CACA8E}"/>
                </a:ext>
              </a:extLst>
            </p:cNvPr>
            <p:cNvSpPr txBox="1">
              <a:spLocks/>
            </p:cNvSpPr>
            <p:nvPr/>
          </p:nvSpPr>
          <p:spPr>
            <a:xfrm>
              <a:off x="547200" y="2944799"/>
              <a:ext cx="7407427" cy="1026000"/>
            </a:xfrm>
            <a:custGeom>
              <a:avLst/>
              <a:gdLst>
                <a:gd name="connsiteX0" fmla="*/ 0 w 7614906"/>
                <a:gd name="connsiteY0" fmla="*/ 0 h 885005"/>
                <a:gd name="connsiteX1" fmla="*/ 7614906 w 7614906"/>
                <a:gd name="connsiteY1" fmla="*/ 0 h 885005"/>
                <a:gd name="connsiteX2" fmla="*/ 7614906 w 7614906"/>
                <a:gd name="connsiteY2" fmla="*/ 885005 h 885005"/>
                <a:gd name="connsiteX3" fmla="*/ 0 w 7614906"/>
                <a:gd name="connsiteY3" fmla="*/ 885005 h 885005"/>
                <a:gd name="connsiteX4" fmla="*/ 0 w 7614906"/>
                <a:gd name="connsiteY4" fmla="*/ 0 h 885005"/>
                <a:gd name="connsiteX0" fmla="*/ 0 w 7614906"/>
                <a:gd name="connsiteY0" fmla="*/ 0 h 885005"/>
                <a:gd name="connsiteX1" fmla="*/ 7614906 w 7614906"/>
                <a:gd name="connsiteY1" fmla="*/ 885005 h 885005"/>
                <a:gd name="connsiteX2" fmla="*/ 0 w 7614906"/>
                <a:gd name="connsiteY2" fmla="*/ 885005 h 885005"/>
                <a:gd name="connsiteX3" fmla="*/ 0 w 7614906"/>
                <a:gd name="connsiteY3" fmla="*/ 0 h 885005"/>
                <a:gd name="connsiteX0" fmla="*/ 0 w 0"/>
                <a:gd name="connsiteY0" fmla="*/ 0 h 885005"/>
                <a:gd name="connsiteX1" fmla="*/ 0 w 0"/>
                <a:gd name="connsiteY1" fmla="*/ 885005 h 885005"/>
                <a:gd name="connsiteX2" fmla="*/ 0 w 0"/>
                <a:gd name="connsiteY2" fmla="*/ 0 h 885005"/>
              </a:gdLst>
              <a:ahLst/>
              <a:cxnLst>
                <a:cxn ang="0">
                  <a:pos x="connsiteX0" y="connsiteY0"/>
                </a:cxn>
                <a:cxn ang="0">
                  <a:pos x="connsiteX1" y="connsiteY1"/>
                </a:cxn>
                <a:cxn ang="0">
                  <a:pos x="connsiteX2" y="connsiteY2"/>
                </a:cxn>
              </a:cxnLst>
              <a:rect l="l" t="t" r="r" b="b"/>
              <a:pathLst>
                <a:path h="885005">
                  <a:moveTo>
                    <a:pt x="0" y="0"/>
                  </a:moveTo>
                  <a:lnTo>
                    <a:pt x="0" y="885005"/>
                  </a:lnTo>
                  <a:lnTo>
                    <a:pt x="0" y="0"/>
                  </a:lnTo>
                  <a:close/>
                </a:path>
              </a:pathLst>
            </a:custGeom>
            <a:noFill/>
            <a:ln w="76200" cap="sq">
              <a:solidFill>
                <a:schemeClr val="tx2"/>
              </a:solidFill>
              <a:miter lim="800000"/>
            </a:ln>
            <a:extLst>
              <a:ext uri="{909E8E84-426E-40DD-AFC4-6F175D3DCCD1}">
                <a14:hiddenFill xmlns:a14="http://schemas.microsoft.com/office/drawing/2010/main">
                  <a:solidFill>
                    <a:schemeClr val="bg2">
                      <a:lumMod val="100000"/>
                    </a:schemeClr>
                  </a:solidFill>
                </a14:hiddenFill>
              </a:ext>
            </a:extLst>
          </p:spPr>
          <p:txBody>
            <a:bodyPr wrap="square" lIns="410400" tIns="0" rIns="0" bIns="0" rtlCol="0" anchor="t" anchorCtr="0">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defTabSz="7701375">
                <a:lnSpc>
                  <a:spcPct val="86000"/>
                </a:lnSpc>
                <a:tabLst>
                  <a:tab pos="7848067" algn="l"/>
                </a:tabLst>
              </a:pPr>
              <a:r>
                <a:rPr lang="en-US" altLang="zh-CN" sz="4400" b="0" kern="0" baseline="0">
                  <a:solidFill>
                    <a:schemeClr val="tx1"/>
                  </a:solidFill>
                  <a:latin typeface="+mn-lt"/>
                  <a:ea typeface="+mj-ea"/>
                  <a:cs typeface="+mn-cs"/>
                </a:rPr>
                <a:t>&lt;TEXT&gt;</a:t>
              </a:r>
              <a:endParaRPr lang="en-US" altLang="en-US" sz="4400" b="0" kern="0" baseline="0">
                <a:solidFill>
                  <a:schemeClr val="tx1"/>
                </a:solidFill>
                <a:latin typeface="+mn-lt"/>
                <a:ea typeface="+mj-ea"/>
                <a:cs typeface="+mn-cs"/>
              </a:endParaRPr>
            </a:p>
          </p:txBody>
        </p:sp>
        <p:sp>
          <p:nvSpPr>
            <p:cNvPr id="40" name="Textbox" hidden="1">
              <a:extLst>
                <a:ext uri="{FF2B5EF4-FFF2-40B4-BE49-F238E27FC236}">
                  <a16:creationId xmlns:a16="http://schemas.microsoft.com/office/drawing/2014/main" id="{9F357FE0-A6A1-E249-F390-A63EDDCDCDD7}"/>
                </a:ext>
              </a:extLst>
            </p:cNvPr>
            <p:cNvSpPr txBox="1">
              <a:spLocks/>
            </p:cNvSpPr>
            <p:nvPr/>
          </p:nvSpPr>
          <p:spPr>
            <a:xfrm>
              <a:off x="4311423" y="2943808"/>
              <a:ext cx="1222805" cy="406269"/>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zh-CN" sz="1600" b="0" kern="0" baseline="0">
                  <a:solidFill>
                    <a:srgbClr val="000000">
                      <a:alpha val="0"/>
                    </a:srgbClr>
                  </a:solidFill>
                  <a:latin typeface="+mn-lt"/>
                  <a:ea typeface="+mn-ea"/>
                  <a:cs typeface="+mn-cs"/>
                </a:rPr>
                <a:t>&lt;RESPONSIBLE&gt;</a:t>
              </a:r>
              <a:endParaRPr lang="en-US" altLang="en-US" sz="1600" b="0" kern="0" baseline="0">
                <a:solidFill>
                  <a:srgbClr val="000000">
                    <a:alpha val="0"/>
                  </a:srgbClr>
                </a:solidFill>
                <a:latin typeface="+mn-lt"/>
                <a:ea typeface="+mn-ea"/>
                <a:cs typeface="+mn-cs"/>
              </a:endParaRPr>
            </a:p>
          </p:txBody>
        </p:sp>
        <p:sp>
          <p:nvSpPr>
            <p:cNvPr id="39" name="Textbox" hidden="1">
              <a:extLst>
                <a:ext uri="{FF2B5EF4-FFF2-40B4-BE49-F238E27FC236}">
                  <a16:creationId xmlns:a16="http://schemas.microsoft.com/office/drawing/2014/main" id="{F2ED1C2F-6D3E-665B-CEB5-F4682791C063}"/>
                </a:ext>
              </a:extLst>
            </p:cNvPr>
            <p:cNvSpPr txBox="1">
              <a:spLocks/>
            </p:cNvSpPr>
            <p:nvPr/>
          </p:nvSpPr>
          <p:spPr>
            <a:xfrm>
              <a:off x="5619951" y="2943808"/>
              <a:ext cx="1106009" cy="406269"/>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a:solidFill>
                    <a:srgbClr val="000000">
                      <a:alpha val="0"/>
                    </a:srgbClr>
                  </a:solidFill>
                  <a:latin typeface="+mn-lt"/>
                  <a:ea typeface="+mn-ea"/>
                  <a:cs typeface="+mn-cs"/>
                </a:rPr>
                <a:t>&lt;TIMESLOT&gt;</a:t>
              </a:r>
              <a:endParaRPr lang="en-US" altLang="en-US" sz="1600" b="0" kern="0" baseline="0">
                <a:solidFill>
                  <a:srgbClr val="000000">
                    <a:alpha val="0"/>
                  </a:srgbClr>
                </a:solidFill>
                <a:latin typeface="+mn-lt"/>
                <a:ea typeface="+mn-ea"/>
                <a:cs typeface="+mn-cs"/>
              </a:endParaRPr>
            </a:p>
          </p:txBody>
        </p:sp>
        <p:sp>
          <p:nvSpPr>
            <p:cNvPr id="41" name="Textbox" hidden="1">
              <a:extLst>
                <a:ext uri="{FF2B5EF4-FFF2-40B4-BE49-F238E27FC236}">
                  <a16:creationId xmlns:a16="http://schemas.microsoft.com/office/drawing/2014/main" id="{55710C18-EFE8-6716-4CF5-ACC3CD6573DE}"/>
                </a:ext>
              </a:extLst>
            </p:cNvPr>
            <p:cNvSpPr txBox="1">
              <a:spLocks/>
            </p:cNvSpPr>
            <p:nvPr/>
          </p:nvSpPr>
          <p:spPr>
            <a:xfrm>
              <a:off x="6804938" y="2943808"/>
              <a:ext cx="602445" cy="406269"/>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a:solidFill>
                    <a:srgbClr val="000000">
                      <a:alpha val="0"/>
                    </a:srgbClr>
                  </a:solidFill>
                  <a:latin typeface="+mn-lt"/>
                  <a:ea typeface="+mn-ea"/>
                  <a:cs typeface="+mn-cs"/>
                </a:rPr>
                <a:t>&lt;DURATION&gt;</a:t>
              </a:r>
              <a:endParaRPr lang="en-US" altLang="en-US" sz="1600" b="0" kern="0" baseline="0">
                <a:solidFill>
                  <a:srgbClr val="000000">
                    <a:alpha val="0"/>
                  </a:srgbClr>
                </a:solidFill>
                <a:latin typeface="+mn-lt"/>
                <a:ea typeface="+mn-ea"/>
                <a:cs typeface="+mn-cs"/>
              </a:endParaRPr>
            </a:p>
          </p:txBody>
        </p:sp>
        <p:sp>
          <p:nvSpPr>
            <p:cNvPr id="38" name="Textbox" hidden="1">
              <a:extLst>
                <a:ext uri="{FF2B5EF4-FFF2-40B4-BE49-F238E27FC236}">
                  <a16:creationId xmlns:a16="http://schemas.microsoft.com/office/drawing/2014/main" id="{E1BBC349-7FDC-CABE-EB74-11569CA25E36}"/>
                </a:ext>
              </a:extLst>
            </p:cNvPr>
            <p:cNvSpPr txBox="1">
              <a:spLocks/>
            </p:cNvSpPr>
            <p:nvPr/>
          </p:nvSpPr>
          <p:spPr>
            <a:xfrm>
              <a:off x="7484941" y="2943808"/>
              <a:ext cx="560451" cy="406269"/>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r" rtl="0" eaLnBrk="0" fontAlgn="base" hangingPunct="0">
                <a:spcBef>
                  <a:spcPct val="50000"/>
                </a:spcBef>
                <a:spcAft>
                  <a:spcPct val="0"/>
                </a:spcAft>
              </a:pPr>
              <a:r>
                <a:rPr lang="en-US" altLang="zh-CN" sz="1600" b="0" kern="0" baseline="0">
                  <a:solidFill>
                    <a:srgbClr val="000000">
                      <a:alpha val="0"/>
                    </a:srgbClr>
                  </a:solidFill>
                  <a:latin typeface="+mn-lt"/>
                  <a:ea typeface="+mn-ea"/>
                  <a:cs typeface="+mn-cs"/>
                </a:rPr>
                <a:t>&lt;P&gt;</a:t>
              </a:r>
              <a:endParaRPr lang="en-US" altLang="en-US" sz="1600" b="0" kern="0" baseline="0">
                <a:solidFill>
                  <a:srgbClr val="000000">
                    <a:alpha val="0"/>
                  </a:srgbClr>
                </a:solidFill>
                <a:latin typeface="+mn-lt"/>
                <a:ea typeface="+mn-ea"/>
                <a:cs typeface="+mn-cs"/>
              </a:endParaRPr>
            </a:p>
          </p:txBody>
        </p:sp>
      </p:grpSp>
    </p:spTree>
    <p:extLst>
      <p:ext uri="{BB962C8B-B14F-4D97-AF65-F5344CB8AC3E}">
        <p14:creationId xmlns:p14="http://schemas.microsoft.com/office/powerpoint/2010/main" val="3918697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age">
    <p:spTree>
      <p:nvGrpSpPr>
        <p:cNvPr id="1" name=""/>
        <p:cNvGrpSpPr/>
        <p:nvPr/>
      </p:nvGrpSpPr>
      <p:grpSpPr>
        <a:xfrm>
          <a:off x="0" y="0"/>
          <a:ext cx="0" cy="0"/>
          <a:chOff x="0" y="0"/>
          <a:chExt cx="0" cy="0"/>
        </a:xfrm>
      </p:grpSpPr>
      <p:sp>
        <p:nvSpPr>
          <p:cNvPr id="3" name="Classification Tag" descr="{&quot;templafy&quot;:{&quot;id&quot;:&quot;0be46523-7205-43b3-9a21-ba8cb3ad97d1&quot;}}">
            <a:extLst>
              <a:ext uri="{FF2B5EF4-FFF2-40B4-BE49-F238E27FC236}">
                <a16:creationId xmlns:a16="http://schemas.microsoft.com/office/drawing/2014/main" id="{B28DED0D-947D-3613-52D8-EDC161523393}"/>
              </a:ext>
            </a:extLst>
          </p:cNvPr>
          <p:cNvSpPr txBox="1"/>
          <p:nvPr userDrawn="1">
            <p:custDataLst>
              <p:tags r:id="rId1"/>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5" name="text" descr="{&quot;templafy&quot;:{&quot;id&quot;:&quot;b1d8c317-7288-4e57-a95d-a4438972ce49&quot;}}" hidden="1" title="Translations.Draft">
            <a:extLst>
              <a:ext uri="{FF2B5EF4-FFF2-40B4-BE49-F238E27FC236}">
                <a16:creationId xmlns:a16="http://schemas.microsoft.com/office/drawing/2014/main" id="{C265FA5C-8F7E-6EF2-609F-0E41C1E2E816}"/>
              </a:ext>
            </a:extLst>
          </p:cNvPr>
          <p:cNvSpPr txBox="1"/>
          <p:nvPr>
            <p:custDataLst>
              <p:tags r:id="rId2"/>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9" name="TemplafyBrandVersion" hidden="1">
            <a:extLst>
              <a:ext uri="{FF2B5EF4-FFF2-40B4-BE49-F238E27FC236}">
                <a16:creationId xmlns:a16="http://schemas.microsoft.com/office/drawing/2014/main" id="{C5ED5EA2-D7D1-B29F-1DAE-E40C02EE70D0}"/>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pic>
        <p:nvPicPr>
          <p:cNvPr id="724945623" name="Logo" descr="{&quot;templafy&quot;:{&quot;id&quot;:&quot;5f6bc046-b5ef-44e1-be82-e72143465eca&quot;}}"/>
          <p:cNvPicPr>
            <a:picLocks noChangeAspect="1"/>
          </p:cNvPicPr>
          <p:nvPr/>
        </p:nvPicPr>
        <p:blipFill>
          <a:blip r:embed="rId6"/>
          <a:stretch>
            <a:fillRect/>
          </a:stretch>
        </p:blipFill>
        <p:spPr>
          <a:xfrm>
            <a:off x="12157200" y="7041600"/>
            <a:ext cx="698731" cy="248400"/>
          </a:xfrm>
          <a:prstGeom prst="rect">
            <a:avLst/>
          </a:prstGeom>
        </p:spPr>
      </p:pic>
      <p:graphicFrame>
        <p:nvGraphicFramePr>
          <p:cNvPr id="6" name="Object 5" hidden="1">
            <a:extLst>
              <a:ext uri="{FF2B5EF4-FFF2-40B4-BE49-F238E27FC236}">
                <a16:creationId xmlns:a16="http://schemas.microsoft.com/office/drawing/2014/main" id="{05230F0A-2162-6179-DB2F-CA7179A61DC2}"/>
              </a:ext>
            </a:extLst>
          </p:cNvPr>
          <p:cNvGraphicFramePr>
            <a:graphicFrameLocks noChangeAspect="1"/>
          </p:cNvGraphicFramePr>
          <p:nvPr userDrawn="1">
            <p:custDataLst>
              <p:tags r:id="rId3"/>
            </p:custDataLst>
            <p:extLst>
              <p:ext uri="{D42A27DB-BD31-4B8C-83A1-F6EECF244321}">
                <p14:modId xmlns:p14="http://schemas.microsoft.com/office/powerpoint/2010/main" val="4100083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6" name="Object 5" hidden="1">
                        <a:extLst>
                          <a:ext uri="{FF2B5EF4-FFF2-40B4-BE49-F238E27FC236}">
                            <a16:creationId xmlns:a16="http://schemas.microsoft.com/office/drawing/2014/main" id="{05230F0A-2162-6179-DB2F-CA7179A61DC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D2FACAC-1042-B61F-40A5-1806E7F852B1}"/>
              </a:ext>
            </a:extLst>
          </p:cNvPr>
          <p:cNvSpPr/>
          <p:nvPr userDrawn="1">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0" name="PXP_GRIDLINES" hidden="1">
            <a:extLst>
              <a:ext uri="{FF2B5EF4-FFF2-40B4-BE49-F238E27FC236}">
                <a16:creationId xmlns:a16="http://schemas.microsoft.com/office/drawing/2014/main" id="{E37BCB91-78BD-9490-71A0-9D438DCB7B67}"/>
              </a:ext>
            </a:extLst>
          </p:cNvPr>
          <p:cNvGrpSpPr/>
          <p:nvPr userDrawn="1"/>
        </p:nvGrpSpPr>
        <p:grpSpPr>
          <a:xfrm>
            <a:off x="-1" y="0"/>
            <a:ext cx="13371660" cy="7543800"/>
            <a:chOff x="-20924" y="0"/>
            <a:chExt cx="10058400" cy="7543800"/>
          </a:xfrm>
        </p:grpSpPr>
        <p:cxnSp>
          <p:nvCxnSpPr>
            <p:cNvPr id="11" name="Straight Connector 10">
              <a:extLst>
                <a:ext uri="{FF2B5EF4-FFF2-40B4-BE49-F238E27FC236}">
                  <a16:creationId xmlns:a16="http://schemas.microsoft.com/office/drawing/2014/main" id="{CF68D412-7CBB-28AF-F3F9-F79071A05957}"/>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79D0861-B14E-AAF5-AD4D-64ED4CF73B17}"/>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B50152F-972A-0860-32B6-5705B1C90829}"/>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3626D1A-EA7F-3C13-421A-0595EA02F78D}"/>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A9F51D0-FF5C-7CE6-E2C0-67C7B9739BCF}"/>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95C57BB-08A2-6FE0-B667-3450F549C0AA}"/>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7" name="Text Placeholder 12">
            <a:extLst>
              <a:ext uri="{FF2B5EF4-FFF2-40B4-BE49-F238E27FC236}">
                <a16:creationId xmlns:a16="http://schemas.microsoft.com/office/drawing/2014/main" id="{F3D7850D-0A2A-16A2-8211-0D84983FBE09}"/>
              </a:ext>
            </a:extLst>
          </p:cNvPr>
          <p:cNvSpPr>
            <a:spLocks noGrp="1"/>
          </p:cNvSpPr>
          <p:nvPr>
            <p:ph type="body" sz="quarter" idx="16" hasCustomPrompt="1"/>
          </p:nvPr>
        </p:nvSpPr>
        <p:spPr>
          <a:xfrm>
            <a:off x="558000" y="1969200"/>
            <a:ext cx="12250800" cy="4215600"/>
          </a:xfrm>
        </p:spPr>
        <p:txBody>
          <a:bodyPr/>
          <a:lstStyle>
            <a:lvl1pPr marL="0" indent="0">
              <a:buNone/>
              <a:defRPr sz="900"/>
            </a:lvl1pPr>
            <a:lvl2pPr marL="182160" indent="0">
              <a:buNone/>
              <a:defRPr/>
            </a:lvl2pPr>
            <a:lvl3pPr marL="365040" indent="0">
              <a:buNone/>
              <a:defRPr/>
            </a:lvl3pPr>
            <a:lvl4pPr marL="547920" indent="0">
              <a:buNone/>
              <a:defRPr/>
            </a:lvl4pPr>
            <a:lvl5pPr marL="766800" indent="0">
              <a:buNone/>
              <a:defRPr/>
            </a:lvl5pPr>
          </a:lstStyle>
          <a:p>
            <a:pPr lvl="0"/>
            <a:r>
              <a:rPr lang="en-US" altLang="zh-TW"/>
              <a:t>Add disclaimer text</a:t>
            </a:r>
            <a:endParaRPr lang="en-US" altLang="en-US"/>
          </a:p>
        </p:txBody>
      </p:sp>
    </p:spTree>
    <p:extLst>
      <p:ext uri="{BB962C8B-B14F-4D97-AF65-F5344CB8AC3E}">
        <p14:creationId xmlns:p14="http://schemas.microsoft.com/office/powerpoint/2010/main" val="1589133150"/>
      </p:ext>
    </p:extLst>
  </p:cSld>
  <p:clrMapOvr>
    <a:masterClrMapping/>
  </p:clrMapOvr>
  <p:extLst>
    <p:ext uri="{DCECCB84-F9BA-43D5-87BE-67443E8EF086}">
      <p15:sldGuideLst xmlns:p15="http://schemas.microsoft.com/office/powerpoint/2012/main">
        <p15:guide id="1" orient="horz" pos="890">
          <p15:clr>
            <a:srgbClr val="FBAE40"/>
          </p15:clr>
        </p15:guide>
        <p15:guide id="5" orient="horz" pos="1223">
          <p15:clr>
            <a:srgbClr val="FBAE40"/>
          </p15:clr>
        </p15:guide>
        <p15:guide id="6" orient="horz" pos="3873"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act Page">
    <p:spTree>
      <p:nvGrpSpPr>
        <p:cNvPr id="1" name=""/>
        <p:cNvGrpSpPr/>
        <p:nvPr/>
      </p:nvGrpSpPr>
      <p:grpSpPr>
        <a:xfrm>
          <a:off x="0" y="0"/>
          <a:ext cx="0" cy="0"/>
          <a:chOff x="0" y="0"/>
          <a:chExt cx="0" cy="0"/>
        </a:xfrm>
      </p:grpSpPr>
      <p:sp>
        <p:nvSpPr>
          <p:cNvPr id="3" name="Classification Tag" descr="{&quot;templafy&quot;:{&quot;id&quot;:&quot;b7473bfc-8670-4cbd-b0fc-d0b7ae594d78&quot;}}">
            <a:extLst>
              <a:ext uri="{FF2B5EF4-FFF2-40B4-BE49-F238E27FC236}">
                <a16:creationId xmlns:a16="http://schemas.microsoft.com/office/drawing/2014/main" id="{BF8C7E97-A4AD-A3DC-CD26-F793E59D4D72}"/>
              </a:ext>
            </a:extLst>
          </p:cNvPr>
          <p:cNvSpPr txBox="1"/>
          <p:nvPr userDrawn="1">
            <p:custDataLst>
              <p:tags r:id="rId1"/>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5" name="text" descr="{&quot;templafy&quot;:{&quot;id&quot;:&quot;3e463264-1407-40d5-a513-63205f825d39&quot;}}" hidden="1" title="Translations.Draft">
            <a:extLst>
              <a:ext uri="{FF2B5EF4-FFF2-40B4-BE49-F238E27FC236}">
                <a16:creationId xmlns:a16="http://schemas.microsoft.com/office/drawing/2014/main" id="{3B022364-EA72-4288-3FA5-A26F99687AD3}"/>
              </a:ext>
            </a:extLst>
          </p:cNvPr>
          <p:cNvSpPr txBox="1"/>
          <p:nvPr>
            <p:custDataLst>
              <p:tags r:id="rId2"/>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8" name="TemplafyBrandVersion" hidden="1">
            <a:extLst>
              <a:ext uri="{FF2B5EF4-FFF2-40B4-BE49-F238E27FC236}">
                <a16:creationId xmlns:a16="http://schemas.microsoft.com/office/drawing/2014/main" id="{527C0B7C-1C0D-02DA-4863-857C5DA39D61}"/>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sp>
        <p:nvSpPr>
          <p:cNvPr id="12" name="text" descr="{&quot;templafy&quot;:{&quot;id&quot;:&quot;10914bf8-7a6c-497d-a3d9-6d6d4c106143&quot;}}" title="UserProfile.Language.Web">
            <a:extLst>
              <a:ext uri="{FF2B5EF4-FFF2-40B4-BE49-F238E27FC236}">
                <a16:creationId xmlns:a16="http://schemas.microsoft.com/office/drawing/2014/main" id="{C3547989-7629-F774-CB2A-F1DDDEAA4C09}"/>
              </a:ext>
            </a:extLst>
          </p:cNvPr>
          <p:cNvSpPr/>
          <p:nvPr/>
        </p:nvSpPr>
        <p:spPr>
          <a:xfrm>
            <a:off x="547200" y="6109200"/>
            <a:ext cx="8635909" cy="228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Bef>
                <a:spcPts val="0"/>
              </a:spcBef>
            </a:pPr>
            <a:r>
              <a:rPr lang="en-US" sz="1100">
                <a:solidFill>
                  <a:schemeClr val="tx1"/>
                </a:solidFill>
              </a:rPr>
              <a:t>www.ubs.com</a:t>
            </a:r>
          </a:p>
        </p:txBody>
      </p:sp>
      <p:sp>
        <p:nvSpPr>
          <p:cNvPr id="13" name="text" descr="{&quot;templafy&quot;:{&quot;id&quot;:&quot;832160d9-29ca-46da-b9df-801d74a0b13d&quot;}}" title="UserProfile.Language.CompanyName">
            <a:extLst>
              <a:ext uri="{FF2B5EF4-FFF2-40B4-BE49-F238E27FC236}">
                <a16:creationId xmlns:a16="http://schemas.microsoft.com/office/drawing/2014/main" id="{475BDEBC-3C9B-37BF-A775-BF7E1F678C92}"/>
              </a:ext>
            </a:extLst>
          </p:cNvPr>
          <p:cNvSpPr/>
          <p:nvPr/>
        </p:nvSpPr>
        <p:spPr>
          <a:xfrm>
            <a:off x="547200" y="4694400"/>
            <a:ext cx="8635909" cy="180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r>
              <a:rPr lang="en-US" sz="1100" b="1">
                <a:solidFill>
                  <a:schemeClr val="tx1"/>
                </a:solidFill>
              </a:rPr>
              <a:t>UBS Switzerland AG</a:t>
            </a:r>
          </a:p>
        </p:txBody>
      </p:sp>
      <p:sp>
        <p:nvSpPr>
          <p:cNvPr id="14" name="text" descr="{&quot;templafy&quot;:{&quot;id&quot;:&quot;c61098dd-de06-4aae-b72c-0f9a04520fb3&quot;}}" title="UserProfile.Language.FullAddressLine">
            <a:extLst>
              <a:ext uri="{FF2B5EF4-FFF2-40B4-BE49-F238E27FC236}">
                <a16:creationId xmlns:a16="http://schemas.microsoft.com/office/drawing/2014/main" id="{DE0C3082-0102-FF8F-E7C9-5CEB195FD733}"/>
              </a:ext>
            </a:extLst>
          </p:cNvPr>
          <p:cNvSpPr/>
          <p:nvPr/>
        </p:nvSpPr>
        <p:spPr>
          <a:xfrm>
            <a:off x="547200" y="5198400"/>
            <a:ext cx="8635909" cy="53250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r>
              <a:rPr lang="en-US" sz="1100" b="0">
                <a:solidFill>
                  <a:schemeClr val="tx1"/>
                </a:solidFill>
              </a:rPr>
              <a:t>Postfach
8098 Zürich</a:t>
            </a:r>
          </a:p>
        </p:txBody>
      </p:sp>
      <p:sp>
        <p:nvSpPr>
          <p:cNvPr id="15" name="text" descr="{&quot;templafy&quot;:{&quot;id&quot;:&quot;b571cb22-d4c0-4ba1-84b8-5d17963b6b05&quot;}}" title="UserProfile.Language.ReceptionPhone">
            <a:extLst>
              <a:ext uri="{FF2B5EF4-FFF2-40B4-BE49-F238E27FC236}">
                <a16:creationId xmlns:a16="http://schemas.microsoft.com/office/drawing/2014/main" id="{D6E596C2-9502-EFB7-C452-B9FC615CC9AF}"/>
              </a:ext>
            </a:extLst>
          </p:cNvPr>
          <p:cNvSpPr/>
          <p:nvPr/>
        </p:nvSpPr>
        <p:spPr>
          <a:xfrm>
            <a:off x="547200" y="5943600"/>
            <a:ext cx="8635909" cy="1944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r>
              <a:rPr lang="en-US" sz="1100" b="0">
                <a:solidFill>
                  <a:schemeClr val="tx1"/>
                </a:solidFill>
              </a:rPr>
              <a:t>+41-44-265 91 11</a:t>
            </a:r>
          </a:p>
        </p:txBody>
      </p:sp>
      <p:sp>
        <p:nvSpPr>
          <p:cNvPr id="16" name="text" descr="{&quot;templafy&quot;:{&quot;id&quot;:&quot;57ef3ea8-4e47-48a0-9b6b-d3356178cc8c&quot;}}" title="UserProfile.Language.Endorsement">
            <a:extLst>
              <a:ext uri="{FF2B5EF4-FFF2-40B4-BE49-F238E27FC236}">
                <a16:creationId xmlns:a16="http://schemas.microsoft.com/office/drawing/2014/main" id="{2CBE7D07-9B96-53CC-4BE3-9CB76E4B98F3}"/>
              </a:ext>
            </a:extLst>
          </p:cNvPr>
          <p:cNvSpPr/>
          <p:nvPr/>
        </p:nvSpPr>
        <p:spPr>
          <a:xfrm>
            <a:off x="547200" y="6420854"/>
            <a:ext cx="8635909" cy="228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spcBef>
                <a:spcPts val="0"/>
              </a:spcBef>
            </a:pPr>
            <a:endParaRPr lang="en-US" sz="900">
              <a:solidFill>
                <a:schemeClr val="tx1"/>
              </a:solidFill>
            </a:endParaRPr>
          </a:p>
        </p:txBody>
      </p:sp>
      <p:sp>
        <p:nvSpPr>
          <p:cNvPr id="17" name="text" descr="{&quot;templafy&quot;:{&quot;id&quot;:&quot;013964a2-5d09-439d-aa27-ab22d3729f02&quot;}}" title="UserProfile.Language.NameExtension">
            <a:extLst>
              <a:ext uri="{FF2B5EF4-FFF2-40B4-BE49-F238E27FC236}">
                <a16:creationId xmlns:a16="http://schemas.microsoft.com/office/drawing/2014/main" id="{2C4FA7A3-3400-E1AE-3A7E-9B222B937B4D}"/>
              </a:ext>
            </a:extLst>
          </p:cNvPr>
          <p:cNvSpPr/>
          <p:nvPr/>
        </p:nvSpPr>
        <p:spPr>
          <a:xfrm>
            <a:off x="547200" y="4863600"/>
            <a:ext cx="8635909" cy="3348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endParaRPr lang="en-US" sz="1100" b="0">
              <a:solidFill>
                <a:schemeClr val="tx1"/>
              </a:solidFill>
            </a:endParaRPr>
          </a:p>
        </p:txBody>
      </p:sp>
      <p:pic>
        <p:nvPicPr>
          <p:cNvPr id="1196584087" name="Logo" descr="{&quot;templafy&quot;:{&quot;id&quot;:&quot;68287180-4cb5-4d84-908b-d31c6c47bde3&quot;}}"/>
          <p:cNvPicPr>
            <a:picLocks noChangeAspect="1"/>
          </p:cNvPicPr>
          <p:nvPr/>
        </p:nvPicPr>
        <p:blipFill>
          <a:blip r:embed="rId6"/>
          <a:stretch>
            <a:fillRect/>
          </a:stretch>
        </p:blipFill>
        <p:spPr>
          <a:xfrm>
            <a:off x="12157200" y="7041600"/>
            <a:ext cx="698731" cy="248400"/>
          </a:xfrm>
          <a:prstGeom prst="rect">
            <a:avLst/>
          </a:prstGeom>
        </p:spPr>
      </p:pic>
      <p:graphicFrame>
        <p:nvGraphicFramePr>
          <p:cNvPr id="6" name="Object 5" hidden="1">
            <a:extLst>
              <a:ext uri="{FF2B5EF4-FFF2-40B4-BE49-F238E27FC236}">
                <a16:creationId xmlns:a16="http://schemas.microsoft.com/office/drawing/2014/main" id="{2F8F1230-997A-4A86-5249-38335D79F849}"/>
              </a:ext>
            </a:extLst>
          </p:cNvPr>
          <p:cNvGraphicFramePr>
            <a:graphicFrameLocks noChangeAspect="1"/>
          </p:cNvGraphicFramePr>
          <p:nvPr userDrawn="1">
            <p:custDataLst>
              <p:tags r:id="rId3"/>
            </p:custDataLst>
            <p:extLst>
              <p:ext uri="{D42A27DB-BD31-4B8C-83A1-F6EECF244321}">
                <p14:modId xmlns:p14="http://schemas.microsoft.com/office/powerpoint/2010/main" val="181732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6" name="Object 5" hidden="1">
                        <a:extLst>
                          <a:ext uri="{FF2B5EF4-FFF2-40B4-BE49-F238E27FC236}">
                            <a16:creationId xmlns:a16="http://schemas.microsoft.com/office/drawing/2014/main" id="{2F8F1230-997A-4A86-5249-38335D79F84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53CA5A5-5571-2719-E8E5-9264028B3F9F}"/>
              </a:ext>
            </a:extLst>
          </p:cNvPr>
          <p:cNvSpPr/>
          <p:nvPr userDrawn="1">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9" name="PXP_GRIDLINES" hidden="1">
            <a:extLst>
              <a:ext uri="{FF2B5EF4-FFF2-40B4-BE49-F238E27FC236}">
                <a16:creationId xmlns:a16="http://schemas.microsoft.com/office/drawing/2014/main" id="{7884C87E-4282-0715-C1BE-2421DF242F1E}"/>
              </a:ext>
            </a:extLst>
          </p:cNvPr>
          <p:cNvGrpSpPr/>
          <p:nvPr userDrawn="1"/>
        </p:nvGrpSpPr>
        <p:grpSpPr>
          <a:xfrm>
            <a:off x="-1" y="0"/>
            <a:ext cx="13371660" cy="7543800"/>
            <a:chOff x="-20924" y="0"/>
            <a:chExt cx="10058400" cy="7543800"/>
          </a:xfrm>
        </p:grpSpPr>
        <p:cxnSp>
          <p:nvCxnSpPr>
            <p:cNvPr id="10" name="Straight Connector 9">
              <a:extLst>
                <a:ext uri="{FF2B5EF4-FFF2-40B4-BE49-F238E27FC236}">
                  <a16:creationId xmlns:a16="http://schemas.microsoft.com/office/drawing/2014/main" id="{DE6028B7-37E1-A651-6E41-644E644BA0A7}"/>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CA01EF-8FB3-1213-08E6-08470095BBD7}"/>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0335EE5-48CC-661E-6077-36A7300AFBC8}"/>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15D689-2DE3-AEBF-C84C-8F1F3C75D980}"/>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F9B34A5-77BC-6A86-3BFB-245878836C96}"/>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8BA243A-4A2A-03A1-D0DD-125D360CF6CF}"/>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2" name="text" descr="{&quot;templafy&quot;:{&quot;id&quot;:&quot;764a1e6e-1f85-4bf5-ac2b-d842e579cd2a&quot;}}" title="Translations.ContactInformation">
            <a:extLst>
              <a:ext uri="{FF2B5EF4-FFF2-40B4-BE49-F238E27FC236}">
                <a16:creationId xmlns:a16="http://schemas.microsoft.com/office/drawing/2014/main" id="{796F3985-D410-E9D9-1F78-8C03F7080223}"/>
              </a:ext>
            </a:extLst>
          </p:cNvPr>
          <p:cNvSpPr txBox="1"/>
          <p:nvPr userDrawn="1"/>
        </p:nvSpPr>
        <p:spPr>
          <a:xfrm>
            <a:off x="547200" y="0"/>
            <a:ext cx="12290400" cy="942975"/>
          </a:xfrm>
          <a:prstGeom prst="rect">
            <a:avLst/>
          </a:prstGeom>
          <a:noFill/>
        </p:spPr>
        <p:txBody>
          <a:bodyPr wrap="square" lIns="0" tIns="0" rIns="0" bIns="0" rtlCol="0" anchor="b" anchorCtr="0">
            <a:noAutofit/>
          </a:bodyPr>
          <a:lstStyle/>
          <a:p>
            <a:pPr>
              <a:lnSpc>
                <a:spcPct val="95000"/>
              </a:lnSpc>
              <a:spcBef>
                <a:spcPts val="0"/>
              </a:spcBef>
            </a:pPr>
            <a:r>
              <a:rPr lang="en-US" sz="2800">
                <a:latin typeface="+mn-lt"/>
              </a:rPr>
              <a:t>Contact information</a:t>
            </a:r>
          </a:p>
        </p:txBody>
      </p:sp>
    </p:spTree>
    <p:extLst>
      <p:ext uri="{BB962C8B-B14F-4D97-AF65-F5344CB8AC3E}">
        <p14:creationId xmlns:p14="http://schemas.microsoft.com/office/powerpoint/2010/main" val="1505702410"/>
      </p:ext>
    </p:extLst>
  </p:cSld>
  <p:clrMapOvr>
    <a:masterClrMapping/>
  </p:clrMapOvr>
  <p:extLst>
    <p:ext uri="{DCECCB84-F9BA-43D5-87BE-67443E8EF086}">
      <p15:sldGuideLst xmlns:p15="http://schemas.microsoft.com/office/powerpoint/2012/main">
        <p15:guide id="1" orient="horz" pos="890">
          <p15:clr>
            <a:srgbClr val="FBAE40"/>
          </p15:clr>
        </p15:guide>
        <p15:guide id="5" orient="horz" pos="122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P TOC - do not use">
    <p:spTree>
      <p:nvGrpSpPr>
        <p:cNvPr id="1" name=""/>
        <p:cNvGrpSpPr/>
        <p:nvPr/>
      </p:nvGrpSpPr>
      <p:grpSpPr>
        <a:xfrm>
          <a:off x="0" y="0"/>
          <a:ext cx="0" cy="0"/>
          <a:chOff x="0" y="0"/>
          <a:chExt cx="0" cy="0"/>
        </a:xfrm>
      </p:grpSpPr>
      <p:sp>
        <p:nvSpPr>
          <p:cNvPr id="7" name="text" descr="{&quot;templafy&quot;:{&quot;id&quot;:&quot;2780b108-47c1-4b92-90c4-f88c7f9a6015&quot;}}" hidden="1" title="Translations.Draft">
            <a:extLst>
              <a:ext uri="{FF2B5EF4-FFF2-40B4-BE49-F238E27FC236}">
                <a16:creationId xmlns:a16="http://schemas.microsoft.com/office/drawing/2014/main" id="{613FC60C-B7B6-BB3F-E0E2-0C5B091D3BAD}"/>
              </a:ext>
            </a:extLst>
          </p:cNvPr>
          <p:cNvSpPr txBox="1"/>
          <p:nvPr>
            <p:custDataLst>
              <p:tags r:id="rId1"/>
            </p:custDataLst>
          </p:nvPr>
        </p:nvSpPr>
        <p:spPr>
          <a:xfrm>
            <a:off x="12207600" y="208800"/>
            <a:ext cx="640800" cy="1836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1600" b="1" i="0" u="none" baseline="0">
                <a:solidFill>
                  <a:schemeClr val="tx2"/>
                </a:solidFill>
                <a:latin typeface="+mn-lt"/>
              </a:rPr>
              <a:t>Draft</a:t>
            </a:r>
          </a:p>
        </p:txBody>
      </p:sp>
      <p:sp>
        <p:nvSpPr>
          <p:cNvPr id="3" name="Classification Tag" descr="{&quot;templafy&quot;:{&quot;id&quot;:&quot;bfd78f5d-6bec-48b0-9f8f-41ba6191118b&quot;}}">
            <a:extLst>
              <a:ext uri="{FF2B5EF4-FFF2-40B4-BE49-F238E27FC236}">
                <a16:creationId xmlns:a16="http://schemas.microsoft.com/office/drawing/2014/main" id="{5C1A4306-5A51-62AE-EDCC-49C6E1A511CC}"/>
              </a:ext>
            </a:extLst>
          </p:cNvPr>
          <p:cNvSpPr txBox="1"/>
          <p:nvPr userDrawn="1">
            <p:custDataLst>
              <p:tags r:id="rId2"/>
            </p:custDataLst>
          </p:nvPr>
        </p:nvSpPr>
        <p:spPr>
          <a:xfrm>
            <a:off x="969264" y="7153200"/>
            <a:ext cx="1554480" cy="118872"/>
          </a:xfrm>
          <a:prstGeom prst="rect">
            <a:avLst/>
          </a:prstGeom>
        </p:spPr>
        <p:txBody>
          <a:bodyPr vert="horz" lIns="0" tIns="0" rIns="0" bIns="0" rtlCol="0" anchor="ctr">
            <a:noAutofit/>
          </a:bodyPr>
          <a:lstStyle>
            <a:lvl1pPr marL="0" marR="0" lvl="0" indent="0" defTabSz="1005505" latinLnBrk="0">
              <a:lnSpc>
                <a:spcPct val="100000"/>
              </a:lnSpc>
              <a:spcBef>
                <a:spcPts val="0"/>
              </a:spcBef>
              <a:buClr>
                <a:schemeClr val="tx1"/>
              </a:buClr>
              <a:buSzPct val="75000"/>
              <a:buFont typeface="Wingdings 2" panose="05020102010507070707" pitchFamily="18" charset="2"/>
              <a:buNone/>
              <a:tabLst/>
              <a:defRPr lang="en-US" sz="800" b="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2" name="Title 1" descr="{&quot;templafy&quot;:{&quot;id&quot;:&quot;1c3c7eaa-84e9-4ca8-bbd6-41f41b99c22a&quot;}}">
            <a:extLst>
              <a:ext uri="{FF2B5EF4-FFF2-40B4-BE49-F238E27FC236}">
                <a16:creationId xmlns:a16="http://schemas.microsoft.com/office/drawing/2014/main" id="{B5E21341-21E1-D39B-CD2C-2E97B5789294}"/>
              </a:ext>
            </a:extLst>
          </p:cNvPr>
          <p:cNvSpPr>
            <a:spLocks noGrp="1"/>
          </p:cNvSpPr>
          <p:nvPr>
            <p:ph type="title" hasCustomPrompt="1"/>
          </p:nvPr>
        </p:nvSpPr>
        <p:spPr>
          <a:xfrm>
            <a:off x="548640" y="548640"/>
            <a:ext cx="5879465" cy="411480"/>
          </a:xfrm>
          <a:prstGeom prst="rect">
            <a:avLst/>
          </a:prstGeom>
        </p:spPr>
        <p:txBody>
          <a:bodyPr lIns="0" tIns="0" rIns="0" bIns="0" anchor="b"/>
          <a:lstStyle>
            <a:lvl1pPr>
              <a:defRPr sz="2800"/>
            </a:lvl1pPr>
          </a:lstStyle>
          <a:p>
            <a:r>
              <a:rPr lang="en-US"/>
              <a:t>Table of contents</a:t>
            </a:r>
          </a:p>
        </p:txBody>
      </p:sp>
      <p:grpSp>
        <p:nvGrpSpPr>
          <p:cNvPr id="10" name="SP Agenda Section" hidden="1">
            <a:extLst>
              <a:ext uri="{FF2B5EF4-FFF2-40B4-BE49-F238E27FC236}">
                <a16:creationId xmlns:a16="http://schemas.microsoft.com/office/drawing/2014/main" id="{AD1BB46E-D45C-03B8-C1C0-7C028754538D}"/>
              </a:ext>
            </a:extLst>
          </p:cNvPr>
          <p:cNvGrpSpPr/>
          <p:nvPr/>
        </p:nvGrpSpPr>
        <p:grpSpPr>
          <a:xfrm>
            <a:off x="547200" y="1736250"/>
            <a:ext cx="12301200" cy="407375"/>
            <a:chOff x="422275" y="1736250"/>
            <a:chExt cx="9295216" cy="407375"/>
          </a:xfrm>
        </p:grpSpPr>
        <p:sp>
          <p:nvSpPr>
            <p:cNvPr id="12" name="Textbox" descr="{&quot;templafy&quot;:{&quot;id&quot;:&quot;161a4ca8-486a-4368-ba5f-1cef917fa79b&quot;}}" hidden="1" title="Translations.SectionN">
              <a:extLst>
                <a:ext uri="{FF2B5EF4-FFF2-40B4-BE49-F238E27FC236}">
                  <a16:creationId xmlns:a16="http://schemas.microsoft.com/office/drawing/2014/main" id="{76F2737A-FCA0-98A0-B7CD-C3A4DADD97DB}"/>
                </a:ext>
              </a:extLst>
            </p:cNvPr>
            <p:cNvSpPr txBox="1">
              <a:spLocks/>
            </p:cNvSpPr>
            <p:nvPr/>
          </p:nvSpPr>
          <p:spPr>
            <a:xfrm>
              <a:off x="422275" y="1736250"/>
              <a:ext cx="883781" cy="406265"/>
            </a:xfrm>
            <a:prstGeom prst="rect">
              <a:avLst/>
            </a:prstGeom>
            <a:noFill/>
          </p:spPr>
          <p:txBody>
            <a:bodyPr wrap="none" lIns="0" rIns="0" rtlCol="0" anchor="ctr">
              <a:noAutofit/>
            </a:bodyPr>
            <a:lstStyle/>
            <a:p>
              <a:pPr algn="l"/>
              <a:r>
                <a:rPr lang="en-US" altLang="en-US" sz="1400" b="0" kern="0" baseline="0">
                  <a:solidFill>
                    <a:schemeClr val="tx1"/>
                  </a:solidFill>
                  <a:latin typeface="+mn-lt"/>
                  <a:ea typeface="+mn-ea"/>
                  <a:cs typeface="+mn-cs"/>
                </a:rPr>
                <a:t>Section &lt;N&gt;</a:t>
              </a:r>
              <a:endParaRPr lang="en-US"/>
            </a:p>
          </p:txBody>
        </p:sp>
        <p:sp>
          <p:nvSpPr>
            <p:cNvPr id="11" name="Textbox">
              <a:extLst>
                <a:ext uri="{FF2B5EF4-FFF2-40B4-BE49-F238E27FC236}">
                  <a16:creationId xmlns:a16="http://schemas.microsoft.com/office/drawing/2014/main" id="{1AA3D498-AEA1-5DB5-5639-0CFF402E6D92}"/>
                </a:ext>
              </a:extLst>
            </p:cNvPr>
            <p:cNvSpPr txBox="1">
              <a:spLocks/>
            </p:cNvSpPr>
            <p:nvPr/>
          </p:nvSpPr>
          <p:spPr>
            <a:xfrm>
              <a:off x="1432964" y="1736250"/>
              <a:ext cx="775419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1" kern="0" baseline="0">
                  <a:solidFill>
                    <a:schemeClr val="tx1"/>
                  </a:solidFill>
                  <a:latin typeface="+mn-lt"/>
                  <a:ea typeface="+mn-ea"/>
                  <a:cs typeface="+mn-cs"/>
                </a:rPr>
                <a:t>&lt;TEXT&gt;</a:t>
              </a:r>
              <a:r>
                <a:rPr lang="en-US" altLang="en-US" sz="1400" b="1" u="sng" kern="0" baseline="0">
                  <a:solidFill>
                    <a:schemeClr val="tx1"/>
                  </a:solidFill>
                  <a:latin typeface="+mn-lt"/>
                  <a:ea typeface="+mn-ea"/>
                  <a:cs typeface="+mn-cs"/>
                </a:rPr>
                <a:t>                                                                                                                        </a:t>
              </a:r>
              <a:endParaRPr lang="en-US"/>
            </a:p>
          </p:txBody>
        </p:sp>
        <p:sp>
          <p:nvSpPr>
            <p:cNvPr id="14" name="Textbox" hidden="1">
              <a:extLst>
                <a:ext uri="{FF2B5EF4-FFF2-40B4-BE49-F238E27FC236}">
                  <a16:creationId xmlns:a16="http://schemas.microsoft.com/office/drawing/2014/main" id="{FF0185AA-4A91-A9F2-A687-8B4548CDB27E}"/>
                </a:ext>
              </a:extLst>
            </p:cNvPr>
            <p:cNvSpPr txBox="1">
              <a:spLocks/>
            </p:cNvSpPr>
            <p:nvPr/>
          </p:nvSpPr>
          <p:spPr>
            <a:xfrm>
              <a:off x="4963760" y="1737360"/>
              <a:ext cx="206536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RESPONSIBLE&gt;</a:t>
              </a:r>
              <a:r>
                <a:rPr lang="en-US" altLang="en-US" sz="1400" b="0" u="sng" kern="0" baseline="0">
                  <a:solidFill>
                    <a:schemeClr val="tx1"/>
                  </a:solidFill>
                  <a:latin typeface="+mn-lt"/>
                  <a:ea typeface="+mn-ea"/>
                  <a:cs typeface="+mn-cs"/>
                </a:rPr>
                <a:t>                                                                                                                        </a:t>
              </a:r>
              <a:endParaRPr lang="en-US"/>
            </a:p>
          </p:txBody>
        </p:sp>
        <p:sp>
          <p:nvSpPr>
            <p:cNvPr id="15" name="Textbox" hidden="1">
              <a:extLst>
                <a:ext uri="{FF2B5EF4-FFF2-40B4-BE49-F238E27FC236}">
                  <a16:creationId xmlns:a16="http://schemas.microsoft.com/office/drawing/2014/main" id="{D80AC5AD-5474-8D9F-BBBD-EB14F8A730B3}"/>
                </a:ext>
              </a:extLst>
            </p:cNvPr>
            <p:cNvSpPr txBox="1">
              <a:spLocks/>
            </p:cNvSpPr>
            <p:nvPr/>
          </p:nvSpPr>
          <p:spPr>
            <a:xfrm>
              <a:off x="7033037" y="1737360"/>
              <a:ext cx="106665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TIMESLOT&gt;</a:t>
              </a:r>
              <a:r>
                <a:rPr lang="en-US" altLang="en-US" sz="1400" b="0" u="sng" kern="0" baseline="0">
                  <a:solidFill>
                    <a:schemeClr val="tx1"/>
                  </a:solidFill>
                  <a:latin typeface="+mn-lt"/>
                  <a:ea typeface="+mn-ea"/>
                  <a:cs typeface="+mn-cs"/>
                </a:rPr>
                <a:t>                                                                                                                        </a:t>
              </a:r>
              <a:endParaRPr lang="en-US"/>
            </a:p>
          </p:txBody>
        </p:sp>
        <p:sp>
          <p:nvSpPr>
            <p:cNvPr id="16" name="Textbox" hidden="1">
              <a:extLst>
                <a:ext uri="{FF2B5EF4-FFF2-40B4-BE49-F238E27FC236}">
                  <a16:creationId xmlns:a16="http://schemas.microsoft.com/office/drawing/2014/main" id="{32879C02-556B-0B46-59CA-BC66BA0F2D48}"/>
                </a:ext>
              </a:extLst>
            </p:cNvPr>
            <p:cNvSpPr txBox="1">
              <a:spLocks/>
            </p:cNvSpPr>
            <p:nvPr/>
          </p:nvSpPr>
          <p:spPr>
            <a:xfrm>
              <a:off x="8103601" y="1737360"/>
              <a:ext cx="98758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DURATION&gt;</a:t>
              </a:r>
              <a:r>
                <a:rPr lang="en-US" altLang="en-US" sz="1400" b="0" u="sng" kern="0" baseline="0">
                  <a:solidFill>
                    <a:schemeClr val="tx1"/>
                  </a:solidFill>
                  <a:latin typeface="+mn-lt"/>
                  <a:ea typeface="+mn-ea"/>
                  <a:cs typeface="+mn-cs"/>
                </a:rPr>
                <a:t>                                                                                                                        </a:t>
              </a:r>
              <a:endParaRPr lang="en-US"/>
            </a:p>
          </p:txBody>
        </p:sp>
        <p:sp>
          <p:nvSpPr>
            <p:cNvPr id="13" name="Textbox" hidden="1">
              <a:extLst>
                <a:ext uri="{FF2B5EF4-FFF2-40B4-BE49-F238E27FC236}">
                  <a16:creationId xmlns:a16="http://schemas.microsoft.com/office/drawing/2014/main" id="{4E7E35D5-8412-DFB4-1F02-736971DE6899}"/>
                </a:ext>
              </a:extLst>
            </p:cNvPr>
            <p:cNvSpPr txBox="1">
              <a:spLocks/>
            </p:cNvSpPr>
            <p:nvPr/>
          </p:nvSpPr>
          <p:spPr>
            <a:xfrm>
              <a:off x="9033558" y="1736250"/>
              <a:ext cx="683933"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400" b="0" kern="0" baseline="0">
                  <a:solidFill>
                    <a:schemeClr val="tx1"/>
                  </a:solidFill>
                  <a:latin typeface="+mn-lt"/>
                  <a:ea typeface="+mn-ea"/>
                  <a:cs typeface="+mn-cs"/>
                </a:rPr>
                <a:t>&lt;P&gt;</a:t>
              </a:r>
              <a:endParaRPr lang="en-US" altLang="en-US" sz="1400" b="0" kern="0" baseline="0">
                <a:solidFill>
                  <a:schemeClr val="tx1"/>
                </a:solidFill>
                <a:latin typeface="+mn-lt"/>
                <a:ea typeface="+mn-ea"/>
                <a:cs typeface="+mn-cs"/>
              </a:endParaRPr>
            </a:p>
          </p:txBody>
        </p:sp>
      </p:grpSp>
      <p:grpSp>
        <p:nvGrpSpPr>
          <p:cNvPr id="17" name="SP Agenda Section Highlight" hidden="1">
            <a:extLst>
              <a:ext uri="{FF2B5EF4-FFF2-40B4-BE49-F238E27FC236}">
                <a16:creationId xmlns:a16="http://schemas.microsoft.com/office/drawing/2014/main" id="{841055F0-B461-3D79-3088-6A7E0BD29197}"/>
              </a:ext>
            </a:extLst>
          </p:cNvPr>
          <p:cNvGrpSpPr/>
          <p:nvPr/>
        </p:nvGrpSpPr>
        <p:grpSpPr>
          <a:xfrm>
            <a:off x="547200" y="2029968"/>
            <a:ext cx="12301200" cy="408222"/>
            <a:chOff x="420623" y="2029968"/>
            <a:chExt cx="9287402" cy="408222"/>
          </a:xfrm>
        </p:grpSpPr>
        <p:sp>
          <p:nvSpPr>
            <p:cNvPr id="19" name="Textbox" descr="{&quot;templafy&quot;:{&quot;id&quot;:&quot;d8a49ba6-5ce0-468d-b24e-ed470114bd9f&quot;}}" hidden="1" title="Translations.SectionN">
              <a:extLst>
                <a:ext uri="{FF2B5EF4-FFF2-40B4-BE49-F238E27FC236}">
                  <a16:creationId xmlns:a16="http://schemas.microsoft.com/office/drawing/2014/main" id="{D4D33E5A-64D1-10DD-403D-5E9522A8382E}"/>
                </a:ext>
              </a:extLst>
            </p:cNvPr>
            <p:cNvSpPr txBox="1">
              <a:spLocks/>
            </p:cNvSpPr>
            <p:nvPr/>
          </p:nvSpPr>
          <p:spPr>
            <a:xfrm>
              <a:off x="420623" y="2031925"/>
              <a:ext cx="883781" cy="406265"/>
            </a:xfrm>
            <a:prstGeom prst="rect">
              <a:avLst/>
            </a:prstGeom>
            <a:noFill/>
          </p:spPr>
          <p:txBody>
            <a:bodyPr wrap="none" lIns="0" rIns="0" rtlCol="0" anchor="ctr">
              <a:noAutofit/>
            </a:bodyPr>
            <a:lstStyle/>
            <a:p>
              <a:pPr algn="l"/>
              <a:r>
                <a:rPr lang="en-US" altLang="en-US" sz="1400" b="0" kern="0" baseline="0">
                  <a:solidFill>
                    <a:schemeClr val="tx1"/>
                  </a:solidFill>
                  <a:latin typeface="+mn-lt"/>
                  <a:ea typeface="+mn-ea"/>
                  <a:cs typeface="+mn-cs"/>
                </a:rPr>
                <a:t>Section &lt;N&gt;</a:t>
              </a:r>
              <a:endParaRPr lang="en-US"/>
            </a:p>
          </p:txBody>
        </p:sp>
        <p:sp>
          <p:nvSpPr>
            <p:cNvPr id="18" name="Textbox" hidden="1">
              <a:extLst>
                <a:ext uri="{FF2B5EF4-FFF2-40B4-BE49-F238E27FC236}">
                  <a16:creationId xmlns:a16="http://schemas.microsoft.com/office/drawing/2014/main" id="{0A9EBB42-9255-7BF2-C1F6-A76F4769E551}"/>
                </a:ext>
              </a:extLst>
            </p:cNvPr>
            <p:cNvSpPr txBox="1">
              <a:spLocks/>
            </p:cNvSpPr>
            <p:nvPr/>
          </p:nvSpPr>
          <p:spPr>
            <a:xfrm>
              <a:off x="1431312" y="2031925"/>
              <a:ext cx="7754196" cy="406265"/>
            </a:xfrm>
            <a:prstGeom prst="rect">
              <a:avLst/>
            </a:prstGeom>
            <a:noFill/>
          </p:spPr>
          <p:txBody>
            <a:bodyPr wrap="square" lIns="0" rIns="0" rtlCol="0" anchor="ctr">
              <a:noAutofit/>
            </a:bodyPr>
            <a:lstStyle/>
            <a:p>
              <a:pPr algn="l" defTabSz="7701375">
                <a:tabLst>
                  <a:tab pos="7848067" algn="l"/>
                </a:tabLst>
              </a:pPr>
              <a:r>
                <a:rPr lang="en-US" altLang="zh-CN" sz="1400" b="1" kern="0" baseline="0">
                  <a:solidFill>
                    <a:schemeClr val="tx1"/>
                  </a:solidFill>
                  <a:latin typeface="+mn-lt"/>
                  <a:ea typeface="+mn-ea"/>
                  <a:cs typeface="+mn-cs"/>
                </a:rPr>
                <a:t>&lt;TEXT&gt;</a:t>
              </a:r>
              <a:endParaRPr lang="en-US" altLang="en-US" sz="1400" b="1" kern="0" baseline="0">
                <a:solidFill>
                  <a:schemeClr val="tx1"/>
                </a:solidFill>
                <a:latin typeface="+mn-lt"/>
                <a:ea typeface="+mn-ea"/>
                <a:cs typeface="+mn-cs"/>
              </a:endParaRPr>
            </a:p>
          </p:txBody>
        </p:sp>
        <p:sp>
          <p:nvSpPr>
            <p:cNvPr id="21" name="Textbox" hidden="1">
              <a:extLst>
                <a:ext uri="{FF2B5EF4-FFF2-40B4-BE49-F238E27FC236}">
                  <a16:creationId xmlns:a16="http://schemas.microsoft.com/office/drawing/2014/main" id="{9B14AF9F-9040-AA3E-EA83-B0416ECD76DC}"/>
                </a:ext>
              </a:extLst>
            </p:cNvPr>
            <p:cNvSpPr txBox="1">
              <a:spLocks/>
            </p:cNvSpPr>
            <p:nvPr/>
          </p:nvSpPr>
          <p:spPr>
            <a:xfrm>
              <a:off x="4959681" y="2029968"/>
              <a:ext cx="2062961"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RESPONSIBLE&gt;</a:t>
              </a:r>
              <a:r>
                <a:rPr lang="en-US" altLang="en-US" sz="1400" b="0" u="sng" kern="0" baseline="0">
                  <a:solidFill>
                    <a:schemeClr val="tx1"/>
                  </a:solidFill>
                  <a:latin typeface="+mn-lt"/>
                  <a:ea typeface="+mn-ea"/>
                  <a:cs typeface="+mn-cs"/>
                </a:rPr>
                <a:t>                                                                                                                        </a:t>
              </a:r>
              <a:endParaRPr lang="en-US"/>
            </a:p>
          </p:txBody>
        </p:sp>
        <p:sp>
          <p:nvSpPr>
            <p:cNvPr id="22" name="Textbox" hidden="1">
              <a:extLst>
                <a:ext uri="{FF2B5EF4-FFF2-40B4-BE49-F238E27FC236}">
                  <a16:creationId xmlns:a16="http://schemas.microsoft.com/office/drawing/2014/main" id="{E5A20636-EFC3-6B2D-FACA-44F221BD242A}"/>
                </a:ext>
              </a:extLst>
            </p:cNvPr>
            <p:cNvSpPr txBox="1">
              <a:spLocks/>
            </p:cNvSpPr>
            <p:nvPr/>
          </p:nvSpPr>
          <p:spPr>
            <a:xfrm>
              <a:off x="7025360" y="2029968"/>
              <a:ext cx="106665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TIMESLOT&gt;</a:t>
              </a:r>
              <a:r>
                <a:rPr lang="en-US" altLang="en-US" sz="1400" b="0" u="sng" kern="0" baseline="0">
                  <a:solidFill>
                    <a:schemeClr val="tx1"/>
                  </a:solidFill>
                  <a:latin typeface="+mn-lt"/>
                  <a:ea typeface="+mn-ea"/>
                  <a:cs typeface="+mn-cs"/>
                </a:rPr>
                <a:t>                                                                                                                        </a:t>
              </a:r>
              <a:endParaRPr lang="en-US"/>
            </a:p>
          </p:txBody>
        </p:sp>
        <p:sp>
          <p:nvSpPr>
            <p:cNvPr id="23" name="Textbox" hidden="1">
              <a:extLst>
                <a:ext uri="{FF2B5EF4-FFF2-40B4-BE49-F238E27FC236}">
                  <a16:creationId xmlns:a16="http://schemas.microsoft.com/office/drawing/2014/main" id="{487EB0D3-D5AB-2101-F154-B808B7596FD8}"/>
                </a:ext>
              </a:extLst>
            </p:cNvPr>
            <p:cNvSpPr txBox="1">
              <a:spLocks/>
            </p:cNvSpPr>
            <p:nvPr/>
          </p:nvSpPr>
          <p:spPr>
            <a:xfrm>
              <a:off x="8096251" y="2029968"/>
              <a:ext cx="98758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DURATION&gt;</a:t>
              </a:r>
              <a:r>
                <a:rPr lang="en-US" altLang="en-US" sz="1400" b="0" u="sng" kern="0" baseline="0">
                  <a:solidFill>
                    <a:schemeClr val="tx1"/>
                  </a:solidFill>
                  <a:latin typeface="+mn-lt"/>
                  <a:ea typeface="+mn-ea"/>
                  <a:cs typeface="+mn-cs"/>
                </a:rPr>
                <a:t>                                                                                                                        </a:t>
              </a:r>
              <a:endParaRPr lang="en-US"/>
            </a:p>
          </p:txBody>
        </p:sp>
        <p:sp>
          <p:nvSpPr>
            <p:cNvPr id="20" name="Textbox" hidden="1">
              <a:extLst>
                <a:ext uri="{FF2B5EF4-FFF2-40B4-BE49-F238E27FC236}">
                  <a16:creationId xmlns:a16="http://schemas.microsoft.com/office/drawing/2014/main" id="{CB711DFB-2242-50C0-E83F-1A73FABD7661}"/>
                </a:ext>
              </a:extLst>
            </p:cNvPr>
            <p:cNvSpPr txBox="1">
              <a:spLocks/>
            </p:cNvSpPr>
            <p:nvPr/>
          </p:nvSpPr>
          <p:spPr>
            <a:xfrm>
              <a:off x="9025807" y="2031925"/>
              <a:ext cx="682218"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400" b="1" kern="0" baseline="0">
                  <a:solidFill>
                    <a:schemeClr val="tx1"/>
                  </a:solidFill>
                  <a:latin typeface="+mn-lt"/>
                  <a:ea typeface="+mn-ea"/>
                  <a:cs typeface="+mn-cs"/>
                </a:rPr>
                <a:t>&lt;P&gt;</a:t>
              </a:r>
              <a:endParaRPr lang="en-US" altLang="en-US" sz="1400" b="1" kern="0" baseline="0">
                <a:solidFill>
                  <a:schemeClr val="tx1"/>
                </a:solidFill>
                <a:latin typeface="+mn-lt"/>
                <a:ea typeface="+mn-ea"/>
                <a:cs typeface="+mn-cs"/>
              </a:endParaRPr>
            </a:p>
          </p:txBody>
        </p:sp>
      </p:grpSp>
      <p:grpSp>
        <p:nvGrpSpPr>
          <p:cNvPr id="24" name="SP Agenda Subsection" hidden="1">
            <a:extLst>
              <a:ext uri="{FF2B5EF4-FFF2-40B4-BE49-F238E27FC236}">
                <a16:creationId xmlns:a16="http://schemas.microsoft.com/office/drawing/2014/main" id="{48EA0D97-5397-D078-E648-99C9869D57CA}"/>
              </a:ext>
            </a:extLst>
          </p:cNvPr>
          <p:cNvGrpSpPr/>
          <p:nvPr/>
        </p:nvGrpSpPr>
        <p:grpSpPr>
          <a:xfrm>
            <a:off x="1886400" y="2327600"/>
            <a:ext cx="10961998" cy="410385"/>
            <a:chOff x="1761717" y="2327600"/>
            <a:chExt cx="7946617" cy="410385"/>
          </a:xfrm>
        </p:grpSpPr>
        <p:sp>
          <p:nvSpPr>
            <p:cNvPr id="26" name="Textbox" descr="{&quot;templafy&quot;:{&quot;id&quot;:&quot;10b8f0d8-d33e-4c46-9c72-5d4a4f5477f1&quot;}}" hidden="1" title="Translations.SectionN">
              <a:extLst>
                <a:ext uri="{FF2B5EF4-FFF2-40B4-BE49-F238E27FC236}">
                  <a16:creationId xmlns:a16="http://schemas.microsoft.com/office/drawing/2014/main" id="{7B207120-D8E3-ABDC-729D-9BBE9075C33A}"/>
                </a:ext>
              </a:extLst>
            </p:cNvPr>
            <p:cNvSpPr txBox="1">
              <a:spLocks/>
            </p:cNvSpPr>
            <p:nvPr/>
          </p:nvSpPr>
          <p:spPr>
            <a:xfrm>
              <a:off x="1761717" y="2327600"/>
              <a:ext cx="848161" cy="406265"/>
            </a:xfrm>
            <a:prstGeom prst="rect">
              <a:avLst/>
            </a:prstGeom>
            <a:noFill/>
          </p:spPr>
          <p:txBody>
            <a:bodyPr wrap="none" lIns="0" rtlCol="0" anchor="ctr">
              <a:noAutofit/>
            </a:bodyPr>
            <a:lstStyle/>
            <a:p>
              <a:pPr algn="l"/>
              <a:r>
                <a:rPr lang="en-US" altLang="en-US" sz="1400" b="0" kern="0" baseline="0">
                  <a:solidFill>
                    <a:schemeClr val="tx1"/>
                  </a:solidFill>
                  <a:latin typeface="+mn-lt"/>
                  <a:ea typeface="+mn-ea"/>
                  <a:cs typeface="+mn-cs"/>
                </a:rPr>
                <a:t>Section &lt;N&gt;</a:t>
              </a:r>
              <a:endParaRPr lang="en-US"/>
            </a:p>
          </p:txBody>
        </p:sp>
        <p:sp>
          <p:nvSpPr>
            <p:cNvPr id="25" name="Textbox" hidden="1">
              <a:extLst>
                <a:ext uri="{FF2B5EF4-FFF2-40B4-BE49-F238E27FC236}">
                  <a16:creationId xmlns:a16="http://schemas.microsoft.com/office/drawing/2014/main" id="{4CDE73A1-18EC-7BF9-4B0A-ABFB112A76BC}"/>
                </a:ext>
              </a:extLst>
            </p:cNvPr>
            <p:cNvSpPr txBox="1">
              <a:spLocks/>
            </p:cNvSpPr>
            <p:nvPr/>
          </p:nvSpPr>
          <p:spPr>
            <a:xfrm>
              <a:off x="2732535" y="2327600"/>
              <a:ext cx="6461684" cy="406265"/>
            </a:xfrm>
            <a:prstGeom prst="rect">
              <a:avLst/>
            </a:prstGeom>
            <a:noFill/>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TEXT&gt;</a:t>
              </a:r>
              <a:endParaRPr lang="en-US" altLang="en-US" sz="1400" b="0" kern="0" baseline="0">
                <a:solidFill>
                  <a:schemeClr val="tx1"/>
                </a:solidFill>
                <a:latin typeface="+mn-lt"/>
                <a:ea typeface="+mn-ea"/>
                <a:cs typeface="+mn-cs"/>
              </a:endParaRPr>
            </a:p>
          </p:txBody>
        </p:sp>
        <p:sp>
          <p:nvSpPr>
            <p:cNvPr id="28" name="Textbox" hidden="1">
              <a:extLst>
                <a:ext uri="{FF2B5EF4-FFF2-40B4-BE49-F238E27FC236}">
                  <a16:creationId xmlns:a16="http://schemas.microsoft.com/office/drawing/2014/main" id="{1B7DC040-DFB6-4F11-1AA7-9F6E98C7B3A7}"/>
                </a:ext>
              </a:extLst>
            </p:cNvPr>
            <p:cNvSpPr txBox="1">
              <a:spLocks/>
            </p:cNvSpPr>
            <p:nvPr/>
          </p:nvSpPr>
          <p:spPr>
            <a:xfrm>
              <a:off x="5149142" y="2331720"/>
              <a:ext cx="1980783"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RESPONSIBLE&gt;</a:t>
              </a:r>
              <a:r>
                <a:rPr lang="en-US" altLang="en-US" sz="1400" b="0" u="sng" kern="0" baseline="0">
                  <a:solidFill>
                    <a:schemeClr val="tx1"/>
                  </a:solidFill>
                  <a:latin typeface="+mn-lt"/>
                  <a:ea typeface="+mn-ea"/>
                  <a:cs typeface="+mn-cs"/>
                </a:rPr>
                <a:t>                                                                                                                        </a:t>
              </a:r>
              <a:endParaRPr lang="en-US"/>
            </a:p>
          </p:txBody>
        </p:sp>
        <p:sp>
          <p:nvSpPr>
            <p:cNvPr id="29" name="Textbox" hidden="1">
              <a:extLst>
                <a:ext uri="{FF2B5EF4-FFF2-40B4-BE49-F238E27FC236}">
                  <a16:creationId xmlns:a16="http://schemas.microsoft.com/office/drawing/2014/main" id="{BE051473-1B4C-3775-6B3A-E40E04D8D9F0}"/>
                </a:ext>
              </a:extLst>
            </p:cNvPr>
            <p:cNvSpPr txBox="1">
              <a:spLocks/>
            </p:cNvSpPr>
            <p:nvPr/>
          </p:nvSpPr>
          <p:spPr>
            <a:xfrm>
              <a:off x="7132535" y="2331720"/>
              <a:ext cx="1023013"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TIMESLOT&gt;</a:t>
              </a:r>
              <a:r>
                <a:rPr lang="en-US" altLang="en-US" sz="1400" b="0" u="sng" kern="0" baseline="0">
                  <a:solidFill>
                    <a:schemeClr val="tx1"/>
                  </a:solidFill>
                  <a:latin typeface="+mn-lt"/>
                  <a:ea typeface="+mn-ea"/>
                  <a:cs typeface="+mn-cs"/>
                </a:rPr>
                <a:t>                                                                                                                        </a:t>
              </a:r>
              <a:endParaRPr lang="en-US"/>
            </a:p>
          </p:txBody>
        </p:sp>
        <p:sp>
          <p:nvSpPr>
            <p:cNvPr id="30" name="Textbox" hidden="1">
              <a:extLst>
                <a:ext uri="{FF2B5EF4-FFF2-40B4-BE49-F238E27FC236}">
                  <a16:creationId xmlns:a16="http://schemas.microsoft.com/office/drawing/2014/main" id="{F04451FB-421D-F75B-2ACD-9AD74C22BE0F}"/>
                </a:ext>
              </a:extLst>
            </p:cNvPr>
            <p:cNvSpPr txBox="1">
              <a:spLocks/>
            </p:cNvSpPr>
            <p:nvPr/>
          </p:nvSpPr>
          <p:spPr>
            <a:xfrm>
              <a:off x="8160767" y="2331720"/>
              <a:ext cx="947331"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DURATION&gt;</a:t>
              </a:r>
              <a:r>
                <a:rPr lang="en-US" altLang="en-US" sz="1400" b="0" u="sng" kern="0" baseline="0">
                  <a:solidFill>
                    <a:schemeClr val="tx1"/>
                  </a:solidFill>
                  <a:latin typeface="+mn-lt"/>
                  <a:ea typeface="+mn-ea"/>
                  <a:cs typeface="+mn-cs"/>
                </a:rPr>
                <a:t>                                                                                                                        </a:t>
              </a:r>
              <a:endParaRPr lang="en-US"/>
            </a:p>
          </p:txBody>
        </p:sp>
        <p:sp>
          <p:nvSpPr>
            <p:cNvPr id="27" name="Textbox" hidden="1">
              <a:extLst>
                <a:ext uri="{FF2B5EF4-FFF2-40B4-BE49-F238E27FC236}">
                  <a16:creationId xmlns:a16="http://schemas.microsoft.com/office/drawing/2014/main" id="{527737C9-7ECD-F6CC-97DF-18C07FA89F98}"/>
                </a:ext>
              </a:extLst>
            </p:cNvPr>
            <p:cNvSpPr txBox="1">
              <a:spLocks/>
            </p:cNvSpPr>
            <p:nvPr/>
          </p:nvSpPr>
          <p:spPr>
            <a:xfrm>
              <a:off x="9053293" y="2327600"/>
              <a:ext cx="655041"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400" b="0" kern="0" baseline="0">
                  <a:solidFill>
                    <a:schemeClr val="tx1"/>
                  </a:solidFill>
                  <a:latin typeface="+mn-lt"/>
                  <a:ea typeface="+mn-ea"/>
                  <a:cs typeface="+mn-cs"/>
                </a:rPr>
                <a:t>&lt;P&gt;</a:t>
              </a:r>
              <a:endParaRPr lang="en-US" altLang="en-US" sz="1400" b="0" kern="0" baseline="0">
                <a:solidFill>
                  <a:schemeClr val="tx1"/>
                </a:solidFill>
                <a:latin typeface="+mn-lt"/>
                <a:ea typeface="+mn-ea"/>
                <a:cs typeface="+mn-cs"/>
              </a:endParaRPr>
            </a:p>
          </p:txBody>
        </p:sp>
      </p:grpSp>
      <p:grpSp>
        <p:nvGrpSpPr>
          <p:cNvPr id="31" name="SP Agenda Subsection Highlight" hidden="1">
            <a:extLst>
              <a:ext uri="{FF2B5EF4-FFF2-40B4-BE49-F238E27FC236}">
                <a16:creationId xmlns:a16="http://schemas.microsoft.com/office/drawing/2014/main" id="{29972F83-4E25-9EE3-3927-E1529D40B35A}"/>
              </a:ext>
            </a:extLst>
          </p:cNvPr>
          <p:cNvGrpSpPr/>
          <p:nvPr/>
        </p:nvGrpSpPr>
        <p:grpSpPr>
          <a:xfrm>
            <a:off x="1886400" y="2623275"/>
            <a:ext cx="10962000" cy="407318"/>
            <a:chOff x="1761629" y="2623275"/>
            <a:chExt cx="7946706" cy="407318"/>
          </a:xfrm>
        </p:grpSpPr>
        <p:sp>
          <p:nvSpPr>
            <p:cNvPr id="33" name="Textbox" descr="{&quot;templafy&quot;:{&quot;id&quot;:&quot;ee7aa09e-4fde-4ba6-a36b-4cb45cc9fc3e&quot;}}" hidden="1" title="Translations.SectionN">
              <a:extLst>
                <a:ext uri="{FF2B5EF4-FFF2-40B4-BE49-F238E27FC236}">
                  <a16:creationId xmlns:a16="http://schemas.microsoft.com/office/drawing/2014/main" id="{BD6CF7CA-65B3-5676-C97A-A5206D03B421}"/>
                </a:ext>
              </a:extLst>
            </p:cNvPr>
            <p:cNvSpPr txBox="1">
              <a:spLocks/>
            </p:cNvSpPr>
            <p:nvPr/>
          </p:nvSpPr>
          <p:spPr>
            <a:xfrm>
              <a:off x="1761629" y="2623275"/>
              <a:ext cx="848171" cy="406265"/>
            </a:xfrm>
            <a:prstGeom prst="rect">
              <a:avLst/>
            </a:prstGeom>
            <a:noFill/>
          </p:spPr>
          <p:txBody>
            <a:bodyPr wrap="none" lIns="0" rIns="0" rtlCol="0" anchor="ctr">
              <a:noAutofit/>
            </a:bodyPr>
            <a:lstStyle/>
            <a:p>
              <a:pPr algn="l"/>
              <a:r>
                <a:rPr lang="en-US" altLang="en-US" sz="1400" b="0" kern="0" baseline="0">
                  <a:solidFill>
                    <a:schemeClr val="tx1"/>
                  </a:solidFill>
                  <a:latin typeface="+mn-lt"/>
                  <a:ea typeface="+mn-ea"/>
                  <a:cs typeface="+mn-cs"/>
                </a:rPr>
                <a:t>Section &lt;N&gt;</a:t>
              </a:r>
              <a:endParaRPr lang="en-US"/>
            </a:p>
          </p:txBody>
        </p:sp>
        <p:sp>
          <p:nvSpPr>
            <p:cNvPr id="32" name="Textbox" hidden="1">
              <a:extLst>
                <a:ext uri="{FF2B5EF4-FFF2-40B4-BE49-F238E27FC236}">
                  <a16:creationId xmlns:a16="http://schemas.microsoft.com/office/drawing/2014/main" id="{CC303C5A-13A7-A4D4-7A98-0EF8055091E8}"/>
                </a:ext>
              </a:extLst>
            </p:cNvPr>
            <p:cNvSpPr txBox="1">
              <a:spLocks/>
            </p:cNvSpPr>
            <p:nvPr/>
          </p:nvSpPr>
          <p:spPr>
            <a:xfrm>
              <a:off x="2732458" y="2623275"/>
              <a:ext cx="6461755" cy="406265"/>
            </a:xfrm>
            <a:prstGeom prst="rect">
              <a:avLst/>
            </a:prstGeom>
            <a:noFill/>
          </p:spPr>
          <p:txBody>
            <a:bodyPr wrap="square" lIns="0" rIns="0" rtlCol="0" anchor="ctr">
              <a:noAutofit/>
            </a:bodyPr>
            <a:lstStyle/>
            <a:p>
              <a:pPr algn="l" defTabSz="7701375">
                <a:tabLst>
                  <a:tab pos="7848067" algn="l"/>
                </a:tabLst>
              </a:pPr>
              <a:r>
                <a:rPr lang="en-US" altLang="zh-CN" sz="1400" b="1" kern="0" baseline="0">
                  <a:solidFill>
                    <a:schemeClr val="tx1"/>
                  </a:solidFill>
                  <a:latin typeface="+mn-lt"/>
                  <a:ea typeface="+mn-ea"/>
                  <a:cs typeface="+mn-cs"/>
                </a:rPr>
                <a:t>&lt;TEXT&gt;</a:t>
              </a:r>
              <a:endParaRPr lang="en-US" altLang="en-US" sz="1400" b="1" kern="0" baseline="0">
                <a:solidFill>
                  <a:schemeClr val="tx1"/>
                </a:solidFill>
                <a:latin typeface="+mn-lt"/>
                <a:ea typeface="+mn-ea"/>
                <a:cs typeface="+mn-cs"/>
              </a:endParaRPr>
            </a:p>
          </p:txBody>
        </p:sp>
        <p:sp>
          <p:nvSpPr>
            <p:cNvPr id="35" name="Textbox" hidden="1">
              <a:extLst>
                <a:ext uri="{FF2B5EF4-FFF2-40B4-BE49-F238E27FC236}">
                  <a16:creationId xmlns:a16="http://schemas.microsoft.com/office/drawing/2014/main" id="{4CD61AF0-06E0-A4C0-8495-BF46369257F6}"/>
                </a:ext>
              </a:extLst>
            </p:cNvPr>
            <p:cNvSpPr txBox="1">
              <a:spLocks/>
            </p:cNvSpPr>
            <p:nvPr/>
          </p:nvSpPr>
          <p:spPr>
            <a:xfrm>
              <a:off x="5149091" y="2624328"/>
              <a:ext cx="1980804"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RESPONSIBLE&gt;</a:t>
              </a:r>
              <a:r>
                <a:rPr lang="en-US" altLang="en-US" sz="1400" b="0" u="sng" kern="0" baseline="0">
                  <a:solidFill>
                    <a:schemeClr val="tx1"/>
                  </a:solidFill>
                  <a:latin typeface="+mn-lt"/>
                  <a:ea typeface="+mn-ea"/>
                  <a:cs typeface="+mn-cs"/>
                </a:rPr>
                <a:t>                                                                                                                        </a:t>
              </a:r>
              <a:endParaRPr lang="en-US"/>
            </a:p>
          </p:txBody>
        </p:sp>
        <p:sp>
          <p:nvSpPr>
            <p:cNvPr id="36" name="Textbox" hidden="1">
              <a:extLst>
                <a:ext uri="{FF2B5EF4-FFF2-40B4-BE49-F238E27FC236}">
                  <a16:creationId xmlns:a16="http://schemas.microsoft.com/office/drawing/2014/main" id="{21FACAF0-5C6E-ECF8-4574-793FCFC802A2}"/>
                </a:ext>
              </a:extLst>
            </p:cNvPr>
            <p:cNvSpPr txBox="1">
              <a:spLocks/>
            </p:cNvSpPr>
            <p:nvPr/>
          </p:nvSpPr>
          <p:spPr>
            <a:xfrm>
              <a:off x="7132506" y="2624328"/>
              <a:ext cx="1023024"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TIMESLOT&gt;</a:t>
              </a:r>
              <a:r>
                <a:rPr lang="en-US" altLang="en-US" sz="1400" b="0" u="sng" kern="0" baseline="0">
                  <a:solidFill>
                    <a:schemeClr val="tx1"/>
                  </a:solidFill>
                  <a:latin typeface="+mn-lt"/>
                  <a:ea typeface="+mn-ea"/>
                  <a:cs typeface="+mn-cs"/>
                </a:rPr>
                <a:t>                                                                                                                        </a:t>
              </a:r>
              <a:endParaRPr lang="en-US"/>
            </a:p>
          </p:txBody>
        </p:sp>
        <p:sp>
          <p:nvSpPr>
            <p:cNvPr id="37" name="Textbox" hidden="1">
              <a:extLst>
                <a:ext uri="{FF2B5EF4-FFF2-40B4-BE49-F238E27FC236}">
                  <a16:creationId xmlns:a16="http://schemas.microsoft.com/office/drawing/2014/main" id="{7C60FA2E-4D1A-4851-6426-5F03FB190065}"/>
                </a:ext>
              </a:extLst>
            </p:cNvPr>
            <p:cNvSpPr txBox="1">
              <a:spLocks/>
            </p:cNvSpPr>
            <p:nvPr/>
          </p:nvSpPr>
          <p:spPr>
            <a:xfrm>
              <a:off x="8160750" y="2624328"/>
              <a:ext cx="947341"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400" b="0" kern="0" baseline="0">
                  <a:solidFill>
                    <a:schemeClr val="tx1"/>
                  </a:solidFill>
                  <a:latin typeface="+mn-lt"/>
                  <a:ea typeface="+mn-ea"/>
                  <a:cs typeface="+mn-cs"/>
                </a:rPr>
                <a:t>&lt;DURATION&gt;</a:t>
              </a:r>
              <a:r>
                <a:rPr lang="en-US" altLang="en-US" sz="1400" b="0" u="sng" kern="0" baseline="0">
                  <a:solidFill>
                    <a:schemeClr val="tx1"/>
                  </a:solidFill>
                  <a:latin typeface="+mn-lt"/>
                  <a:ea typeface="+mn-ea"/>
                  <a:cs typeface="+mn-cs"/>
                </a:rPr>
                <a:t>                                                                                                                        </a:t>
              </a:r>
              <a:endParaRPr lang="en-US"/>
            </a:p>
          </p:txBody>
        </p:sp>
        <p:sp>
          <p:nvSpPr>
            <p:cNvPr id="34" name="Textbox" hidden="1">
              <a:extLst>
                <a:ext uri="{FF2B5EF4-FFF2-40B4-BE49-F238E27FC236}">
                  <a16:creationId xmlns:a16="http://schemas.microsoft.com/office/drawing/2014/main" id="{D0EF2091-00DF-F551-1E69-6CB126754F93}"/>
                </a:ext>
              </a:extLst>
            </p:cNvPr>
            <p:cNvSpPr txBox="1">
              <a:spLocks/>
            </p:cNvSpPr>
            <p:nvPr/>
          </p:nvSpPr>
          <p:spPr>
            <a:xfrm>
              <a:off x="9053286" y="2623275"/>
              <a:ext cx="655049"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400" b="1" kern="0" baseline="0">
                  <a:solidFill>
                    <a:schemeClr val="tx1"/>
                  </a:solidFill>
                  <a:latin typeface="+mn-lt"/>
                  <a:ea typeface="+mn-ea"/>
                  <a:cs typeface="+mn-cs"/>
                </a:rPr>
                <a:t>&lt;P&gt;</a:t>
              </a:r>
              <a:endParaRPr lang="en-US" altLang="en-US" sz="1400" b="1" kern="0" baseline="0">
                <a:solidFill>
                  <a:schemeClr val="tx1"/>
                </a:solidFill>
                <a:latin typeface="+mn-lt"/>
                <a:ea typeface="+mn-ea"/>
                <a:cs typeface="+mn-cs"/>
              </a:endParaRPr>
            </a:p>
          </p:txBody>
        </p:sp>
      </p:grpSp>
      <p:sp>
        <p:nvSpPr>
          <p:cNvPr id="38" name="TemplafyBrandVersion" hidden="1">
            <a:extLst>
              <a:ext uri="{FF2B5EF4-FFF2-40B4-BE49-F238E27FC236}">
                <a16:creationId xmlns:a16="http://schemas.microsoft.com/office/drawing/2014/main" id="{A94CDEED-CAC8-28EB-657B-325E313E3AF2}"/>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pic>
        <p:nvPicPr>
          <p:cNvPr id="1741018859" name="Logo" descr="{&quot;templafy&quot;:{&quot;id&quot;:&quot;0a58db69-e663-4706-9663-115fcc146079&quot;}}"/>
          <p:cNvPicPr>
            <a:picLocks noChangeAspect="1"/>
          </p:cNvPicPr>
          <p:nvPr/>
        </p:nvPicPr>
        <p:blipFill>
          <a:blip r:embed="rId6"/>
          <a:stretch>
            <a:fillRect/>
          </a:stretch>
        </p:blipFill>
        <p:spPr>
          <a:xfrm>
            <a:off x="12157200" y="7041600"/>
            <a:ext cx="698731" cy="248400"/>
          </a:xfrm>
          <a:prstGeom prst="rect">
            <a:avLst/>
          </a:prstGeom>
        </p:spPr>
      </p:pic>
      <p:graphicFrame>
        <p:nvGraphicFramePr>
          <p:cNvPr id="8" name="Object 7" hidden="1">
            <a:extLst>
              <a:ext uri="{FF2B5EF4-FFF2-40B4-BE49-F238E27FC236}">
                <a16:creationId xmlns:a16="http://schemas.microsoft.com/office/drawing/2014/main" id="{4DA228F3-33E7-F5F0-0BFA-B48266693038}"/>
              </a:ext>
            </a:extLst>
          </p:cNvPr>
          <p:cNvGraphicFramePr>
            <a:graphicFrameLocks noChangeAspect="1"/>
          </p:cNvGraphicFramePr>
          <p:nvPr userDrawn="1">
            <p:custDataLst>
              <p:tags r:id="rId3"/>
            </p:custDataLst>
            <p:extLst>
              <p:ext uri="{D42A27DB-BD31-4B8C-83A1-F6EECF244321}">
                <p14:modId xmlns:p14="http://schemas.microsoft.com/office/powerpoint/2010/main" val="3703494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8" name="Object 7" hidden="1">
                        <a:extLst>
                          <a:ext uri="{FF2B5EF4-FFF2-40B4-BE49-F238E27FC236}">
                            <a16:creationId xmlns:a16="http://schemas.microsoft.com/office/drawing/2014/main" id="{4DA228F3-33E7-F5F0-0BFA-B4826669303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F0C9FE2-625B-04D7-97CE-E04BF2196356}"/>
              </a:ext>
            </a:extLst>
          </p:cNvPr>
          <p:cNvSpPr/>
          <p:nvPr userDrawn="1">
            <p:custDataLst>
              <p:tags r:id="rId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39" name="PXP_GRIDLINES" hidden="1">
            <a:extLst>
              <a:ext uri="{FF2B5EF4-FFF2-40B4-BE49-F238E27FC236}">
                <a16:creationId xmlns:a16="http://schemas.microsoft.com/office/drawing/2014/main" id="{FFA5D6F5-BD17-4FB3-4FAF-D316B6E03335}"/>
              </a:ext>
            </a:extLst>
          </p:cNvPr>
          <p:cNvGrpSpPr/>
          <p:nvPr userDrawn="1"/>
        </p:nvGrpSpPr>
        <p:grpSpPr>
          <a:xfrm>
            <a:off x="-1" y="0"/>
            <a:ext cx="13371660" cy="7543800"/>
            <a:chOff x="-20924" y="0"/>
            <a:chExt cx="10058400" cy="7543800"/>
          </a:xfrm>
        </p:grpSpPr>
        <p:cxnSp>
          <p:nvCxnSpPr>
            <p:cNvPr id="40" name="Straight Connector 39">
              <a:extLst>
                <a:ext uri="{FF2B5EF4-FFF2-40B4-BE49-F238E27FC236}">
                  <a16:creationId xmlns:a16="http://schemas.microsoft.com/office/drawing/2014/main" id="{1108A7EC-7BBA-9E34-2F89-FACF49C3F28F}"/>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AC885C-D8B6-CCF9-FD06-575B5B04CCBA}"/>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386D988-F32D-6DC6-5F68-B01626F4350E}"/>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1D571A3-486F-3C26-185C-4D134ED866DE}"/>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E66AC3B-8B8D-4890-694B-B173BFFA77D5}"/>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A1BB751-E943-C7B5-EA85-1BBF0CEAF029}"/>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41054504"/>
      </p:ext>
    </p:extLst>
  </p:cSld>
  <p:clrMapOvr>
    <a:masterClrMapping/>
  </p:clrMapOvr>
  <p:extLst>
    <p:ext uri="{DCECCB84-F9BA-43D5-87BE-67443E8EF086}">
      <p15:sldGuideLst xmlns:p15="http://schemas.microsoft.com/office/powerpoint/2012/main">
        <p15:guide id="1" orient="horz" pos="61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nd Slide A">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F8F4ED6-D2F1-22A2-712B-2DC6A79C46E6}"/>
              </a:ext>
            </a:extLst>
          </p:cNvPr>
          <p:cNvSpPr>
            <a:spLocks noGrp="1"/>
          </p:cNvSpPr>
          <p:nvPr>
            <p:ph type="body" sz="quarter" idx="10" hasCustomPrompt="1"/>
          </p:nvPr>
        </p:nvSpPr>
        <p:spPr>
          <a:xfrm>
            <a:off x="2741986" y="2709863"/>
            <a:ext cx="7920880" cy="2124075"/>
          </a:xfrm>
        </p:spPr>
        <p:txBody>
          <a:bodyPr anchor="ctr"/>
          <a:lstStyle>
            <a:lvl1pPr marL="0" indent="0" algn="ctr">
              <a:buNone/>
              <a:defRPr sz="10000"/>
            </a:lvl1pPr>
          </a:lstStyle>
          <a:p>
            <a:pPr lvl="0"/>
            <a:r>
              <a:rPr lang="en-US"/>
              <a:t>Thank you</a:t>
            </a:r>
          </a:p>
        </p:txBody>
      </p:sp>
      <p:sp>
        <p:nvSpPr>
          <p:cNvPr id="5" name="TemplafyBrandVersion" hidden="1">
            <a:extLst>
              <a:ext uri="{FF2B5EF4-FFF2-40B4-BE49-F238E27FC236}">
                <a16:creationId xmlns:a16="http://schemas.microsoft.com/office/drawing/2014/main" id="{260CCB2A-9178-2DEE-56EB-D818B03060B7}"/>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pic>
        <p:nvPicPr>
          <p:cNvPr id="296837515" name="Logo" descr="{&quot;templafy&quot;:{&quot;id&quot;:&quot;1998740c-92f8-47fe-b108-785578b68399&quot;}}"/>
          <p:cNvPicPr>
            <a:picLocks noChangeAspect="1"/>
          </p:cNvPicPr>
          <p:nvPr/>
        </p:nvPicPr>
        <p:blipFill>
          <a:blip r:embed="rId6"/>
          <a:stretch>
            <a:fillRect/>
          </a:stretch>
        </p:blipFill>
        <p:spPr>
          <a:xfrm>
            <a:off x="12157200" y="7041600"/>
            <a:ext cx="698731" cy="248400"/>
          </a:xfrm>
          <a:prstGeom prst="rect">
            <a:avLst/>
          </a:prstGeom>
        </p:spPr>
      </p:pic>
      <p:graphicFrame>
        <p:nvGraphicFramePr>
          <p:cNvPr id="3" name="Object 2" hidden="1">
            <a:extLst>
              <a:ext uri="{FF2B5EF4-FFF2-40B4-BE49-F238E27FC236}">
                <a16:creationId xmlns:a16="http://schemas.microsoft.com/office/drawing/2014/main" id="{CB314C00-50F8-A6C4-415C-E01A12612ED9}"/>
              </a:ext>
            </a:extLst>
          </p:cNvPr>
          <p:cNvGraphicFramePr>
            <a:graphicFrameLocks noChangeAspect="1"/>
          </p:cNvGraphicFramePr>
          <p:nvPr userDrawn="1">
            <p:custDataLst>
              <p:tags r:id="rId1"/>
            </p:custDataLst>
            <p:extLst>
              <p:ext uri="{D42A27DB-BD31-4B8C-83A1-F6EECF244321}">
                <p14:modId xmlns:p14="http://schemas.microsoft.com/office/powerpoint/2010/main" val="318622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a:extLst>
                          <a:ext uri="{FF2B5EF4-FFF2-40B4-BE49-F238E27FC236}">
                            <a16:creationId xmlns:a16="http://schemas.microsoft.com/office/drawing/2014/main" id="{CB314C00-50F8-A6C4-415C-E01A12612ED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11CF4A-2BD0-3FCF-B997-81BD83A35F84}"/>
              </a:ext>
            </a:extLst>
          </p:cNvPr>
          <p:cNvSpPr/>
          <p:nvPr userDrawn="1">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7" name="PXP_GRIDLINES" hidden="1">
            <a:extLst>
              <a:ext uri="{FF2B5EF4-FFF2-40B4-BE49-F238E27FC236}">
                <a16:creationId xmlns:a16="http://schemas.microsoft.com/office/drawing/2014/main" id="{62501B43-E846-8B3F-60AC-D97864D28689}"/>
              </a:ext>
            </a:extLst>
          </p:cNvPr>
          <p:cNvGrpSpPr/>
          <p:nvPr userDrawn="1"/>
        </p:nvGrpSpPr>
        <p:grpSpPr>
          <a:xfrm>
            <a:off x="-1" y="0"/>
            <a:ext cx="13371660" cy="7543800"/>
            <a:chOff x="-20924" y="0"/>
            <a:chExt cx="10058400" cy="7543800"/>
          </a:xfrm>
        </p:grpSpPr>
        <p:cxnSp>
          <p:nvCxnSpPr>
            <p:cNvPr id="8" name="Straight Connector 7">
              <a:extLst>
                <a:ext uri="{FF2B5EF4-FFF2-40B4-BE49-F238E27FC236}">
                  <a16:creationId xmlns:a16="http://schemas.microsoft.com/office/drawing/2014/main" id="{5ED960AD-44ED-5D4D-98FE-A37BC15B857A}"/>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3C70946-AA35-F055-D70D-BCE70433BBDC}"/>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471ED95-C4A2-D6C1-5CEE-1ADEF9F61D9F}"/>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115A2A7-325E-67AB-6BF7-DD9EA59B5786}"/>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890C4D-5031-0B30-E3D7-03C56DC3CE80}"/>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14DDBF-60B9-7085-02D7-B360852FBA11}"/>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14" name="Object 13" hidden="1">
            <a:extLst>
              <a:ext uri="{FF2B5EF4-FFF2-40B4-BE49-F238E27FC236}">
                <a16:creationId xmlns:a16="http://schemas.microsoft.com/office/drawing/2014/main" id="{5DEC911D-8A46-9228-7D2E-A03BF64F2339}"/>
              </a:ext>
            </a:extLst>
          </p:cNvPr>
          <p:cNvGraphicFramePr>
            <a:graphicFrameLocks noChangeAspect="1"/>
          </p:cNvGraphicFramePr>
          <p:nvPr userDrawn="1">
            <p:custDataLst>
              <p:tags r:id="rId3"/>
            </p:custDataLst>
            <p:extLst>
              <p:ext uri="{D42A27DB-BD31-4B8C-83A1-F6EECF244321}">
                <p14:modId xmlns:p14="http://schemas.microsoft.com/office/powerpoint/2010/main" val="1694398902"/>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14" name="Object 13" hidden="1">
                        <a:extLst>
                          <a:ext uri="{FF2B5EF4-FFF2-40B4-BE49-F238E27FC236}">
                            <a16:creationId xmlns:a16="http://schemas.microsoft.com/office/drawing/2014/main" id="{5DEC911D-8A46-9228-7D2E-A03BF64F2339}"/>
                          </a:ext>
                        </a:extLst>
                      </p:cNvPr>
                      <p:cNvPicPr/>
                      <p:nvPr/>
                    </p:nvPicPr>
                    <p:blipFill>
                      <a:blip r:embed="rId8"/>
                      <a:stretch>
                        <a:fillRect/>
                      </a:stretch>
                    </p:blipFill>
                    <p:spPr>
                      <a:xfrm>
                        <a:off x="153988" y="1539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9F4CC1EC-7DC8-B182-E442-518C9FAE6A35}"/>
              </a:ext>
            </a:extLst>
          </p:cNvPr>
          <p:cNvSpPr/>
          <p:nvPr userDrawn="1">
            <p:custDataLst>
              <p:tags r:id="rId4"/>
            </p:custDataLst>
          </p:nvPr>
        </p:nvSpPr>
        <p:spPr>
          <a:xfrm>
            <a:off x="152400" y="15240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16" name="PXP_GRIDLINES" hidden="1">
            <a:extLst>
              <a:ext uri="{FF2B5EF4-FFF2-40B4-BE49-F238E27FC236}">
                <a16:creationId xmlns:a16="http://schemas.microsoft.com/office/drawing/2014/main" id="{B5BC385E-B3A0-96C4-4AE2-7315DC0DC0B8}"/>
              </a:ext>
            </a:extLst>
          </p:cNvPr>
          <p:cNvGrpSpPr/>
          <p:nvPr userDrawn="1"/>
        </p:nvGrpSpPr>
        <p:grpSpPr>
          <a:xfrm>
            <a:off x="152399" y="152400"/>
            <a:ext cx="13371660" cy="7543800"/>
            <a:chOff x="-20924" y="0"/>
            <a:chExt cx="10058400" cy="7543800"/>
          </a:xfrm>
        </p:grpSpPr>
        <p:cxnSp>
          <p:nvCxnSpPr>
            <p:cNvPr id="17" name="Straight Connector 16">
              <a:extLst>
                <a:ext uri="{FF2B5EF4-FFF2-40B4-BE49-F238E27FC236}">
                  <a16:creationId xmlns:a16="http://schemas.microsoft.com/office/drawing/2014/main" id="{8F89F77B-C63F-EA97-201D-2C5C71CC4440}"/>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07F16C7-13D0-E8B0-80A4-36CB3DC4A120}"/>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8A2F289-02B4-11ED-D5DA-9CC93C6914DD}"/>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7602BC5-A961-56C5-43DB-91E8C7477E4B}"/>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0148EA8-3CE2-9C29-8DCD-FC0EDB88EAD7}"/>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03DDC43-DECE-2CE7-A659-C27188FBA6D7}"/>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4769473"/>
      </p:ext>
    </p:extLst>
  </p:cSld>
  <p:clrMapOvr>
    <a:masterClrMapping/>
  </p:clrMapOvr>
  <p:extLst>
    <p:ext uri="{DCECCB84-F9BA-43D5-87BE-67443E8EF086}">
      <p15:sldGuideLst xmlns:p15="http://schemas.microsoft.com/office/powerpoint/2012/main">
        <p15:guide id="7" pos="4222">
          <p15:clr>
            <a:srgbClr val="FBAE40"/>
          </p15:clr>
        </p15:guide>
        <p15:guide id="8" orient="horz" pos="237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End Slide B">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952C4C2-23BC-2C6F-8EBA-40BC615B6271}"/>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25975" y="1485900"/>
            <a:ext cx="4152900" cy="4572000"/>
          </a:xfrm>
          <a:prstGeom prst="rect">
            <a:avLst/>
          </a:prstGeom>
        </p:spPr>
      </p:pic>
      <p:sp>
        <p:nvSpPr>
          <p:cNvPr id="5" name="TemplafyBrandVersion" hidden="1">
            <a:extLst>
              <a:ext uri="{FF2B5EF4-FFF2-40B4-BE49-F238E27FC236}">
                <a16:creationId xmlns:a16="http://schemas.microsoft.com/office/drawing/2014/main" id="{6A613801-C2D4-D725-6CCA-177FEDD6930C}"/>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pic>
        <p:nvPicPr>
          <p:cNvPr id="612993281" name="Logo" descr="{&quot;templafy&quot;:{&quot;id&quot;:&quot;ef1eb1fb-7fb9-4a7c-be1c-a0b4399b7889&quot;}}"/>
          <p:cNvPicPr>
            <a:picLocks noChangeAspect="1"/>
          </p:cNvPicPr>
          <p:nvPr/>
        </p:nvPicPr>
        <p:blipFill>
          <a:blip r:embed="rId5"/>
          <a:stretch>
            <a:fillRect/>
          </a:stretch>
        </p:blipFill>
        <p:spPr>
          <a:xfrm>
            <a:off x="12157200" y="7041600"/>
            <a:ext cx="698731" cy="248400"/>
          </a:xfrm>
          <a:prstGeom prst="rect">
            <a:avLst/>
          </a:prstGeom>
        </p:spPr>
      </p:pic>
      <p:graphicFrame>
        <p:nvGraphicFramePr>
          <p:cNvPr id="4" name="Object 3" hidden="1">
            <a:extLst>
              <a:ext uri="{FF2B5EF4-FFF2-40B4-BE49-F238E27FC236}">
                <a16:creationId xmlns:a16="http://schemas.microsoft.com/office/drawing/2014/main" id="{CD064651-0765-670F-5DD5-E9E614E5FCDB}"/>
              </a:ext>
            </a:extLst>
          </p:cNvPr>
          <p:cNvGraphicFramePr>
            <a:graphicFrameLocks noChangeAspect="1"/>
          </p:cNvGraphicFramePr>
          <p:nvPr userDrawn="1">
            <p:custDataLst>
              <p:tags r:id="rId1"/>
            </p:custDataLst>
            <p:extLst>
              <p:ext uri="{D42A27DB-BD31-4B8C-83A1-F6EECF244321}">
                <p14:modId xmlns:p14="http://schemas.microsoft.com/office/powerpoint/2010/main" val="289826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a:extLst>
                          <a:ext uri="{FF2B5EF4-FFF2-40B4-BE49-F238E27FC236}">
                            <a16:creationId xmlns:a16="http://schemas.microsoft.com/office/drawing/2014/main" id="{CD064651-0765-670F-5DD5-E9E614E5FCD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5760E87-87BC-2C27-4152-0A7D2BCA62D9}"/>
              </a:ext>
            </a:extLst>
          </p:cNvPr>
          <p:cNvSpPr/>
          <p:nvPr userDrawn="1">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grpSp>
        <p:nvGrpSpPr>
          <p:cNvPr id="7" name="PXP_GRIDLINES" hidden="1">
            <a:extLst>
              <a:ext uri="{FF2B5EF4-FFF2-40B4-BE49-F238E27FC236}">
                <a16:creationId xmlns:a16="http://schemas.microsoft.com/office/drawing/2014/main" id="{6F029F66-1B46-918F-BEC7-228EFD10B32D}"/>
              </a:ext>
            </a:extLst>
          </p:cNvPr>
          <p:cNvGrpSpPr/>
          <p:nvPr userDrawn="1"/>
        </p:nvGrpSpPr>
        <p:grpSpPr>
          <a:xfrm>
            <a:off x="-1" y="0"/>
            <a:ext cx="13371660" cy="7543800"/>
            <a:chOff x="-20924" y="0"/>
            <a:chExt cx="10058400" cy="7543800"/>
          </a:xfrm>
        </p:grpSpPr>
        <p:cxnSp>
          <p:nvCxnSpPr>
            <p:cNvPr id="8" name="Straight Connector 7">
              <a:extLst>
                <a:ext uri="{FF2B5EF4-FFF2-40B4-BE49-F238E27FC236}">
                  <a16:creationId xmlns:a16="http://schemas.microsoft.com/office/drawing/2014/main" id="{3EAB04F2-95FB-8567-B189-E49595852A4F}"/>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8A03D5F-D112-DB18-48C1-67ACFDFD15F7}"/>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3EEED3-AD23-E326-F829-15B9B7F9DE3D}"/>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0211595-ED56-66B0-A59C-4AC296BBFA30}"/>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018D5D2-1D30-F620-D85B-A889C5213656}"/>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40FE737-9CB4-66E2-62E9-DC7C7EA1897B}"/>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864540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o not use">
    <p:spTree>
      <p:nvGrpSpPr>
        <p:cNvPr id="1" name=""/>
        <p:cNvGrpSpPr/>
        <p:nvPr/>
      </p:nvGrpSpPr>
      <p:grpSpPr>
        <a:xfrm>
          <a:off x="0" y="0"/>
          <a:ext cx="0" cy="0"/>
          <a:chOff x="0" y="0"/>
          <a:chExt cx="0" cy="0"/>
        </a:xfrm>
      </p:grpSpPr>
      <p:sp>
        <p:nvSpPr>
          <p:cNvPr id="4" name="Rectangle 3"/>
          <p:cNvSpPr/>
          <p:nvPr/>
        </p:nvSpPr>
        <p:spPr>
          <a:xfrm>
            <a:off x="220663" y="219076"/>
            <a:ext cx="12988900"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a:solidFill>
                <a:schemeClr val="tx1"/>
              </a:solidFill>
            </a:endParaRPr>
          </a:p>
        </p:txBody>
      </p:sp>
      <p:sp>
        <p:nvSpPr>
          <p:cNvPr id="2" name="TextBox 1">
            <a:extLst>
              <a:ext uri="{FF2B5EF4-FFF2-40B4-BE49-F238E27FC236}">
                <a16:creationId xmlns:a16="http://schemas.microsoft.com/office/drawing/2014/main" id="{5E33F0F3-BF61-40CD-6FB7-DA864B97681E}"/>
              </a:ext>
            </a:extLst>
          </p:cNvPr>
          <p:cNvSpPr txBox="1"/>
          <p:nvPr userDrawn="1"/>
        </p:nvSpPr>
        <p:spPr>
          <a:xfrm>
            <a:off x="5400675" y="4381500"/>
            <a:ext cx="5645150" cy="2762250"/>
          </a:xfrm>
          <a:prstGeom prst="rect">
            <a:avLst/>
          </a:prstGeom>
          <a:noFill/>
        </p:spPr>
        <p:txBody>
          <a:bodyPr wrap="square" lIns="0" tIns="0" rIns="0" bIns="0" rtlCol="0">
            <a:noAutofit/>
          </a:bodyPr>
          <a:lstStyle/>
          <a:p>
            <a:r>
              <a:rPr lang="en-US" sz="2000">
                <a:solidFill>
                  <a:schemeClr val="bg1"/>
                </a:solidFill>
              </a:rPr>
              <a:t>If you see any layouts after this one, please do not use them. These are not part of our UBS templates.</a:t>
            </a:r>
            <a:endParaRPr lang="en-US"/>
          </a:p>
          <a:p>
            <a:r>
              <a:rPr lang="en-US" sz="2000">
                <a:solidFill>
                  <a:schemeClr val="bg1"/>
                </a:solidFill>
              </a:rPr>
              <a:t>Due to PowerPoint standard copy/paste functionality, extra undesirable layouts can appear. </a:t>
            </a:r>
            <a:br>
              <a:rPr lang="en-US" sz="2000">
                <a:solidFill>
                  <a:schemeClr val="bg1"/>
                </a:solidFill>
              </a:rPr>
            </a:br>
            <a:br>
              <a:rPr lang="en-US" sz="2000">
                <a:solidFill>
                  <a:schemeClr val="bg1"/>
                </a:solidFill>
              </a:rPr>
            </a:br>
            <a:r>
              <a:rPr lang="en-US" sz="2000">
                <a:solidFill>
                  <a:schemeClr val="bg1"/>
                </a:solidFill>
              </a:rPr>
              <a:t>Also notice: </a:t>
            </a:r>
            <a:br>
              <a:rPr lang="en-US" sz="2000">
                <a:solidFill>
                  <a:schemeClr val="bg1"/>
                </a:solidFill>
              </a:rPr>
            </a:br>
            <a:r>
              <a:rPr lang="en-US" sz="2000">
                <a:solidFill>
                  <a:schemeClr val="bg1"/>
                </a:solidFill>
              </a:rPr>
              <a:t>Layouts after this might contain potential confidential information.</a:t>
            </a:r>
            <a:endParaRPr lang="en-US"/>
          </a:p>
          <a:p>
            <a:endParaRPr lang="en-US" sz="1100">
              <a:solidFill>
                <a:schemeClr val="bg1"/>
              </a:solidFill>
              <a:latin typeface="+mn-lt"/>
            </a:endParaRPr>
          </a:p>
        </p:txBody>
      </p:sp>
      <p:sp>
        <p:nvSpPr>
          <p:cNvPr id="3" name="TextBox 2">
            <a:extLst>
              <a:ext uri="{FF2B5EF4-FFF2-40B4-BE49-F238E27FC236}">
                <a16:creationId xmlns:a16="http://schemas.microsoft.com/office/drawing/2014/main" id="{3C214DAB-0ECC-36BE-04B7-A33A0BA526ED}"/>
              </a:ext>
            </a:extLst>
          </p:cNvPr>
          <p:cNvSpPr txBox="1"/>
          <p:nvPr userDrawn="1"/>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a:solidFill>
                  <a:schemeClr val="bg1"/>
                </a:solidFill>
                <a:latin typeface="+mn-lt"/>
              </a:rPr>
              <a:t>use</a:t>
            </a:r>
            <a:endParaRPr lang="en-US" sz="20000">
              <a:solidFill>
                <a:schemeClr val="bg1"/>
              </a:solidFill>
              <a:latin typeface="+mn-lt"/>
            </a:endParaRPr>
          </a:p>
        </p:txBody>
      </p:sp>
      <p:sp>
        <p:nvSpPr>
          <p:cNvPr id="5" name="TextBox 4">
            <a:extLst>
              <a:ext uri="{FF2B5EF4-FFF2-40B4-BE49-F238E27FC236}">
                <a16:creationId xmlns:a16="http://schemas.microsoft.com/office/drawing/2014/main" id="{E241D190-2BB0-C12E-B36D-B19EC79D31DC}"/>
              </a:ext>
            </a:extLst>
          </p:cNvPr>
          <p:cNvSpPr txBox="1"/>
          <p:nvPr userDrawn="1"/>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a:solidFill>
                  <a:schemeClr val="bg1"/>
                </a:solidFill>
                <a:latin typeface="+mn-lt"/>
              </a:rPr>
              <a:t>not</a:t>
            </a:r>
            <a:endParaRPr lang="en-US" sz="20000">
              <a:solidFill>
                <a:schemeClr val="bg1"/>
              </a:solidFill>
              <a:latin typeface="+mn-lt"/>
            </a:endParaRPr>
          </a:p>
        </p:txBody>
      </p:sp>
      <p:sp>
        <p:nvSpPr>
          <p:cNvPr id="6" name="TextBox 5">
            <a:extLst>
              <a:ext uri="{FF2B5EF4-FFF2-40B4-BE49-F238E27FC236}">
                <a16:creationId xmlns:a16="http://schemas.microsoft.com/office/drawing/2014/main" id="{3139C4B3-FD72-F6D9-AEC7-6D4D487FBA15}"/>
              </a:ext>
            </a:extLst>
          </p:cNvPr>
          <p:cNvSpPr txBox="1"/>
          <p:nvPr userDrawn="1"/>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a:solidFill>
                  <a:schemeClr val="bg1"/>
                </a:solidFill>
                <a:latin typeface="+mn-lt"/>
              </a:rPr>
              <a:t>Do</a:t>
            </a:r>
            <a:endParaRPr lang="en-US" sz="20000">
              <a:solidFill>
                <a:schemeClr val="bg1"/>
              </a:solidFill>
              <a:latin typeface="+mn-lt"/>
            </a:endParaRPr>
          </a:p>
        </p:txBody>
      </p:sp>
    </p:spTree>
    <p:extLst>
      <p:ext uri="{BB962C8B-B14F-4D97-AF65-F5344CB8AC3E}">
        <p14:creationId xmlns:p14="http://schemas.microsoft.com/office/powerpoint/2010/main" val="1915420939"/>
      </p:ext>
    </p:extLst>
  </p:cSld>
  <p:clrMapOvr>
    <a:masterClrMapping/>
  </p:clrMapOvr>
  <p:extLst>
    <p:ext uri="{DCECCB84-F9BA-43D5-87BE-67443E8EF086}">
      <p15:sldGuideLst xmlns:p15="http://schemas.microsoft.com/office/powerpoint/2012/main">
        <p15:guide id="3" orient="horz" pos="2376" userDrawn="1">
          <p15:clr>
            <a:srgbClr val="FBAE40"/>
          </p15:clr>
        </p15:guide>
        <p15:guide id="4" pos="422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ody Slide with Mess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3A4830-09A7-4C12-9EFC-55CD7B0AE9C7}"/>
              </a:ext>
            </a:extLst>
          </p:cNvPr>
          <p:cNvGraphicFramePr>
            <a:graphicFrameLocks noChangeAspect="1"/>
          </p:cNvGraphicFramePr>
          <p:nvPr>
            <p:custDataLst>
              <p:tags r:id="rId1"/>
            </p:custDataLst>
            <p:extLst>
              <p:ext uri="{D42A27DB-BD31-4B8C-83A1-F6EECF244321}">
                <p14:modId xmlns:p14="http://schemas.microsoft.com/office/powerpoint/2010/main" val="162338120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3" name="Object 2" hidden="1">
                        <a:extLst>
                          <a:ext uri="{FF2B5EF4-FFF2-40B4-BE49-F238E27FC236}">
                            <a16:creationId xmlns:a16="http://schemas.microsoft.com/office/drawing/2014/main" id="{E13A4830-09A7-4C12-9EFC-55CD7B0AE9C7}"/>
                          </a:ext>
                        </a:extLst>
                      </p:cNvPr>
                      <p:cNvPicPr/>
                      <p:nvPr/>
                    </p:nvPicPr>
                    <p:blipFill>
                      <a:blip r:embed="rId9"/>
                      <a:stretch>
                        <a:fillRect/>
                      </a:stretch>
                    </p:blipFill>
                    <p:spPr>
                      <a:xfrm>
                        <a:off x="1587"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3C4C73-EF6A-4445-967B-0AD8010F11B6}"/>
              </a:ext>
            </a:extLst>
          </p:cNvPr>
          <p:cNvSpPr/>
          <p:nvPr>
            <p:custDataLst>
              <p:tags r:id="rId2"/>
            </p:custDataLst>
          </p:nvPr>
        </p:nvSpPr>
        <p:spPr>
          <a:xfrm>
            <a:off x="1"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8" b="0" i="0" baseline="0" err="1">
              <a:solidFill>
                <a:schemeClr val="tx1"/>
              </a:solidFill>
              <a:latin typeface="Frutiger 45 Light" panose="020B0603020202020204" pitchFamily="34" charset="0"/>
              <a:cs typeface="+mj-cs"/>
              <a:sym typeface="Frutiger 45 Light" panose="020B0603020202020204" pitchFamily="34" charset="0"/>
            </a:endParaRPr>
          </a:p>
        </p:txBody>
      </p:sp>
      <p:sp>
        <p:nvSpPr>
          <p:cNvPr id="4" name="text" descr="{&quot;templafy&quot;:{&quot;id&quot;:&quot;47536f6a-2f00-4992-a3a9-fe8fe3cb1d7f&quot;}}" title="Translations.PageHeading">
            <a:extLst>
              <a:ext uri="{FF2B5EF4-FFF2-40B4-BE49-F238E27FC236}">
                <a16:creationId xmlns:a16="http://schemas.microsoft.com/office/drawing/2014/main" id="{61064A21-C9F5-42C1-8699-7E6672872743}"/>
              </a:ext>
            </a:extLst>
          </p:cNvPr>
          <p:cNvSpPr>
            <a:spLocks noGrp="1"/>
          </p:cNvSpPr>
          <p:nvPr>
            <p:ph type="title" hasCustomPrompt="1"/>
          </p:nvPr>
        </p:nvSpPr>
        <p:spPr>
          <a:xfrm>
            <a:off x="560566" y="0"/>
            <a:ext cx="12247385" cy="944563"/>
          </a:xfrm>
          <a:prstGeom prst="rect">
            <a:avLst/>
          </a:prstGeom>
        </p:spPr>
        <p:txBody>
          <a:bodyPr/>
          <a:lstStyle>
            <a:lvl1pPr>
              <a:defRPr baseline="0">
                <a:ea typeface="+mn-ea"/>
              </a:defRPr>
            </a:lvl1pPr>
          </a:lstStyle>
          <a:p>
            <a:r>
              <a:rPr lang="en-US"/>
              <a:t>&lt;&lt;Page heading&gt;&gt;</a:t>
            </a:r>
          </a:p>
        </p:txBody>
      </p:sp>
      <p:sp>
        <p:nvSpPr>
          <p:cNvPr id="21" name="text" descr="{&quot;templafy&quot;:{&quot;id&quot;:&quot;a47e453d-ab1a-468d-9480-774ad06b31af&quot;}}" title="Translations.MessageText">
            <a:extLst>
              <a:ext uri="{FF2B5EF4-FFF2-40B4-BE49-F238E27FC236}">
                <a16:creationId xmlns:a16="http://schemas.microsoft.com/office/drawing/2014/main" id="{4921A7CA-7C8F-4794-BBBF-805F52B28920}"/>
              </a:ext>
            </a:extLst>
          </p:cNvPr>
          <p:cNvSpPr>
            <a:spLocks noGrp="1"/>
          </p:cNvSpPr>
          <p:nvPr>
            <p:ph type="body" sz="quarter" idx="15" hasCustomPrompt="1"/>
          </p:nvPr>
        </p:nvSpPr>
        <p:spPr>
          <a:xfrm>
            <a:off x="560565" y="1127126"/>
            <a:ext cx="12247200" cy="274320"/>
          </a:xfrm>
          <a:prstGeom prst="rect">
            <a:avLst/>
          </a:prstGeom>
        </p:spPr>
        <p:txBody>
          <a:bodyPr lIns="0" tIns="0" rIns="0" bIns="0"/>
          <a:lstStyle>
            <a:lvl1pPr marL="0" indent="0">
              <a:spcBef>
                <a:spcPts val="0"/>
              </a:spcBef>
              <a:buFontTx/>
              <a:buNone/>
              <a:defRPr sz="1799"/>
            </a:lvl1pPr>
          </a:lstStyle>
          <a:p>
            <a:pPr lvl="0"/>
            <a:r>
              <a:rPr lang="en-US"/>
              <a:t>&lt;&lt;Message&gt;&gt;</a:t>
            </a:r>
          </a:p>
        </p:txBody>
      </p:sp>
      <p:sp>
        <p:nvSpPr>
          <p:cNvPr id="22" name="LAYOUT BODY">
            <a:extLst>
              <a:ext uri="{FF2B5EF4-FFF2-40B4-BE49-F238E27FC236}">
                <a16:creationId xmlns:a16="http://schemas.microsoft.com/office/drawing/2014/main" id="{EE53C128-2BCC-4EC3-9199-16FA1A2A4B02}"/>
              </a:ext>
            </a:extLst>
          </p:cNvPr>
          <p:cNvSpPr>
            <a:spLocks noGrp="1"/>
          </p:cNvSpPr>
          <p:nvPr>
            <p:ph sz="quarter" idx="12" hasCustomPrompt="1"/>
            <p:custDataLst>
              <p:tags r:id="rId3"/>
            </p:custDataLst>
          </p:nvPr>
        </p:nvSpPr>
        <p:spPr>
          <a:xfrm>
            <a:off x="560564" y="1858964"/>
            <a:ext cx="12247387" cy="4214812"/>
          </a:xfrm>
          <a:prstGeom prst="rect">
            <a:avLst/>
          </a:prstGeom>
          <a:noFill/>
        </p:spPr>
        <p:txBody>
          <a:bodyPr vert="horz" lIns="0" tIns="0" rIns="0" bIns="0" rtlCol="0">
            <a:noAutofit/>
          </a:bodyPr>
          <a:lstStyle>
            <a:lvl1pPr marL="182798" indent="-182798">
              <a:spcBef>
                <a:spcPts val="799"/>
              </a:spcBef>
              <a:buSzPct val="75000"/>
              <a:buFont typeface="Wingdings 2" panose="05020102010507070707" pitchFamily="18" charset="2"/>
              <a:buChar char=""/>
              <a:tabLst/>
              <a:defRPr lang="en-GB" sz="1600" kern="1200" dirty="0" smtClean="0"/>
            </a:lvl1pPr>
            <a:lvl2pPr marL="374737">
              <a:spcBef>
                <a:spcPts val="799"/>
              </a:spcBef>
              <a:tabLst/>
              <a:defRPr sz="1600"/>
            </a:lvl2pPr>
            <a:lvl3pPr marL="566676">
              <a:spcBef>
                <a:spcPts val="799"/>
              </a:spcBef>
              <a:defRPr sz="1600"/>
            </a:lvl3pPr>
            <a:lvl4pPr marL="758614" indent="-182798">
              <a:buFont typeface="Arial" panose="020B0604020202020204" pitchFamily="34" charset="0"/>
              <a:buChar char="–"/>
              <a:defRPr/>
            </a:lvl4pPr>
            <a:lvl5pPr marL="950553">
              <a:defRPr/>
            </a:lvl5pPr>
            <a:lvl6pPr marL="950553">
              <a:defRPr/>
            </a:lvl6pPr>
            <a:lvl7pPr indent="0">
              <a:defRPr/>
            </a:lvl7pPr>
            <a:lvl8pPr indent="0">
              <a:defRPr/>
            </a:lvl8pPr>
            <a:lvl9pPr indent="0">
              <a:defRPr/>
            </a:lvl9pPr>
          </a:lstStyle>
          <a:p>
            <a:pPr marL="0" lvl="0"/>
            <a:r>
              <a:rPr lang="en-US"/>
              <a:t>Click to add text</a:t>
            </a:r>
          </a:p>
          <a:p>
            <a:pPr marL="374737" lvl="1">
              <a:tabLst/>
            </a:pPr>
            <a:r>
              <a:rPr lang="en-US"/>
              <a:t>Second level</a:t>
            </a:r>
          </a:p>
          <a:p>
            <a:pPr marL="594096" lvl="2"/>
            <a:r>
              <a:rPr lang="en-US"/>
              <a:t>Third level</a:t>
            </a:r>
          </a:p>
        </p:txBody>
      </p:sp>
      <p:graphicFrame>
        <p:nvGraphicFramePr>
          <p:cNvPr id="18" name="Object 17" hidden="1">
            <a:extLst>
              <a:ext uri="{FF2B5EF4-FFF2-40B4-BE49-F238E27FC236}">
                <a16:creationId xmlns:a16="http://schemas.microsoft.com/office/drawing/2014/main" id="{08AFCAB2-2922-48C4-8D85-7681AB76837A}"/>
              </a:ext>
            </a:extLst>
          </p:cNvPr>
          <p:cNvGraphicFramePr>
            <a:graphicFrameLocks noChangeAspect="1"/>
          </p:cNvGraphicFramePr>
          <p:nvPr>
            <p:custDataLst>
              <p:tags r:id="rId4"/>
            </p:custDataLst>
            <p:extLst>
              <p:ext uri="{D42A27DB-BD31-4B8C-83A1-F6EECF244321}">
                <p14:modId xmlns:p14="http://schemas.microsoft.com/office/powerpoint/2010/main" val="274540129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8" name="Object 17" hidden="1">
                        <a:extLst>
                          <a:ext uri="{FF2B5EF4-FFF2-40B4-BE49-F238E27FC236}">
                            <a16:creationId xmlns:a16="http://schemas.microsoft.com/office/drawing/2014/main" id="{08AFCAB2-2922-48C4-8D85-7681AB76837A}"/>
                          </a:ext>
                        </a:extLst>
                      </p:cNvPr>
                      <p:cNvPicPr/>
                      <p:nvPr/>
                    </p:nvPicPr>
                    <p:blipFill>
                      <a:blip r:embed="rId9"/>
                      <a:stretch>
                        <a:fillRect/>
                      </a:stretch>
                    </p:blipFill>
                    <p:spPr>
                      <a:xfrm>
                        <a:off x="1587"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BC560938-872C-460C-BBA9-836B9DE4152B}"/>
              </a:ext>
            </a:extLst>
          </p:cNvPr>
          <p:cNvSpPr/>
          <p:nvPr>
            <p:custDataLst>
              <p:tags r:id="rId5"/>
            </p:custDataLst>
          </p:nvPr>
        </p:nvSpPr>
        <p:spPr>
          <a:xfrm>
            <a:off x="1"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8" b="0" i="0" baseline="0" err="1">
              <a:solidFill>
                <a:schemeClr val="tx1"/>
              </a:solidFill>
              <a:latin typeface="Frutiger 45 Light" panose="020B0603020202020204" pitchFamily="34" charset="0"/>
              <a:cs typeface="+mj-cs"/>
              <a:sym typeface="Frutiger 45 Light" panose="020B0603020202020204" pitchFamily="34" charset="0"/>
            </a:endParaRPr>
          </a:p>
        </p:txBody>
      </p:sp>
      <p:sp>
        <p:nvSpPr>
          <p:cNvPr id="30"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47648F2A-929A-4663-B297-6D2C534E5A0D}"/>
              </a:ext>
            </a:extLst>
          </p:cNvPr>
          <p:cNvSpPr txBox="1"/>
          <p:nvPr/>
        </p:nvSpPr>
        <p:spPr>
          <a:xfrm>
            <a:off x="12271531" y="6858000"/>
            <a:ext cx="548380" cy="384049"/>
          </a:xfrm>
          <a:prstGeom prst="rect">
            <a:avLst/>
          </a:prstGeom>
          <a:noFill/>
        </p:spPr>
        <p:txBody>
          <a:bodyPr wrap="square" lIns="0" tIns="0" rIns="0" bIns="0" rtlCol="0" anchor="b" anchorCtr="0">
            <a:noAutofit/>
          </a:bodyPr>
          <a:lstStyle/>
          <a:p>
            <a:pPr algn="r"/>
            <a:fld id="{8A23ABA4-7C5F-4A82-88F7-CAC0346A6918}" type="slidenum">
              <a:rPr lang="en-US" sz="699" smtClean="0">
                <a:latin typeface="+mn-lt"/>
              </a:rPr>
              <a:pPr algn="r"/>
              <a:t>‹#›</a:t>
            </a:fld>
            <a:endParaRPr lang="en-US" sz="699">
              <a:latin typeface="+mn-lt"/>
            </a:endParaRPr>
          </a:p>
        </p:txBody>
      </p:sp>
      <p:sp>
        <p:nvSpPr>
          <p:cNvPr id="32" name="text" descr="{&quot;templafy&quot;:{&quot;id&quot;:&quot;a5bf1b8a-df88-4b23-9a6d-a6c762f4e644&quot;}}" hidden="1" title="Translations.Draft">
            <a:extLst>
              <a:ext uri="{FF2B5EF4-FFF2-40B4-BE49-F238E27FC236}">
                <a16:creationId xmlns:a16="http://schemas.microsoft.com/office/drawing/2014/main" id="{F62EC7E6-BBEE-4BF0-B9BB-E1CDE22D35EF}"/>
              </a:ext>
            </a:extLst>
          </p:cNvPr>
          <p:cNvSpPr txBox="1"/>
          <p:nvPr>
            <p:custDataLst>
              <p:tags r:id="rId6"/>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399" b="1" i="0" u="none" baseline="0">
                <a:solidFill>
                  <a:srgbClr val="E60000"/>
                </a:solidFill>
                <a:latin typeface="+mn-lt"/>
              </a:rPr>
              <a:t>Draft</a:t>
            </a:r>
          </a:p>
        </p:txBody>
      </p:sp>
      <p:grpSp>
        <p:nvGrpSpPr>
          <p:cNvPr id="33" name="PXP_GRIDLINES" hidden="1">
            <a:extLst>
              <a:ext uri="{FF2B5EF4-FFF2-40B4-BE49-F238E27FC236}">
                <a16:creationId xmlns:a16="http://schemas.microsoft.com/office/drawing/2014/main" id="{699DEB83-B81B-4CC3-A75F-BF005C41DB38}"/>
              </a:ext>
            </a:extLst>
          </p:cNvPr>
          <p:cNvGrpSpPr/>
          <p:nvPr/>
        </p:nvGrpSpPr>
        <p:grpSpPr>
          <a:xfrm>
            <a:off x="-1" y="0"/>
            <a:ext cx="13371660" cy="7543800"/>
            <a:chOff x="-20924" y="0"/>
            <a:chExt cx="10058400" cy="7543800"/>
          </a:xfrm>
        </p:grpSpPr>
        <p:cxnSp>
          <p:nvCxnSpPr>
            <p:cNvPr id="34" name="Straight Connector 33">
              <a:extLst>
                <a:ext uri="{FF2B5EF4-FFF2-40B4-BE49-F238E27FC236}">
                  <a16:creationId xmlns:a16="http://schemas.microsoft.com/office/drawing/2014/main" id="{0D7899B4-6E9E-49A2-8D05-5BC5A242AD66}"/>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1AF200-6E92-44FE-A716-FD9930C2A992}"/>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7EE8EB0-09CB-49E1-B1ED-448B4B9C4812}"/>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4608C80-94D7-4547-A353-FC51B327942F}"/>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488A6CD-ADB1-48FE-ADE0-54A72C82795C}"/>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84084-4DCB-4C0C-9173-BF06FCCD8111}"/>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0" name="LAYOUT BODY" hidden="1">
            <a:extLst>
              <a:ext uri="{FF2B5EF4-FFF2-40B4-BE49-F238E27FC236}">
                <a16:creationId xmlns:a16="http://schemas.microsoft.com/office/drawing/2014/main" id="{5C3F4690-5BFE-4C27-AB4E-293AF4505D47}"/>
              </a:ext>
            </a:extLst>
          </p:cNvPr>
          <p:cNvSpPr/>
          <p:nvPr/>
        </p:nvSpPr>
        <p:spPr>
          <a:xfrm>
            <a:off x="561599" y="4897438"/>
            <a:ext cx="122472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a:solidFill>
                <a:schemeClr val="tx1"/>
              </a:solidFill>
            </a:endParaRPr>
          </a:p>
        </p:txBody>
      </p:sp>
      <p:pic>
        <p:nvPicPr>
          <p:cNvPr id="1354009398" name="image" descr="{&quot;templafy&quot;:{&quot;id&quot;:&quot;573c642d-4c97-4ae7-8367-c72aa5884fa6&quot;}}"/>
          <p:cNvPicPr>
            <a:picLocks noChangeAspect="1"/>
          </p:cNvPicPr>
          <p:nvPr/>
        </p:nvPicPr>
        <p:blipFill>
          <a:blip r:embed="rId10"/>
          <a:stretch>
            <a:fillRect/>
          </a:stretch>
        </p:blipFill>
        <p:spPr>
          <a:xfrm>
            <a:off x="557785" y="7002672"/>
            <a:ext cx="707400" cy="259200"/>
          </a:xfrm>
          <a:prstGeom prst="rect">
            <a:avLst/>
          </a:prstGeom>
        </p:spPr>
      </p:pic>
      <p:sp>
        <p:nvSpPr>
          <p:cNvPr id="24" name="TemplafyBrandVersion" hidden="1">
            <a:extLst>
              <a:ext uri="{FF2B5EF4-FFF2-40B4-BE49-F238E27FC236}">
                <a16:creationId xmlns:a16="http://schemas.microsoft.com/office/drawing/2014/main" id="{3A49B15F-7393-4190-BFDA-4E75427B4275}"/>
              </a:ext>
            </a:extLst>
          </p:cNvPr>
          <p:cNvSpPr/>
          <p:nvPr userDrawn="1"/>
        </p:nvSpPr>
        <p:spPr>
          <a:xfrm>
            <a:off x="-346528" y="2"/>
            <a:ext cx="173264" cy="230909"/>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73">
                <a:solidFill>
                  <a:schemeClr val="tx1"/>
                </a:solidFill>
              </a:rPr>
              <a:t>v2</a:t>
            </a:r>
            <a:endParaRPr lang="en-US" sz="1799"/>
          </a:p>
        </p:txBody>
      </p:sp>
    </p:spTree>
    <p:extLst>
      <p:ext uri="{BB962C8B-B14F-4D97-AF65-F5344CB8AC3E}">
        <p14:creationId xmlns:p14="http://schemas.microsoft.com/office/powerpoint/2010/main" val="2137303805"/>
      </p:ext>
    </p:extLst>
  </p:cSld>
  <p:clrMapOvr>
    <a:masterClrMapping/>
  </p:clrMapOvr>
  <p:hf hdr="0" ftr="0" dt="0"/>
  <p:extLst>
    <p:ext uri="{DCECCB84-F9BA-43D5-87BE-67443E8EF086}">
      <p15:sldGuideLst xmlns:p15="http://schemas.microsoft.com/office/powerpoint/2012/main">
        <p15:guide id="1" pos="334">
          <p15:clr>
            <a:srgbClr val="FBAE40"/>
          </p15:clr>
        </p15:guide>
        <p15:guide id="2" pos="8086">
          <p15:clr>
            <a:srgbClr val="FBAE40"/>
          </p15:clr>
        </p15:guide>
        <p15:guide id="3" orient="horz" pos="600">
          <p15:clr>
            <a:srgbClr val="FBAE40"/>
          </p15:clr>
        </p15:guide>
        <p15:guide id="4" orient="horz" pos="696">
          <p15:clr>
            <a:srgbClr val="FBAE40"/>
          </p15:clr>
        </p15:guide>
        <p15:guide id="5" orient="horz" pos="1152">
          <p15:clr>
            <a:srgbClr val="FBAE40"/>
          </p15:clr>
        </p15:guide>
        <p15:guide id="6" orient="horz" pos="3840">
          <p15:clr>
            <a:srgbClr val="FBAE40"/>
          </p15:clr>
        </p15:guide>
        <p15:guide id="9" orient="horz" pos="425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Default Body Slide">
    <p:spTree>
      <p:nvGrpSpPr>
        <p:cNvPr id="1" name=""/>
        <p:cNvGrpSpPr/>
        <p:nvPr/>
      </p:nvGrpSpPr>
      <p:grpSpPr>
        <a:xfrm>
          <a:off x="0" y="0"/>
          <a:ext cx="0" cy="0"/>
          <a:chOff x="0" y="0"/>
          <a:chExt cx="0" cy="0"/>
        </a:xfrm>
      </p:grpSpPr>
      <p:sp>
        <p:nvSpPr>
          <p:cNvPr id="3" name="LAYOUT BODY"/>
          <p:cNvSpPr>
            <a:spLocks noGrp="1"/>
          </p:cNvSpPr>
          <p:nvPr>
            <p:ph idx="1"/>
            <p:custDataLst>
              <p:tags r:id="rId1"/>
            </p:custDataLst>
          </p:nvPr>
        </p:nvSpPr>
        <p:spPr>
          <a:xfrm>
            <a:off x="560567" y="1852248"/>
            <a:ext cx="12247158" cy="4759691"/>
          </a:xfrm>
        </p:spPr>
        <p:txBody>
          <a:bodyPr lIns="0" tIns="0" rIns="0" bIns="0">
            <a:noAutofit/>
          </a:bodyPr>
          <a:lstStyle>
            <a:lvl1pPr marL="234833" indent="-234833">
              <a:buClr>
                <a:schemeClr val="tx2"/>
              </a:buClr>
              <a:buSzPct val="100000"/>
              <a:buFont typeface="Symbol" pitchFamily="18" charset="2"/>
              <a:buChar char="·"/>
              <a:defRPr sz="1799">
                <a:latin typeface="Frutiger 55 Roman"/>
              </a:defRPr>
            </a:lvl1pPr>
            <a:lvl2pPr marL="461732" indent="-236420">
              <a:defRPr sz="1599">
                <a:latin typeface="Frutiger 55 Roman"/>
              </a:defRPr>
            </a:lvl2pPr>
            <a:lvl3pPr marL="688631" indent="-226899">
              <a:buClr>
                <a:schemeClr val="tx1"/>
              </a:buClr>
              <a:buFont typeface="Arial" pitchFamily="34" charset="0"/>
              <a:buChar char="–"/>
              <a:defRPr sz="1599">
                <a:latin typeface="Frutiger 55 Roman"/>
              </a:defRPr>
            </a:lvl3pPr>
            <a:lvl4pPr marL="913943" indent="-225312">
              <a:buSzPct val="84000"/>
              <a:defRPr sz="1599">
                <a:latin typeface="Frutiger 55 Roman"/>
              </a:defRPr>
            </a:lvl4pPr>
            <a:lvl5pPr marL="1151568" indent="-237625">
              <a:buSzPct val="84000"/>
              <a:buFont typeface="Arial" pitchFamily="34" charset="0"/>
              <a:buChar char="–"/>
              <a:defRPr sz="1599">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AGE HEADING"/>
          <p:cNvSpPr>
            <a:spLocks noGrp="1"/>
          </p:cNvSpPr>
          <p:nvPr>
            <p:ph type="title" hasCustomPrompt="1"/>
            <p:custDataLst>
              <p:tags r:id="rId2"/>
            </p:custDataLst>
          </p:nvPr>
        </p:nvSpPr>
        <p:spPr/>
        <p:txBody>
          <a:bodyPr/>
          <a:lstStyle>
            <a:lvl1pPr>
              <a:defRPr>
                <a:latin typeface="Frutiger 45 Light"/>
              </a:defRPr>
            </a:lvl1pPr>
          </a:lstStyle>
          <a:p>
            <a:pPr lvl="0"/>
            <a:r>
              <a:rPr lang="en-US"/>
              <a:t>&lt;&lt;Page heading&gt;&gt;</a:t>
            </a:r>
          </a:p>
        </p:txBody>
      </p:sp>
      <p:sp>
        <p:nvSpPr>
          <p:cNvPr id="20" name="Slide Number Textbox"/>
          <p:cNvSpPr txBox="1"/>
          <p:nvPr userDrawn="1"/>
        </p:nvSpPr>
        <p:spPr>
          <a:xfrm>
            <a:off x="12271531" y="6858000"/>
            <a:ext cx="548380" cy="384048"/>
          </a:xfrm>
          <a:prstGeom prst="rect">
            <a:avLst/>
          </a:prstGeom>
          <a:noFill/>
        </p:spPr>
        <p:txBody>
          <a:bodyPr vert="horz" wrap="square" lIns="0" tIns="0" rIns="0" bIns="0" rtlCol="0" anchor="b">
            <a:noAutofit/>
          </a:bodyPr>
          <a:lstStyle/>
          <a:p>
            <a:pPr algn="r"/>
            <a:fld id="{C9C5D969-4CAD-4F29-8B51-07B8CBAF6BF4}" type="slidenum">
              <a:rPr lang="en-US" sz="700" smtClean="0"/>
              <a:pPr algn="r"/>
              <a:t>‹#›</a:t>
            </a:fld>
            <a:endParaRPr lang="en-US" sz="700"/>
          </a:p>
        </p:txBody>
      </p:sp>
      <p:grpSp>
        <p:nvGrpSpPr>
          <p:cNvPr id="22" name="PXP_GRIDLINES" hidden="1"/>
          <p:cNvGrpSpPr/>
          <p:nvPr userDrawn="1"/>
        </p:nvGrpSpPr>
        <p:grpSpPr>
          <a:xfrm>
            <a:off x="-40834" y="0"/>
            <a:ext cx="13451072" cy="7543800"/>
            <a:chOff x="-30640" y="0"/>
            <a:chExt cx="10093083" cy="7543800"/>
          </a:xfrm>
        </p:grpSpPr>
        <p:cxnSp>
          <p:nvCxnSpPr>
            <p:cNvPr id="23" name="Straight Connector 2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9" name="image" descr="{&quot;templafy&quot;:{&quot;id&quot;:&quot;07f9bb92-83d3-4972-876a-921163a66571&quot;}}">
            <a:extLst>
              <a:ext uri="{FF2B5EF4-FFF2-40B4-BE49-F238E27FC236}">
                <a16:creationId xmlns:a16="http://schemas.microsoft.com/office/drawing/2014/main" id="{60AA819D-C295-4D93-8D8D-35BB85914E26}"/>
              </a:ext>
            </a:extLst>
          </p:cNvPr>
          <p:cNvPicPr>
            <a:picLocks noChangeAspect="1"/>
          </p:cNvPicPr>
          <p:nvPr userDrawn="1"/>
        </p:nvPicPr>
        <p:blipFill>
          <a:blip r:embed="rId4"/>
          <a:stretch>
            <a:fillRect/>
          </a:stretch>
        </p:blipFill>
        <p:spPr>
          <a:xfrm>
            <a:off x="557521" y="7002672"/>
            <a:ext cx="707065" cy="259200"/>
          </a:xfrm>
          <a:prstGeom prst="rect">
            <a:avLst/>
          </a:prstGeom>
        </p:spPr>
      </p:pic>
    </p:spTree>
    <p:extLst>
      <p:ext uri="{BB962C8B-B14F-4D97-AF65-F5344CB8AC3E}">
        <p14:creationId xmlns:p14="http://schemas.microsoft.com/office/powerpoint/2010/main" val="18972487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Default Body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3A4830-09A7-4C12-9EFC-55CD7B0AE9C7}"/>
              </a:ext>
            </a:extLst>
          </p:cNvPr>
          <p:cNvGraphicFramePr>
            <a:graphicFrameLocks noChangeAspect="1"/>
          </p:cNvGraphicFramePr>
          <p:nvPr>
            <p:custDataLst>
              <p:tags r:id="rId1"/>
            </p:custDataLst>
            <p:extLst>
              <p:ext uri="{D42A27DB-BD31-4B8C-83A1-F6EECF244321}">
                <p14:modId xmlns:p14="http://schemas.microsoft.com/office/powerpoint/2010/main" val="3702731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3" name="Object 2" hidden="1">
                        <a:extLst>
                          <a:ext uri="{FF2B5EF4-FFF2-40B4-BE49-F238E27FC236}">
                            <a16:creationId xmlns:a16="http://schemas.microsoft.com/office/drawing/2014/main" id="{E13A4830-09A7-4C12-9EFC-55CD7B0AE9C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3C4C73-EF6A-4445-967B-0AD8010F11B6}"/>
              </a:ext>
            </a:extLst>
          </p:cNvPr>
          <p:cNvSpPr/>
          <p:nvPr>
            <p:custDataLst>
              <p:tags r:id="rId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cs typeface="+mj-cs"/>
              <a:sym typeface="Frutiger 45 Light" panose="020B0603020202020204" pitchFamily="34" charset="0"/>
            </a:endParaRPr>
          </a:p>
        </p:txBody>
      </p:sp>
      <p:sp>
        <p:nvSpPr>
          <p:cNvPr id="4" name="text" descr="{&quot;templafy&quot;:{&quot;binding&quot;:&quot;Translations.PageHeading&quot;,&quot;type&quot;:&quot;text&quot;}}" title="Translations.PageHeading">
            <a:extLst>
              <a:ext uri="{FF2B5EF4-FFF2-40B4-BE49-F238E27FC236}">
                <a16:creationId xmlns:a16="http://schemas.microsoft.com/office/drawing/2014/main" id="{61064A21-C9F5-42C1-8699-7E6672872743}"/>
              </a:ext>
            </a:extLst>
          </p:cNvPr>
          <p:cNvSpPr>
            <a:spLocks noGrp="1"/>
          </p:cNvSpPr>
          <p:nvPr>
            <p:ph type="title" hasCustomPrompt="1"/>
          </p:nvPr>
        </p:nvSpPr>
        <p:spPr>
          <a:xfrm>
            <a:off x="560565" y="0"/>
            <a:ext cx="12247385" cy="944563"/>
          </a:xfrm>
        </p:spPr>
        <p:txBody>
          <a:bodyPr/>
          <a:lstStyle>
            <a:lvl1pPr>
              <a:defRPr baseline="0">
                <a:ea typeface="+mn-ea"/>
              </a:defRPr>
            </a:lvl1pPr>
          </a:lstStyle>
          <a:p>
            <a:r>
              <a:rPr lang="en-US"/>
              <a:t>&lt;&lt;Page heading&gt;&gt;</a:t>
            </a:r>
          </a:p>
        </p:txBody>
      </p:sp>
      <p:sp>
        <p:nvSpPr>
          <p:cNvPr id="22" name="LAYOUT BODY">
            <a:extLst>
              <a:ext uri="{FF2B5EF4-FFF2-40B4-BE49-F238E27FC236}">
                <a16:creationId xmlns:a16="http://schemas.microsoft.com/office/drawing/2014/main" id="{EE53C128-2BCC-4EC3-9199-16FA1A2A4B02}"/>
              </a:ext>
            </a:extLst>
          </p:cNvPr>
          <p:cNvSpPr>
            <a:spLocks noGrp="1"/>
          </p:cNvSpPr>
          <p:nvPr>
            <p:ph sz="quarter" idx="12" hasCustomPrompt="1"/>
            <p:custDataLst>
              <p:tags r:id="rId3"/>
            </p:custDataLst>
          </p:nvPr>
        </p:nvSpPr>
        <p:spPr>
          <a:xfrm>
            <a:off x="560564" y="1858963"/>
            <a:ext cx="12247386" cy="4214812"/>
          </a:xfrm>
          <a:prstGeom prst="rect">
            <a:avLst/>
          </a:prstGeom>
          <a:noFill/>
        </p:spPr>
        <p:txBody>
          <a:bodyPr vert="horz" lIns="0" tIns="0" rIns="0" bIns="0" rtlCol="0">
            <a:noAutofit/>
          </a:bodyPr>
          <a:lstStyle>
            <a:lvl1pPr marL="182880" indent="-182880">
              <a:spcBef>
                <a:spcPts val="800"/>
              </a:spcBef>
              <a:buSzPct val="75000"/>
              <a:buFont typeface="Wingdings 2" panose="05020102010507070707" pitchFamily="18" charset="2"/>
              <a:buChar char=""/>
              <a:tabLst/>
              <a:defRPr lang="en-GB" sz="1600" kern="1200" dirty="0"/>
            </a:lvl1pPr>
            <a:lvl2pPr marL="374904">
              <a:spcBef>
                <a:spcPts val="800"/>
              </a:spcBef>
              <a:tabLst/>
              <a:defRPr sz="1600"/>
            </a:lvl2pPr>
            <a:lvl3pPr marL="566928">
              <a:spcBef>
                <a:spcPts val="800"/>
              </a:spcBef>
              <a:defRPr sz="1600"/>
            </a:lvl3pPr>
            <a:lvl4pPr marL="758952" indent="-182880">
              <a:buFont typeface="Arial" panose="020B0604020202020204" pitchFamily="34" charset="0"/>
              <a:buChar char="–"/>
              <a:defRPr/>
            </a:lvl4pPr>
            <a:lvl5pPr marL="950976">
              <a:defRPr/>
            </a:lvl5pPr>
            <a:lvl6pPr marL="950976">
              <a:defRPr/>
            </a:lvl6pPr>
            <a:lvl7pPr indent="0">
              <a:defRPr/>
            </a:lvl7pPr>
            <a:lvl8pPr indent="0">
              <a:defRPr/>
            </a:lvl8pPr>
            <a:lvl9pPr indent="0">
              <a:defRPr/>
            </a:lvl9pPr>
          </a:lstStyle>
          <a:p>
            <a:pPr marL="0" lvl="0"/>
            <a:r>
              <a:rPr lang="en-US"/>
              <a:t>Click to add text</a:t>
            </a:r>
          </a:p>
          <a:p>
            <a:pPr marL="374904" lvl="1">
              <a:tabLst/>
            </a:pPr>
            <a:r>
              <a:rPr lang="en-US"/>
              <a:t>Second level</a:t>
            </a:r>
          </a:p>
          <a:p>
            <a:pPr marL="594360" lvl="2"/>
            <a:r>
              <a:rPr lang="en-US"/>
              <a:t>Third level</a:t>
            </a:r>
          </a:p>
        </p:txBody>
      </p:sp>
      <p:sp>
        <p:nvSpPr>
          <p:cNvPr id="19" name="Slide Number Textbox" descr="{&#10;&quot;SkabelonDesign&quot;: {&#10;&quot;textualValue&quot;: &quot;&lt;key1/&gt;&quot;,&#10;&quot;bindingCollection&quot;: {&#10;&quot;key1&quot;: {&quot;SkabelonDesign&quot;:{&quot;type&quot;:&quot;Text&quot;,&quot;binding&quot;:&quot;Module.SlideNumber&quot;}}&#10;}&#10;}&#10;}"/>
          <p:cNvSpPr txBox="1"/>
          <p:nvPr/>
        </p:nvSpPr>
        <p:spPr>
          <a:xfrm>
            <a:off x="12271531" y="6858000"/>
            <a:ext cx="548380" cy="384048"/>
          </a:xfrm>
          <a:prstGeom prst="rect">
            <a:avLst/>
          </a:prstGeom>
          <a:noFill/>
        </p:spPr>
        <p:txBody>
          <a:bodyPr wrap="square" lIns="0" tIns="0" rIns="0" bIns="0" rtlCol="0" anchor="b" anchorCtr="0">
            <a:noAutofit/>
          </a:bodyPr>
          <a:lstStyle/>
          <a:p>
            <a:pPr algn="r"/>
            <a:fld id="{8A23ABA4-7C5F-4A82-88F7-CAC0346A6918}" type="slidenum">
              <a:rPr lang="en-US" sz="700">
                <a:latin typeface="+mn-lt"/>
              </a:rPr>
              <a:pPr algn="r"/>
              <a:t>‹#›</a:t>
            </a:fld>
            <a:endParaRPr lang="en-US" sz="700">
              <a:latin typeface="+mn-lt"/>
            </a:endParaRPr>
          </a:p>
        </p:txBody>
      </p:sp>
      <p:pic>
        <p:nvPicPr>
          <p:cNvPr id="7" name="image" descr="{&quot;templafy&quot;:{&quot;type&quot;:&quot;image&quot;,&quot;binding&quot;:&quot;Form.PPLogo.Pp_logo&quot;,&quot;inheritDimensions&quot;:&quot;inheritNone&quot;,&quot;height&quot;:&quot;0.72 cm&quot;,&quot;visibility&quot;:{&quot;action&quot;:&quot;hide&quot;,&quot;compareValue&quot;:&quot;All pages&quot;,&quot;binding&quot;:&quot;Form.PPLogo.Pp_LogoSelection&quot;,&quot;operator&quot;:&quot;notEquals&quot;}}}" title="Form.PPLogo.Pp_logo">
            <a:extLst>
              <a:ext uri="{FF2B5EF4-FFF2-40B4-BE49-F238E27FC236}">
                <a16:creationId xmlns:a16="http://schemas.microsoft.com/office/drawing/2014/main" id="{722D341F-1775-49E9-B258-3B9BDB534F5B}"/>
              </a:ext>
            </a:extLst>
          </p:cNvPr>
          <p:cNvPicPr>
            <a:picLocks noChangeAspect="1"/>
          </p:cNvPicPr>
          <p:nvPr>
            <p:custDataLst>
              <p:tags r:id="rId4"/>
            </p:custDataLst>
          </p:nvPr>
        </p:nvPicPr>
        <p:blipFill>
          <a:blip r:embed="rId11" cstate="print">
            <a:extLst>
              <a:ext uri="{28A0092B-C50C-407E-A947-70E740481C1C}">
                <a14:useLocalDpi xmlns:a14="http://schemas.microsoft.com/office/drawing/2010/main" val="0"/>
              </a:ext>
            </a:extLst>
          </a:blip>
          <a:stretch>
            <a:fillRect/>
          </a:stretch>
        </p:blipFill>
        <p:spPr>
          <a:xfrm>
            <a:off x="557785" y="7002672"/>
            <a:ext cx="709211" cy="259200"/>
          </a:xfrm>
          <a:prstGeom prst="rect">
            <a:avLst/>
          </a:prstGeom>
        </p:spPr>
      </p:pic>
      <p:sp>
        <p:nvSpPr>
          <p:cNvPr id="9"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9EECA7C5-8347-4B0C-AEFB-D4DB56B7E537}"/>
              </a:ext>
            </a:extLst>
          </p:cNvPr>
          <p:cNvSpPr txBox="1"/>
          <p:nvPr>
            <p:custDataLst>
              <p:tags r:id="rId5"/>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a:solidFill>
                <a:srgbClr val="E60000"/>
              </a:solidFill>
              <a:latin typeface="+mn-lt"/>
            </a:endParaRPr>
          </a:p>
        </p:txBody>
      </p:sp>
      <p:grpSp>
        <p:nvGrpSpPr>
          <p:cNvPr id="23" name="PXP_GRIDLINES" hidden="1"/>
          <p:cNvGrpSpPr/>
          <p:nvPr/>
        </p:nvGrpSpPr>
        <p:grpSpPr>
          <a:xfrm>
            <a:off x="-1" y="0"/>
            <a:ext cx="13371660" cy="7543800"/>
            <a:chOff x="-20924" y="0"/>
            <a:chExt cx="10058400" cy="7543800"/>
          </a:xfrm>
        </p:grpSpPr>
        <p:cxnSp>
          <p:nvCxnSpPr>
            <p:cNvPr id="24" name="Straight Connector 23"/>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5" name="LAYOUT BODY" hidden="1"/>
          <p:cNvSpPr/>
          <p:nvPr/>
        </p:nvSpPr>
        <p:spPr>
          <a:xfrm>
            <a:off x="561600" y="4897437"/>
            <a:ext cx="122472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a:solidFill>
                <a:schemeClr val="tx1"/>
              </a:solidFill>
            </a:endParaRPr>
          </a:p>
        </p:txBody>
      </p:sp>
      <p:sp>
        <p:nvSpPr>
          <p:cNvPr id="17"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A1AA3273-DEC2-4907-8783-0E47C3D22AED}"/>
              </a:ext>
            </a:extLst>
          </p:cNvPr>
          <p:cNvSpPr txBox="1"/>
          <p:nvPr/>
        </p:nvSpPr>
        <p:spPr>
          <a:xfrm>
            <a:off x="12271531" y="6858000"/>
            <a:ext cx="548380" cy="384048"/>
          </a:xfrm>
          <a:prstGeom prst="rect">
            <a:avLst/>
          </a:prstGeom>
          <a:noFill/>
        </p:spPr>
        <p:txBody>
          <a:bodyPr wrap="square" lIns="0" tIns="0" rIns="0" bIns="0" rtlCol="0" anchor="b" anchorCtr="0">
            <a:noAutofit/>
          </a:bodyPr>
          <a:lstStyle/>
          <a:p>
            <a:pPr algn="r"/>
            <a:fld id="{8A23ABA4-7C5F-4A82-88F7-CAC0346A6918}" type="slidenum">
              <a:rPr lang="en-US" sz="700">
                <a:latin typeface="+mn-lt"/>
              </a:rPr>
              <a:pPr algn="r"/>
              <a:t>‹#›</a:t>
            </a:fld>
            <a:endParaRPr lang="en-US" sz="700">
              <a:latin typeface="+mn-lt"/>
            </a:endParaRPr>
          </a:p>
        </p:txBody>
      </p:sp>
      <p:sp>
        <p:nvSpPr>
          <p:cNvPr id="20"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07317DD0-7125-4DF8-9F86-C8DBE76B7076}"/>
              </a:ext>
            </a:extLst>
          </p:cNvPr>
          <p:cNvSpPr txBox="1"/>
          <p:nvPr>
            <p:custDataLst>
              <p:tags r:id="rId6"/>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a:solidFill>
                <a:srgbClr val="E60000"/>
              </a:solidFill>
              <a:latin typeface="+mn-lt"/>
            </a:endParaRPr>
          </a:p>
        </p:txBody>
      </p:sp>
      <p:grpSp>
        <p:nvGrpSpPr>
          <p:cNvPr id="21" name="PXP_GRIDLINES" hidden="1">
            <a:extLst>
              <a:ext uri="{FF2B5EF4-FFF2-40B4-BE49-F238E27FC236}">
                <a16:creationId xmlns:a16="http://schemas.microsoft.com/office/drawing/2014/main" id="{A54F637A-A0F7-487E-8731-59D3AB1C2BE3}"/>
              </a:ext>
            </a:extLst>
          </p:cNvPr>
          <p:cNvGrpSpPr/>
          <p:nvPr/>
        </p:nvGrpSpPr>
        <p:grpSpPr>
          <a:xfrm>
            <a:off x="-1" y="0"/>
            <a:ext cx="13371660" cy="7543800"/>
            <a:chOff x="-20924" y="0"/>
            <a:chExt cx="10058400" cy="7543800"/>
          </a:xfrm>
        </p:grpSpPr>
        <p:cxnSp>
          <p:nvCxnSpPr>
            <p:cNvPr id="30" name="Straight Connector 29">
              <a:extLst>
                <a:ext uri="{FF2B5EF4-FFF2-40B4-BE49-F238E27FC236}">
                  <a16:creationId xmlns:a16="http://schemas.microsoft.com/office/drawing/2014/main" id="{89D694F6-AED0-46A6-B5A3-5D4FE0BF43AF}"/>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3CCC94B-F86F-4F24-989C-5A59760717FE}"/>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C8459DA-1987-4741-83D5-91293AFA7625}"/>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688899F-CFB1-40E3-822A-A6FB3D516FA6}"/>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97F662A-E323-4026-80C8-D4FA6BE8C854}"/>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27ECE2F-0607-450B-B830-CF0205C20E94}"/>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6" name="LAYOUT BODY" hidden="1">
            <a:extLst>
              <a:ext uri="{FF2B5EF4-FFF2-40B4-BE49-F238E27FC236}">
                <a16:creationId xmlns:a16="http://schemas.microsoft.com/office/drawing/2014/main" id="{01DAACF7-9F0E-45E6-A51D-00BAF9D5A823}"/>
              </a:ext>
            </a:extLst>
          </p:cNvPr>
          <p:cNvSpPr/>
          <p:nvPr/>
        </p:nvSpPr>
        <p:spPr>
          <a:xfrm>
            <a:off x="561600" y="4897437"/>
            <a:ext cx="122472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a:solidFill>
                <a:schemeClr val="tx1"/>
              </a:solidFill>
            </a:endParaRPr>
          </a:p>
        </p:txBody>
      </p:sp>
      <p:sp>
        <p:nvSpPr>
          <p:cNvPr id="37"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6001138A-25F2-4253-B412-5A9ED7C37271}"/>
              </a:ext>
            </a:extLst>
          </p:cNvPr>
          <p:cNvSpPr txBox="1"/>
          <p:nvPr userDrawn="1"/>
        </p:nvSpPr>
        <p:spPr>
          <a:xfrm>
            <a:off x="12271531" y="6858000"/>
            <a:ext cx="548380" cy="384048"/>
          </a:xfrm>
          <a:prstGeom prst="rect">
            <a:avLst/>
          </a:prstGeom>
          <a:noFill/>
        </p:spPr>
        <p:txBody>
          <a:bodyPr wrap="square" lIns="0" tIns="0" rIns="0" bIns="0" rtlCol="0" anchor="b" anchorCtr="0">
            <a:noAutofit/>
          </a:bodyPr>
          <a:lstStyle/>
          <a:p>
            <a:pPr algn="r"/>
            <a:fld id="{8A23ABA4-7C5F-4A82-88F7-CAC0346A6918}" type="slidenum">
              <a:rPr lang="en-US" sz="700">
                <a:latin typeface="+mn-lt"/>
              </a:rPr>
              <a:pPr algn="r"/>
              <a:t>‹#›</a:t>
            </a:fld>
            <a:endParaRPr lang="en-US" sz="700">
              <a:latin typeface="+mn-lt"/>
            </a:endParaRPr>
          </a:p>
        </p:txBody>
      </p:sp>
      <p:sp>
        <p:nvSpPr>
          <p:cNvPr id="39" name="text" descr="{&quot;templafy&quot;:{&quot;type&quot;:&quot;text&quot;,&quot;binding&quot;:&quot;Translations.Draft&quot;,&quot;visibility&quot;:{&quot;action&quot;:&quot;hide&quot;,&quot;compareValue&quot;:&quot;No&quot;,&quot;binding&quot;:&quot;Form.Draft.DraftChoice&quot;,&quot;operator&quot;:&quot;equals&quot;}}}" title="Translations.Draft">
            <a:extLst>
              <a:ext uri="{FF2B5EF4-FFF2-40B4-BE49-F238E27FC236}">
                <a16:creationId xmlns:a16="http://schemas.microsoft.com/office/drawing/2014/main" id="{980AF8BE-937D-4273-8E3F-4D2CC8C03E1E}"/>
              </a:ext>
            </a:extLst>
          </p:cNvPr>
          <p:cNvSpPr txBox="1"/>
          <p:nvPr userDrawn="1">
            <p:custDataLst>
              <p:tags r:id="rId7"/>
            </p:custDataLst>
          </p:nvPr>
        </p:nvSpPr>
        <p:spPr>
          <a:xfrm>
            <a:off x="559723" y="254000"/>
            <a:ext cx="237893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endParaRPr kumimoji="0" lang="en-US" sz="2400" b="1" i="0" u="none" baseline="0">
              <a:solidFill>
                <a:srgbClr val="E60000"/>
              </a:solidFill>
              <a:latin typeface="+mn-lt"/>
            </a:endParaRPr>
          </a:p>
        </p:txBody>
      </p:sp>
      <p:grpSp>
        <p:nvGrpSpPr>
          <p:cNvPr id="40" name="PXP_GRIDLINES" hidden="1">
            <a:extLst>
              <a:ext uri="{FF2B5EF4-FFF2-40B4-BE49-F238E27FC236}">
                <a16:creationId xmlns:a16="http://schemas.microsoft.com/office/drawing/2014/main" id="{72C083F1-2DD3-4B84-9846-36A525FAD25F}"/>
              </a:ext>
            </a:extLst>
          </p:cNvPr>
          <p:cNvGrpSpPr/>
          <p:nvPr userDrawn="1"/>
        </p:nvGrpSpPr>
        <p:grpSpPr>
          <a:xfrm>
            <a:off x="-1" y="0"/>
            <a:ext cx="13371660" cy="7543800"/>
            <a:chOff x="-20924" y="0"/>
            <a:chExt cx="10058400" cy="7543800"/>
          </a:xfrm>
        </p:grpSpPr>
        <p:cxnSp>
          <p:nvCxnSpPr>
            <p:cNvPr id="41" name="Straight Connector 40">
              <a:extLst>
                <a:ext uri="{FF2B5EF4-FFF2-40B4-BE49-F238E27FC236}">
                  <a16:creationId xmlns:a16="http://schemas.microsoft.com/office/drawing/2014/main" id="{6D953992-44AD-4B48-9BC8-74F2A1C9AF51}"/>
                </a:ext>
              </a:extLst>
            </p:cNvPr>
            <p:cNvCxnSpPr/>
            <p:nvPr userDrawn="1"/>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265C007-6785-4E67-9B64-A6C0D9540A0C}"/>
                </a:ext>
              </a:extLst>
            </p:cNvPr>
            <p:cNvCxnSpPr/>
            <p:nvPr userDrawn="1"/>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9D90D5B-CD13-4BD0-8F62-ACC75513DDFF}"/>
                </a:ext>
              </a:extLst>
            </p:cNvPr>
            <p:cNvCxnSpPr/>
            <p:nvPr userDrawn="1"/>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7283FED-7D42-420D-8F99-A23E72314B52}"/>
                </a:ext>
              </a:extLst>
            </p:cNvPr>
            <p:cNvCxnSpPr/>
            <p:nvPr userDrawn="1"/>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E8DD576-6A85-4D67-AC50-9A9EBC58C70E}"/>
                </a:ext>
              </a:extLst>
            </p:cNvPr>
            <p:cNvCxnSpPr/>
            <p:nvPr userDrawn="1"/>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5A9012D-7962-445C-B7B1-E6DA31AE8C1E}"/>
                </a:ext>
              </a:extLst>
            </p:cNvPr>
            <p:cNvCxnSpPr/>
            <p:nvPr userDrawn="1"/>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7" name="LAYOUT BODY" hidden="1">
            <a:extLst>
              <a:ext uri="{FF2B5EF4-FFF2-40B4-BE49-F238E27FC236}">
                <a16:creationId xmlns:a16="http://schemas.microsoft.com/office/drawing/2014/main" id="{ACBD4C2F-6BCB-4BB1-B1ED-73C0BFE4D9DA}"/>
              </a:ext>
            </a:extLst>
          </p:cNvPr>
          <p:cNvSpPr/>
          <p:nvPr userDrawn="1"/>
        </p:nvSpPr>
        <p:spPr>
          <a:xfrm>
            <a:off x="561600" y="4897437"/>
            <a:ext cx="122472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a:solidFill>
                <a:schemeClr val="tx1"/>
              </a:solidFill>
            </a:endParaRPr>
          </a:p>
        </p:txBody>
      </p:sp>
    </p:spTree>
    <p:extLst>
      <p:ext uri="{BB962C8B-B14F-4D97-AF65-F5344CB8AC3E}">
        <p14:creationId xmlns:p14="http://schemas.microsoft.com/office/powerpoint/2010/main" val="39889872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B">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508B6714-CE2E-D136-9757-C91454A02B77}"/>
              </a:ext>
              <a:ext uri="{C183D7F6-B498-43B3-948B-1728B52AA6E4}">
                <adec:decorative xmlns:adec="http://schemas.microsoft.com/office/drawing/2017/decorative" val="1"/>
              </a:ext>
            </a:extLst>
          </p:cNvPr>
          <p:cNvSpPr>
            <a:spLocks noGrp="1"/>
          </p:cNvSpPr>
          <p:nvPr>
            <p:ph type="pic" sz="quarter" idx="20"/>
          </p:nvPr>
        </p:nvSpPr>
        <p:spPr>
          <a:xfrm>
            <a:off x="0" y="0"/>
            <a:ext cx="13404850" cy="7543800"/>
          </a:xfrm>
          <a:custGeom>
            <a:avLst/>
            <a:gdLst>
              <a:gd name="connsiteX0" fmla="*/ 0 w 13404850"/>
              <a:gd name="connsiteY0" fmla="*/ 0 h 7543800"/>
              <a:gd name="connsiteX1" fmla="*/ 13404850 w 13404850"/>
              <a:gd name="connsiteY1" fmla="*/ 0 h 7543800"/>
              <a:gd name="connsiteX2" fmla="*/ 13404850 w 13404850"/>
              <a:gd name="connsiteY2" fmla="*/ 6238800 h 7543800"/>
              <a:gd name="connsiteX3" fmla="*/ 10994400 w 13404850"/>
              <a:gd name="connsiteY3" fmla="*/ 6238800 h 7543800"/>
              <a:gd name="connsiteX4" fmla="*/ 10994400 w 13404850"/>
              <a:gd name="connsiteY4" fmla="*/ 7167600 h 7543800"/>
              <a:gd name="connsiteX5" fmla="*/ 13404850 w 13404850"/>
              <a:gd name="connsiteY5" fmla="*/ 7167600 h 7543800"/>
              <a:gd name="connsiteX6" fmla="*/ 13404850 w 13404850"/>
              <a:gd name="connsiteY6" fmla="*/ 7543800 h 7543800"/>
              <a:gd name="connsiteX7" fmla="*/ 0 w 13404850"/>
              <a:gd name="connsiteY7" fmla="*/ 7543800 h 754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4850" h="7543800">
                <a:moveTo>
                  <a:pt x="0" y="0"/>
                </a:moveTo>
                <a:lnTo>
                  <a:pt x="13404850" y="0"/>
                </a:lnTo>
                <a:lnTo>
                  <a:pt x="13404850" y="6238800"/>
                </a:lnTo>
                <a:lnTo>
                  <a:pt x="10994400" y="6238800"/>
                </a:lnTo>
                <a:lnTo>
                  <a:pt x="10994400" y="7167600"/>
                </a:lnTo>
                <a:lnTo>
                  <a:pt x="13404850" y="7167600"/>
                </a:lnTo>
                <a:lnTo>
                  <a:pt x="13404850" y="7543800"/>
                </a:lnTo>
                <a:lnTo>
                  <a:pt x="0" y="7543800"/>
                </a:lnTo>
                <a:close/>
              </a:path>
            </a:pathLst>
          </a:custGeom>
          <a:solidFill>
            <a:srgbClr val="CCCABC"/>
          </a:solidFill>
        </p:spPr>
        <p:txBody>
          <a:bodyPr wrap="square" tIns="720000" anchor="t" anchorCtr="1">
            <a:noAutofit/>
          </a:bodyPr>
          <a:lstStyle>
            <a:lvl1pPr marL="0" indent="0" algn="ctr">
              <a:buNone/>
              <a:defRPr/>
            </a:lvl1pPr>
          </a:lstStyle>
          <a:p>
            <a:r>
              <a:rPr lang="en-US"/>
              <a:t>Click icon to add picture</a:t>
            </a:r>
          </a:p>
        </p:txBody>
      </p:sp>
      <p:sp>
        <p:nvSpPr>
          <p:cNvPr id="2" name="text" descr="{&quot;templafy&quot;:{&quot;id&quot;:&quot;bc5ade5c-5a50-4756-99fb-3275c519a37b&quot;}}" hidden="1" title="Translations.Draft">
            <a:extLst>
              <a:ext uri="{FF2B5EF4-FFF2-40B4-BE49-F238E27FC236}">
                <a16:creationId xmlns:a16="http://schemas.microsoft.com/office/drawing/2014/main" id="{5150E7AC-4328-20C7-5A73-6FF10F6331EB}"/>
              </a:ext>
            </a:extLst>
          </p:cNvPr>
          <p:cNvSpPr txBox="1"/>
          <p:nvPr>
            <p:custDataLst>
              <p:tags r:id="rId1"/>
            </p:custDataLst>
          </p:nvPr>
        </p:nvSpPr>
        <p:spPr>
          <a:xfrm>
            <a:off x="507600" y="547200"/>
            <a:ext cx="824400" cy="1836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400" b="1" i="0" u="none" baseline="0">
                <a:solidFill>
                  <a:schemeClr val="tx2"/>
                </a:solidFill>
                <a:latin typeface="+mn-lt"/>
              </a:rPr>
              <a:t>Draft</a:t>
            </a:r>
          </a:p>
        </p:txBody>
      </p:sp>
      <p:sp>
        <p:nvSpPr>
          <p:cNvPr id="4" name="Classification Tag" descr="{&quot;templafy&quot;:{&quot;id&quot;:&quot;3c0e5bfd-06ec-4fee-856e-64e97b2444c9&quot;}}">
            <a:extLst>
              <a:ext uri="{FF2B5EF4-FFF2-40B4-BE49-F238E27FC236}">
                <a16:creationId xmlns:a16="http://schemas.microsoft.com/office/drawing/2014/main" id="{A2DEB6D2-EA08-C588-3614-4C98BDC539B1}"/>
              </a:ext>
            </a:extLst>
          </p:cNvPr>
          <p:cNvSpPr txBox="1"/>
          <p:nvPr userDrawn="1">
            <p:custDataLst>
              <p:tags r:id="rId2"/>
            </p:custDataLst>
          </p:nvPr>
        </p:nvSpPr>
        <p:spPr>
          <a:xfrm>
            <a:off x="2103120" y="6851015"/>
            <a:ext cx="1554480" cy="136400"/>
          </a:xfrm>
          <a:prstGeom prst="rect">
            <a:avLst/>
          </a:prstGeom>
        </p:spPr>
        <p:txBody>
          <a:bodyPr vert="horz" lIns="0" tIns="0" rIns="0" bIns="0" rtlCol="0">
            <a:noAutofit/>
          </a:bodyPr>
          <a:lstStyle>
            <a:lvl1pPr marL="0" marR="0" lvl="0" indent="0" defTabSz="1005505" eaLnBrk="1" fontAlgn="auto" latinLnBrk="0" hangingPunct="1">
              <a:lnSpc>
                <a:spcPct val="100000"/>
              </a:lnSpc>
              <a:spcBef>
                <a:spcPts val="0"/>
              </a:spcBef>
              <a:spcAft>
                <a:spcPts val="0"/>
              </a:spcAft>
              <a:buClr>
                <a:schemeClr val="tx1"/>
              </a:buClr>
              <a:buSzPct val="75000"/>
              <a:buFont typeface="Wingdings 2" panose="05020102010507070707" pitchFamily="18" charset="2"/>
              <a:buNone/>
              <a:tabLst/>
              <a:defRPr lang="en-US" sz="1100" b="0" kern="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9" name="Keyline Title" descr="{&quot;templafy&quot;:{&quot;id&quot;:&quot;8a6c3a35-75bd-4fbe-9a0d-32cd4c901939&quot;}}">
            <a:extLst>
              <a:ext uri="{FF2B5EF4-FFF2-40B4-BE49-F238E27FC236}">
                <a16:creationId xmlns:a16="http://schemas.microsoft.com/office/drawing/2014/main" id="{A74F3754-5508-68C5-A026-C977DA0E4CA6}"/>
              </a:ext>
            </a:extLst>
          </p:cNvPr>
          <p:cNvSpPr>
            <a:spLocks noGrp="1"/>
          </p:cNvSpPr>
          <p:nvPr>
            <p:ph type="title" hasCustomPrompt="1"/>
          </p:nvPr>
        </p:nvSpPr>
        <p:spPr>
          <a:xfrm>
            <a:off x="584358" y="1463040"/>
            <a:ext cx="10689901" cy="1800000"/>
          </a:xfrm>
          <a:custGeom>
            <a:avLst/>
            <a:gdLst>
              <a:gd name="connsiteX0" fmla="*/ 0 w 12313368"/>
              <a:gd name="connsiteY0" fmla="*/ 0 h 495300"/>
              <a:gd name="connsiteX1" fmla="*/ 12313368 w 12313368"/>
              <a:gd name="connsiteY1" fmla="*/ 0 h 495300"/>
              <a:gd name="connsiteX2" fmla="*/ 12313368 w 12313368"/>
              <a:gd name="connsiteY2" fmla="*/ 495300 h 495300"/>
              <a:gd name="connsiteX3" fmla="*/ 0 w 12313368"/>
              <a:gd name="connsiteY3" fmla="*/ 495300 h 495300"/>
              <a:gd name="connsiteX4" fmla="*/ 0 w 12313368"/>
              <a:gd name="connsiteY4" fmla="*/ 0 h 495300"/>
              <a:gd name="connsiteX0" fmla="*/ 12313368 w 12404808"/>
              <a:gd name="connsiteY0" fmla="*/ 495300 h 495300"/>
              <a:gd name="connsiteX1" fmla="*/ 0 w 12404808"/>
              <a:gd name="connsiteY1" fmla="*/ 495300 h 495300"/>
              <a:gd name="connsiteX2" fmla="*/ 0 w 12404808"/>
              <a:gd name="connsiteY2" fmla="*/ 0 h 495300"/>
              <a:gd name="connsiteX3" fmla="*/ 12404808 w 12404808"/>
              <a:gd name="connsiteY3" fmla="*/ 91440 h 495300"/>
              <a:gd name="connsiteX0" fmla="*/ 12313368 w 12313368"/>
              <a:gd name="connsiteY0" fmla="*/ 495300 h 495300"/>
              <a:gd name="connsiteX1" fmla="*/ 0 w 12313368"/>
              <a:gd name="connsiteY1" fmla="*/ 495300 h 495300"/>
              <a:gd name="connsiteX2" fmla="*/ 0 w 12313368"/>
              <a:gd name="connsiteY2" fmla="*/ 0 h 495300"/>
              <a:gd name="connsiteX0" fmla="*/ 0 w 0"/>
              <a:gd name="connsiteY0" fmla="*/ 495300 h 495300"/>
              <a:gd name="connsiteX1" fmla="*/ 0 w 0"/>
              <a:gd name="connsiteY1" fmla="*/ 0 h 495300"/>
              <a:gd name="connsiteX0" fmla="*/ 0 w 0"/>
              <a:gd name="connsiteY0" fmla="*/ 10000 h 10000"/>
              <a:gd name="connsiteX1" fmla="*/ 0 w 0"/>
              <a:gd name="connsiteY1" fmla="*/ 0 h 10000"/>
              <a:gd name="connsiteX2" fmla="*/ 0 w 0"/>
              <a:gd name="connsiteY2" fmla="*/ 10000 h 10000"/>
            </a:gdLst>
            <a:ahLst/>
            <a:cxnLst>
              <a:cxn ang="0">
                <a:pos x="connsiteX0" y="connsiteY0"/>
              </a:cxn>
              <a:cxn ang="0">
                <a:pos x="connsiteX1" y="connsiteY1"/>
              </a:cxn>
              <a:cxn ang="0">
                <a:pos x="connsiteX2" y="connsiteY2"/>
              </a:cxn>
            </a:cxnLst>
            <a:rect l="l" t="t" r="r" b="b"/>
            <a:pathLst>
              <a:path h="10000">
                <a:moveTo>
                  <a:pt x="0" y="10000"/>
                </a:moveTo>
                <a:lnTo>
                  <a:pt x="0" y="0"/>
                </a:lnTo>
                <a:lnTo>
                  <a:pt x="0" y="10000"/>
                </a:lnTo>
                <a:close/>
              </a:path>
            </a:pathLst>
          </a:custGeom>
          <a:ln w="76200" cap="sq">
            <a:solidFill>
              <a:schemeClr val="tx2"/>
            </a:solidFill>
            <a:miter lim="800000"/>
          </a:ln>
        </p:spPr>
        <p:txBody>
          <a:bodyPr wrap="square" lIns="410400" anchor="t">
            <a:noAutofit/>
          </a:bodyPr>
          <a:lstStyle>
            <a:lvl1pPr>
              <a:lnSpc>
                <a:spcPct val="86000"/>
              </a:lnSpc>
              <a:defRPr sz="4400">
                <a:solidFill>
                  <a:schemeClr val="tx1"/>
                </a:solidFill>
              </a:defRPr>
            </a:lvl1pPr>
          </a:lstStyle>
          <a:p>
            <a:br>
              <a:rPr lang="en-US"/>
            </a:br>
            <a:r>
              <a:rPr lang="en-US"/>
              <a:t>Presentation title</a:t>
            </a:r>
          </a:p>
        </p:txBody>
      </p:sp>
      <p:sp>
        <p:nvSpPr>
          <p:cNvPr id="10" name="Infoline Title" descr="{&quot;templafy&quot;:{&quot;id&quot;:&quot;2171638e-5464-4d85-a798-59e4c7b652f0&quot;}}">
            <a:extLst>
              <a:ext uri="{FF2B5EF4-FFF2-40B4-BE49-F238E27FC236}">
                <a16:creationId xmlns:a16="http://schemas.microsoft.com/office/drawing/2014/main" id="{6AAC9070-5955-80E2-35F9-44F5924C2F51}"/>
              </a:ext>
            </a:extLst>
          </p:cNvPr>
          <p:cNvSpPr>
            <a:spLocks noGrp="1"/>
          </p:cNvSpPr>
          <p:nvPr>
            <p:ph type="body" sz="quarter" idx="29" hasCustomPrompt="1"/>
          </p:nvPr>
        </p:nvSpPr>
        <p:spPr>
          <a:xfrm>
            <a:off x="583200" y="2931125"/>
            <a:ext cx="10619341" cy="334800"/>
          </a:xfrm>
        </p:spPr>
        <p:txBody>
          <a:bodyPr lIns="410400" tIns="0" rIns="0" bIns="0"/>
          <a:lstStyle>
            <a:lvl1pPr marL="0" indent="0">
              <a:spcBef>
                <a:spcPts val="0"/>
              </a:spcBef>
              <a:buFontTx/>
              <a:buNone/>
              <a:defRPr sz="2200"/>
            </a:lvl1pPr>
          </a:lstStyle>
          <a:p>
            <a:pPr lvl="0"/>
            <a:r>
              <a:rPr lang="en-US"/>
              <a:t>&lt;&lt;Infoline&gt;&gt;</a:t>
            </a:r>
          </a:p>
        </p:txBody>
      </p:sp>
      <p:sp>
        <p:nvSpPr>
          <p:cNvPr id="7" name="Text Placeholder 13" descr="{&quot;templafy&quot;:{&quot;id&quot;:&quot;4fc0ed15-5d50-448c-b6e9-edcc7913f601&quot;}}">
            <a:extLst>
              <a:ext uri="{FF2B5EF4-FFF2-40B4-BE49-F238E27FC236}">
                <a16:creationId xmlns:a16="http://schemas.microsoft.com/office/drawing/2014/main" id="{D4729F96-015D-D0C8-FDF3-6E58B1F0D51D}"/>
              </a:ext>
            </a:extLst>
          </p:cNvPr>
          <p:cNvSpPr>
            <a:spLocks noGrp="1"/>
          </p:cNvSpPr>
          <p:nvPr>
            <p:ph type="body" sz="quarter" idx="30" hasCustomPrompt="1"/>
          </p:nvPr>
        </p:nvSpPr>
        <p:spPr>
          <a:xfrm>
            <a:off x="547688"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0" name="Text Placeholder 13" descr="{&quot;templafy&quot;:{&quot;id&quot;:&quot;d6040989-a095-4613-bafd-2cc0bd64c4da&quot;}}">
            <a:extLst>
              <a:ext uri="{FF2B5EF4-FFF2-40B4-BE49-F238E27FC236}">
                <a16:creationId xmlns:a16="http://schemas.microsoft.com/office/drawing/2014/main" id="{FF5BA438-4D5B-4589-8BCA-E8645DEA43F7}"/>
              </a:ext>
            </a:extLst>
          </p:cNvPr>
          <p:cNvSpPr>
            <a:spLocks noGrp="1"/>
          </p:cNvSpPr>
          <p:nvPr>
            <p:ph type="body" sz="quarter" idx="33" hasCustomPrompt="1"/>
          </p:nvPr>
        </p:nvSpPr>
        <p:spPr>
          <a:xfrm>
            <a:off x="548640"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8" name="Text Placeholder 13" descr="{&quot;templafy&quot;:{&quot;id&quot;:&quot;4a3b7a8e-b094-4497-8099-af48c1583524&quot;}}">
            <a:extLst>
              <a:ext uri="{FF2B5EF4-FFF2-40B4-BE49-F238E27FC236}">
                <a16:creationId xmlns:a16="http://schemas.microsoft.com/office/drawing/2014/main" id="{C1D901D5-5CF6-5C5A-81F5-E5CD98D7F3CA}"/>
              </a:ext>
            </a:extLst>
          </p:cNvPr>
          <p:cNvSpPr>
            <a:spLocks noGrp="1"/>
          </p:cNvSpPr>
          <p:nvPr>
            <p:ph type="body" sz="quarter" idx="31" hasCustomPrompt="1"/>
          </p:nvPr>
        </p:nvSpPr>
        <p:spPr>
          <a:xfrm>
            <a:off x="4146529"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1" name="Text Placeholder 13" descr="{&quot;templafy&quot;:{&quot;id&quot;:&quot;413fc26f-4e1c-4f6a-883b-f53aed6a8224&quot;}}">
            <a:extLst>
              <a:ext uri="{FF2B5EF4-FFF2-40B4-BE49-F238E27FC236}">
                <a16:creationId xmlns:a16="http://schemas.microsoft.com/office/drawing/2014/main" id="{A7906A9F-20D9-D399-1203-52E468CEAFA8}"/>
              </a:ext>
            </a:extLst>
          </p:cNvPr>
          <p:cNvSpPr>
            <a:spLocks noGrp="1"/>
          </p:cNvSpPr>
          <p:nvPr>
            <p:ph type="body" sz="quarter" idx="34" hasCustomPrompt="1"/>
          </p:nvPr>
        </p:nvSpPr>
        <p:spPr>
          <a:xfrm>
            <a:off x="4146529"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8" name="Text Placeholder 13" descr="{&quot;templafy&quot;:{&quot;id&quot;:&quot;065ddf17-f8e7-4b97-85cf-8ed0b06e588c&quot;}}">
            <a:extLst>
              <a:ext uri="{FF2B5EF4-FFF2-40B4-BE49-F238E27FC236}">
                <a16:creationId xmlns:a16="http://schemas.microsoft.com/office/drawing/2014/main" id="{3972981A-1EC6-5545-E757-07CB7EF50A80}"/>
              </a:ext>
            </a:extLst>
          </p:cNvPr>
          <p:cNvSpPr>
            <a:spLocks noGrp="1"/>
          </p:cNvSpPr>
          <p:nvPr>
            <p:ph type="body" sz="quarter" idx="32" hasCustomPrompt="1"/>
          </p:nvPr>
        </p:nvSpPr>
        <p:spPr>
          <a:xfrm>
            <a:off x="7746541"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2" name="Text Placeholder 13" descr="{&quot;templafy&quot;:{&quot;id&quot;:&quot;f41b60b7-eafa-4625-b0e4-53575cafa771&quot;}}">
            <a:extLst>
              <a:ext uri="{FF2B5EF4-FFF2-40B4-BE49-F238E27FC236}">
                <a16:creationId xmlns:a16="http://schemas.microsoft.com/office/drawing/2014/main" id="{3425152C-F01E-61E3-4269-CD96280E034E}"/>
              </a:ext>
            </a:extLst>
          </p:cNvPr>
          <p:cNvSpPr>
            <a:spLocks noGrp="1"/>
          </p:cNvSpPr>
          <p:nvPr>
            <p:ph type="body" sz="quarter" idx="35" hasCustomPrompt="1"/>
          </p:nvPr>
        </p:nvSpPr>
        <p:spPr>
          <a:xfrm>
            <a:off x="7746541"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9" name="Date" descr="{&quot;templafy&quot;:{&quot;id&quot;:&quot;a207c6cc-0778-424e-adec-587ec565a0bd&quot;}}">
            <a:extLst>
              <a:ext uri="{FF2B5EF4-FFF2-40B4-BE49-F238E27FC236}">
                <a16:creationId xmlns:a16="http://schemas.microsoft.com/office/drawing/2014/main" id="{D6950CCD-2A0D-D22E-DB3E-DA12D1F95D01}"/>
              </a:ext>
            </a:extLst>
          </p:cNvPr>
          <p:cNvSpPr>
            <a:spLocks noGrp="1"/>
          </p:cNvSpPr>
          <p:nvPr>
            <p:ph type="body" sz="quarter" idx="26" hasCustomPrompt="1"/>
          </p:nvPr>
        </p:nvSpPr>
        <p:spPr>
          <a:xfrm>
            <a:off x="548640" y="6852517"/>
            <a:ext cx="1371600" cy="137160"/>
          </a:xfrm>
          <a:prstGeom prst="rect">
            <a:avLst/>
          </a:prstGeom>
        </p:spPr>
        <p:txBody>
          <a:bodyPr/>
          <a:lstStyle>
            <a:lvl1pPr marL="0" indent="0">
              <a:lnSpc>
                <a:spcPct val="100000"/>
              </a:lnSpc>
              <a:spcBef>
                <a:spcPts val="0"/>
              </a:spcBef>
              <a:buNone/>
              <a:defRPr sz="1100"/>
            </a:lvl1pPr>
            <a:lvl2pPr marL="191520" indent="0">
              <a:buNone/>
              <a:defRPr/>
            </a:lvl2pPr>
            <a:lvl3pPr marL="384048" indent="0">
              <a:buNone/>
              <a:defRPr/>
            </a:lvl3pPr>
            <a:lvl4pPr marL="576389" indent="0">
              <a:buNone/>
              <a:defRPr/>
            </a:lvl4pPr>
            <a:lvl5pPr marL="768413" indent="0">
              <a:buNone/>
              <a:defRPr/>
            </a:lvl5pPr>
          </a:lstStyle>
          <a:p>
            <a:pPr lvl="0"/>
            <a:r>
              <a:rPr lang="en-US"/>
              <a:t>&lt;&lt;Date&gt;&gt;</a:t>
            </a:r>
          </a:p>
        </p:txBody>
      </p:sp>
      <p:sp>
        <p:nvSpPr>
          <p:cNvPr id="6" name="LogoTab">
            <a:extLst>
              <a:ext uri="{FF2B5EF4-FFF2-40B4-BE49-F238E27FC236}">
                <a16:creationId xmlns:a16="http://schemas.microsoft.com/office/drawing/2014/main" id="{948D88FA-6FF8-FE49-E2C4-901F9C449D0E}"/>
              </a:ext>
            </a:extLst>
          </p:cNvPr>
          <p:cNvSpPr/>
          <p:nvPr/>
        </p:nvSpPr>
        <p:spPr>
          <a:xfrm>
            <a:off x="10994400" y="6238800"/>
            <a:ext cx="2412000" cy="9288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pic>
        <p:nvPicPr>
          <p:cNvPr id="1592753532" name="InsideLogo" descr="{&quot;templafy&quot;:{&quot;id&quot;:&quot;af5bc19f-3830-4987-9f01-ea5908dd0590&quot;}}"/>
          <p:cNvPicPr>
            <a:picLocks noChangeAspect="1"/>
          </p:cNvPicPr>
          <p:nvPr/>
        </p:nvPicPr>
        <p:blipFill>
          <a:blip r:embed="rId7"/>
          <a:stretch>
            <a:fillRect/>
          </a:stretch>
        </p:blipFill>
        <p:spPr>
          <a:xfrm>
            <a:off x="11271600" y="6429600"/>
            <a:ext cx="1569612" cy="558000"/>
          </a:xfrm>
          <a:prstGeom prst="rect">
            <a:avLst/>
          </a:prstGeom>
        </p:spPr>
      </p:pic>
      <p:sp>
        <p:nvSpPr>
          <p:cNvPr id="14" name="TemplafyBrandVersion" hidden="1">
            <a:extLst>
              <a:ext uri="{FF2B5EF4-FFF2-40B4-BE49-F238E27FC236}">
                <a16:creationId xmlns:a16="http://schemas.microsoft.com/office/drawing/2014/main" id="{5710DDC1-0F31-25F4-F565-E919DDCB63C5}"/>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15" name="Object 14" hidden="1">
            <a:extLst>
              <a:ext uri="{FF2B5EF4-FFF2-40B4-BE49-F238E27FC236}">
                <a16:creationId xmlns:a16="http://schemas.microsoft.com/office/drawing/2014/main" id="{B468C4FA-573F-6721-3832-7D3C2AF01193}"/>
              </a:ext>
            </a:extLst>
          </p:cNvPr>
          <p:cNvGraphicFramePr>
            <a:graphicFrameLocks noChangeAspect="1"/>
          </p:cNvGraphicFramePr>
          <p:nvPr>
            <p:custDataLst>
              <p:tags r:id="rId3"/>
            </p:custDataLst>
            <p:extLst>
              <p:ext uri="{D42A27DB-BD31-4B8C-83A1-F6EECF244321}">
                <p14:modId xmlns:p14="http://schemas.microsoft.com/office/powerpoint/2010/main" val="3407957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5" name="Object 14" hidden="1">
                        <a:extLst>
                          <a:ext uri="{FF2B5EF4-FFF2-40B4-BE49-F238E27FC236}">
                            <a16:creationId xmlns:a16="http://schemas.microsoft.com/office/drawing/2014/main" id="{B468C4FA-573F-6721-3832-7D3C2AF0119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6" name="Object 15" hidden="1">
            <a:extLst>
              <a:ext uri="{FF2B5EF4-FFF2-40B4-BE49-F238E27FC236}">
                <a16:creationId xmlns:a16="http://schemas.microsoft.com/office/drawing/2014/main" id="{4342135D-9AFA-BA57-B97A-62400C830FF9}"/>
              </a:ext>
            </a:extLst>
          </p:cNvPr>
          <p:cNvGraphicFramePr>
            <a:graphicFrameLocks noChangeAspect="1"/>
          </p:cNvGraphicFramePr>
          <p:nvPr>
            <p:custDataLst>
              <p:tags r:id="rId4"/>
            </p:custDataLst>
            <p:extLst>
              <p:ext uri="{D42A27DB-BD31-4B8C-83A1-F6EECF244321}">
                <p14:modId xmlns:p14="http://schemas.microsoft.com/office/powerpoint/2010/main" val="809718024"/>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6" name="Object 15" hidden="1">
                        <a:extLst>
                          <a:ext uri="{FF2B5EF4-FFF2-40B4-BE49-F238E27FC236}">
                            <a16:creationId xmlns:a16="http://schemas.microsoft.com/office/drawing/2014/main" id="{4342135D-9AFA-BA57-B97A-62400C830FF9}"/>
                          </a:ext>
                        </a:extLst>
                      </p:cNvPr>
                      <p:cNvPicPr/>
                      <p:nvPr/>
                    </p:nvPicPr>
                    <p:blipFill>
                      <a:blip r:embed="rId9"/>
                      <a:stretch>
                        <a:fillRect/>
                      </a:stretch>
                    </p:blipFill>
                    <p:spPr>
                      <a:xfrm>
                        <a:off x="153988" y="153988"/>
                        <a:ext cx="1588" cy="1588"/>
                      </a:xfrm>
                      <a:prstGeom prst="rect">
                        <a:avLst/>
                      </a:prstGeom>
                    </p:spPr>
                  </p:pic>
                </p:oleObj>
              </mc:Fallback>
            </mc:AlternateContent>
          </a:graphicData>
        </a:graphic>
      </p:graphicFrame>
      <p:graphicFrame>
        <p:nvGraphicFramePr>
          <p:cNvPr id="17" name="Object 16" hidden="1">
            <a:extLst>
              <a:ext uri="{FF2B5EF4-FFF2-40B4-BE49-F238E27FC236}">
                <a16:creationId xmlns:a16="http://schemas.microsoft.com/office/drawing/2014/main" id="{C471E441-5ED2-28AB-DA9E-95C6867E37ED}"/>
              </a:ext>
            </a:extLst>
          </p:cNvPr>
          <p:cNvGraphicFramePr>
            <a:graphicFrameLocks noChangeAspect="1"/>
          </p:cNvGraphicFramePr>
          <p:nvPr>
            <p:custDataLst>
              <p:tags r:id="rId5"/>
            </p:custDataLst>
            <p:extLst>
              <p:ext uri="{D42A27DB-BD31-4B8C-83A1-F6EECF244321}">
                <p14:modId xmlns:p14="http://schemas.microsoft.com/office/powerpoint/2010/main" val="1422108748"/>
              </p:ext>
            </p:ext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7" name="Object 16" hidden="1">
                        <a:extLst>
                          <a:ext uri="{FF2B5EF4-FFF2-40B4-BE49-F238E27FC236}">
                            <a16:creationId xmlns:a16="http://schemas.microsoft.com/office/drawing/2014/main" id="{C471E441-5ED2-28AB-DA9E-95C6867E37ED}"/>
                          </a:ext>
                        </a:extLst>
                      </p:cNvPr>
                      <p:cNvPicPr/>
                      <p:nvPr/>
                    </p:nvPicPr>
                    <p:blipFill>
                      <a:blip r:embed="rId9"/>
                      <a:stretch>
                        <a:fillRect/>
                      </a:stretch>
                    </p:blipFill>
                    <p:spPr>
                      <a:xfrm>
                        <a:off x="306388" y="3063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281445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Blank Slide">
    <p:spTree>
      <p:nvGrpSpPr>
        <p:cNvPr id="1" name=""/>
        <p:cNvGrpSpPr/>
        <p:nvPr/>
      </p:nvGrpSpPr>
      <p:grpSpPr>
        <a:xfrm>
          <a:off x="0" y="0"/>
          <a:ext cx="0" cy="0"/>
          <a:chOff x="0" y="0"/>
          <a:chExt cx="0" cy="0"/>
        </a:xfrm>
      </p:grpSpPr>
      <p:sp>
        <p:nvSpPr>
          <p:cNvPr id="2" name="Slide Number Textbox">
            <a:extLst>
              <a:ext uri="{FF2B5EF4-FFF2-40B4-BE49-F238E27FC236}">
                <a16:creationId xmlns:a16="http://schemas.microsoft.com/office/drawing/2014/main" id="{26EF0878-F951-95C6-795A-711D443C895C}"/>
              </a:ext>
            </a:extLst>
          </p:cNvPr>
          <p:cNvSpPr txBox="1">
            <a:spLocks noChangeArrowheads="1"/>
          </p:cNvSpPr>
          <p:nvPr userDrawn="1"/>
        </p:nvSpPr>
        <p:spPr bwMode="auto">
          <a:xfrm>
            <a:off x="12270854" y="6858001"/>
            <a:ext cx="550073" cy="384175"/>
          </a:xfrm>
          <a:prstGeom prst="rect">
            <a:avLst/>
          </a:prstGeom>
          <a:noFill/>
          <a:ln>
            <a:noFill/>
          </a:ln>
        </p:spPr>
        <p:txBody>
          <a:bodyPr lIns="0" tIns="0" rIns="0" bIns="0" anchor="b"/>
          <a:lstStyle>
            <a:lvl1pPr eaLnBrk="0" hangingPunct="0">
              <a:defRPr>
                <a:solidFill>
                  <a:schemeClr val="tx1"/>
                </a:solidFill>
                <a:latin typeface="Frutiger 55 Roman" panose="020B0503040202020204" pitchFamily="34" charset="0"/>
                <a:ea typeface="MS PGothic" panose="020B0600070205080204" pitchFamily="34" charset="-128"/>
              </a:defRPr>
            </a:lvl1pPr>
            <a:lvl2pPr marL="742950" indent="-285750" eaLnBrk="0" hangingPunct="0">
              <a:defRPr>
                <a:solidFill>
                  <a:schemeClr val="tx1"/>
                </a:solidFill>
                <a:latin typeface="Frutiger 55 Roman" panose="020B0503040202020204" pitchFamily="34" charset="0"/>
                <a:ea typeface="MS PGothic" panose="020B0600070205080204" pitchFamily="34" charset="-128"/>
              </a:defRPr>
            </a:lvl2pPr>
            <a:lvl3pPr marL="1143000" indent="-228600" eaLnBrk="0" hangingPunct="0">
              <a:defRPr>
                <a:solidFill>
                  <a:schemeClr val="tx1"/>
                </a:solidFill>
                <a:latin typeface="Frutiger 55 Roman" panose="020B0503040202020204" pitchFamily="34" charset="0"/>
                <a:ea typeface="MS PGothic" panose="020B0600070205080204" pitchFamily="34" charset="-128"/>
              </a:defRPr>
            </a:lvl3pPr>
            <a:lvl4pPr marL="1600200" indent="-228600" eaLnBrk="0" hangingPunct="0">
              <a:defRPr>
                <a:solidFill>
                  <a:schemeClr val="tx1"/>
                </a:solidFill>
                <a:latin typeface="Frutiger 55 Roman" panose="020B0503040202020204" pitchFamily="34" charset="0"/>
                <a:ea typeface="MS PGothic" panose="020B0600070205080204" pitchFamily="34" charset="-128"/>
              </a:defRPr>
            </a:lvl4pPr>
            <a:lvl5pPr marL="2057400" indent="-228600" eaLnBrk="0" hangingPunct="0">
              <a:defRPr>
                <a:solidFill>
                  <a:schemeClr val="tx1"/>
                </a:solidFill>
                <a:latin typeface="Frutiger 55 Roman" panose="020B050304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Frutiger 55 Roman" panose="020B050304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Frutiger 55 Roman" panose="020B050304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Frutiger 55 Roman" panose="020B050304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Frutiger 55 Roman" panose="020B0503040202020204" pitchFamily="34" charset="0"/>
                <a:ea typeface="MS PGothic" panose="020B0600070205080204" pitchFamily="34" charset="-128"/>
              </a:defRPr>
            </a:lvl9pPr>
          </a:lstStyle>
          <a:p>
            <a:pPr algn="r">
              <a:spcBef>
                <a:spcPct val="50000"/>
              </a:spcBef>
              <a:defRPr/>
            </a:pPr>
            <a:fld id="{689BD3E0-CCA1-4F9B-9555-9D28533222CF}" type="slidenum">
              <a:rPr lang="en-US" altLang="en-US" sz="699" smtClean="0"/>
              <a:pPr algn="r">
                <a:spcBef>
                  <a:spcPct val="50000"/>
                </a:spcBef>
                <a:defRPr/>
              </a:pPr>
              <a:t>‹#›</a:t>
            </a:fld>
            <a:endParaRPr lang="en-US" altLang="en-US" sz="699"/>
          </a:p>
        </p:txBody>
      </p:sp>
      <p:cxnSp>
        <p:nvCxnSpPr>
          <p:cNvPr id="3" name="THIN BLUE LINE">
            <a:extLst>
              <a:ext uri="{FF2B5EF4-FFF2-40B4-BE49-F238E27FC236}">
                <a16:creationId xmlns:a16="http://schemas.microsoft.com/office/drawing/2014/main" id="{7F9445F9-D806-47A1-25E0-4955B91AE080}"/>
              </a:ext>
            </a:extLst>
          </p:cNvPr>
          <p:cNvCxnSpPr/>
          <p:nvPr/>
        </p:nvCxnSpPr>
        <p:spPr>
          <a:xfrm>
            <a:off x="560653" y="1033463"/>
            <a:ext cx="1224758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DOCUMENT ID" hidden="1">
            <a:extLst>
              <a:ext uri="{FF2B5EF4-FFF2-40B4-BE49-F238E27FC236}">
                <a16:creationId xmlns:a16="http://schemas.microsoft.com/office/drawing/2014/main" id="{8B3A4EF4-F2CB-6985-DA5F-3ADC048B385A}"/>
              </a:ext>
            </a:extLst>
          </p:cNvPr>
          <p:cNvSpPr txBox="1"/>
          <p:nvPr userDrawn="1">
            <p:custDataLst>
              <p:tags r:id="rId1"/>
            </p:custDataLst>
          </p:nvPr>
        </p:nvSpPr>
        <p:spPr>
          <a:xfrm>
            <a:off x="3061368" y="420689"/>
            <a:ext cx="9744751" cy="92205"/>
          </a:xfrm>
          <a:prstGeom prst="rect">
            <a:avLst/>
          </a:prstGeom>
        </p:spPr>
        <p:txBody>
          <a:bodyPr lIns="0" tIns="0" rIns="0" bIns="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a:defRPr/>
            </a:pPr>
            <a:r>
              <a:rPr lang="en-US" sz="599" dirty="0">
                <a:ea typeface="+mn-ea"/>
              </a:rPr>
              <a:t>[printed: ____] [saved: ____] C:\ProgramData\PresXpress\PresXpress\PresPrint.potx</a:t>
            </a:r>
          </a:p>
        </p:txBody>
      </p:sp>
      <p:grpSp>
        <p:nvGrpSpPr>
          <p:cNvPr id="5" name="PXP_GRIDLINES" hidden="1">
            <a:extLst>
              <a:ext uri="{FF2B5EF4-FFF2-40B4-BE49-F238E27FC236}">
                <a16:creationId xmlns:a16="http://schemas.microsoft.com/office/drawing/2014/main" id="{603205CF-4C20-8E49-390F-952DABAEB68A}"/>
              </a:ext>
            </a:extLst>
          </p:cNvPr>
          <p:cNvGrpSpPr>
            <a:grpSpLocks/>
          </p:cNvGrpSpPr>
          <p:nvPr userDrawn="1"/>
        </p:nvGrpSpPr>
        <p:grpSpPr bwMode="auto">
          <a:xfrm>
            <a:off x="-40197" y="0"/>
            <a:ext cx="13451396" cy="7543800"/>
            <a:chOff x="-30640" y="0"/>
            <a:chExt cx="10093083" cy="7543800"/>
          </a:xfrm>
        </p:grpSpPr>
        <p:cxnSp>
          <p:nvCxnSpPr>
            <p:cNvPr id="6" name="Straight Connector 5" hidden="1">
              <a:extLst>
                <a:ext uri="{FF2B5EF4-FFF2-40B4-BE49-F238E27FC236}">
                  <a16:creationId xmlns:a16="http://schemas.microsoft.com/office/drawing/2014/main" id="{969E2875-2E6C-FB45-E275-378014F769AC}"/>
                </a:ext>
              </a:extLst>
            </p:cNvPr>
            <p:cNvCxnSpPr/>
            <p:nvPr userDrawn="1"/>
          </p:nvCxnSpPr>
          <p:spPr>
            <a:xfrm>
              <a:off x="402738"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7" name="Straight Connector 6" hidden="1">
              <a:extLst>
                <a:ext uri="{FF2B5EF4-FFF2-40B4-BE49-F238E27FC236}">
                  <a16:creationId xmlns:a16="http://schemas.microsoft.com/office/drawing/2014/main" id="{0E9ABB19-195C-E953-8309-F065547BA162}"/>
                </a:ext>
              </a:extLst>
            </p:cNvPr>
            <p:cNvCxnSpPr/>
            <p:nvPr userDrawn="1"/>
          </p:nvCxnSpPr>
          <p:spPr>
            <a:xfrm>
              <a:off x="5028601"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8" name="Straight Connector 7" hidden="1">
              <a:extLst>
                <a:ext uri="{FF2B5EF4-FFF2-40B4-BE49-F238E27FC236}">
                  <a16:creationId xmlns:a16="http://schemas.microsoft.com/office/drawing/2014/main" id="{BBEC2C1B-43F7-7E98-C2E9-81CBCB6E7FB5}"/>
                </a:ext>
              </a:extLst>
            </p:cNvPr>
            <p:cNvCxnSpPr/>
            <p:nvPr userDrawn="1"/>
          </p:nvCxnSpPr>
          <p:spPr>
            <a:xfrm>
              <a:off x="9610016"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42D0A368-8B9A-C04A-2725-D1966A9995F8}"/>
                </a:ext>
              </a:extLst>
            </p:cNvPr>
            <p:cNvCxnSpPr/>
            <p:nvPr userDrawn="1"/>
          </p:nvCxnSpPr>
          <p:spPr>
            <a:xfrm>
              <a:off x="-478" y="552450"/>
              <a:ext cx="1005815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89554201-93DD-8E5D-2FB9-8C4DF06ED0C7}"/>
                </a:ext>
              </a:extLst>
            </p:cNvPr>
            <p:cNvCxnSpPr/>
            <p:nvPr userDrawn="1"/>
          </p:nvCxnSpPr>
          <p:spPr>
            <a:xfrm>
              <a:off x="-2066" y="1079500"/>
              <a:ext cx="1005815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hidden="1">
              <a:extLst>
                <a:ext uri="{FF2B5EF4-FFF2-40B4-BE49-F238E27FC236}">
                  <a16:creationId xmlns:a16="http://schemas.microsoft.com/office/drawing/2014/main" id="{F501BF61-6E97-E826-886D-2B628EE3CFFD}"/>
                </a:ext>
              </a:extLst>
            </p:cNvPr>
            <p:cNvCxnSpPr/>
            <p:nvPr userDrawn="1"/>
          </p:nvCxnSpPr>
          <p:spPr>
            <a:xfrm>
              <a:off x="-3653" y="1636713"/>
              <a:ext cx="10058158"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1DAFB269-6BF0-8880-97BF-B998D8764631}"/>
                </a:ext>
              </a:extLst>
            </p:cNvPr>
            <p:cNvCxnSpPr/>
            <p:nvPr userDrawn="1"/>
          </p:nvCxnSpPr>
          <p:spPr>
            <a:xfrm>
              <a:off x="-13177" y="6586538"/>
              <a:ext cx="10058158"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CC3236C6-7D6E-A874-4292-0DA9EABDE629}"/>
                </a:ext>
              </a:extLst>
            </p:cNvPr>
            <p:cNvCxnSpPr/>
            <p:nvPr userDrawn="1"/>
          </p:nvCxnSpPr>
          <p:spPr>
            <a:xfrm>
              <a:off x="-30640" y="4003675"/>
              <a:ext cx="10058159"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hidden="1">
              <a:extLst>
                <a:ext uri="{FF2B5EF4-FFF2-40B4-BE49-F238E27FC236}">
                  <a16:creationId xmlns:a16="http://schemas.microsoft.com/office/drawing/2014/main" id="{F9E645A6-B5D6-B61C-018A-CA5E22B6312C}"/>
                </a:ext>
              </a:extLst>
            </p:cNvPr>
            <p:cNvCxnSpPr/>
            <p:nvPr userDrawn="1"/>
          </p:nvCxnSpPr>
          <p:spPr>
            <a:xfrm>
              <a:off x="-478" y="4359275"/>
              <a:ext cx="10058158"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16" name="Straight Connector 15" hidden="1">
              <a:extLst>
                <a:ext uri="{FF2B5EF4-FFF2-40B4-BE49-F238E27FC236}">
                  <a16:creationId xmlns:a16="http://schemas.microsoft.com/office/drawing/2014/main" id="{B8B29774-7F69-AA3A-6D4F-A4F47D474D70}"/>
                </a:ext>
              </a:extLst>
            </p:cNvPr>
            <p:cNvCxnSpPr/>
            <p:nvPr userDrawn="1"/>
          </p:nvCxnSpPr>
          <p:spPr>
            <a:xfrm>
              <a:off x="-5241" y="850900"/>
              <a:ext cx="10058159"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hidden="1">
              <a:extLst>
                <a:ext uri="{FF2B5EF4-FFF2-40B4-BE49-F238E27FC236}">
                  <a16:creationId xmlns:a16="http://schemas.microsoft.com/office/drawing/2014/main" id="{FD623AF8-1A3C-DECE-D295-B6144251EB2C}"/>
                </a:ext>
              </a:extLst>
            </p:cNvPr>
            <p:cNvCxnSpPr/>
            <p:nvPr userDrawn="1"/>
          </p:nvCxnSpPr>
          <p:spPr>
            <a:xfrm>
              <a:off x="4285" y="1492250"/>
              <a:ext cx="10058158"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DraftStamp" hidden="1">
            <a:extLst>
              <a:ext uri="{FF2B5EF4-FFF2-40B4-BE49-F238E27FC236}">
                <a16:creationId xmlns:a16="http://schemas.microsoft.com/office/drawing/2014/main" id="{B234CF27-0BA0-3F4E-8C59-D8F8516EC80A}"/>
              </a:ext>
            </a:extLst>
          </p:cNvPr>
          <p:cNvSpPr txBox="1">
            <a:spLocks noChangeArrowheads="1"/>
          </p:cNvSpPr>
          <p:nvPr userDrawn="1">
            <p:custDataLst>
              <p:tags r:id="rId2"/>
            </p:custDataLst>
          </p:nvPr>
        </p:nvSpPr>
        <p:spPr bwMode="auto">
          <a:xfrm>
            <a:off x="560652" y="254000"/>
            <a:ext cx="1438652" cy="330200"/>
          </a:xfrm>
          <a:prstGeom prst="rect">
            <a:avLst/>
          </a:prstGeom>
          <a:noFill/>
          <a:ln>
            <a:noFill/>
          </a:ln>
        </p:spPr>
        <p:txBody>
          <a:bodyPr wrap="none" lIns="0" tIns="0" rIns="0" bIns="0" anchor="b"/>
          <a:lstStyle>
            <a:lvl1pPr eaLnBrk="0" hangingPunct="0">
              <a:spcBef>
                <a:spcPct val="50000"/>
              </a:spcBef>
              <a:defRPr>
                <a:solidFill>
                  <a:schemeClr val="tx1"/>
                </a:solidFill>
                <a:latin typeface="Frutiger 55 Roman" pitchFamily="34" charset="0"/>
                <a:ea typeface="MS PGothic" pitchFamily="34" charset="-128"/>
              </a:defRPr>
            </a:lvl1pPr>
            <a:lvl2pPr marL="742950" indent="-285750" eaLnBrk="0" hangingPunct="0">
              <a:spcBef>
                <a:spcPct val="50000"/>
              </a:spcBef>
              <a:defRPr>
                <a:solidFill>
                  <a:schemeClr val="tx1"/>
                </a:solidFill>
                <a:latin typeface="Frutiger 55 Roman" pitchFamily="34" charset="0"/>
                <a:ea typeface="MS PGothic" pitchFamily="34" charset="-128"/>
              </a:defRPr>
            </a:lvl2pPr>
            <a:lvl3pPr marL="1143000" indent="-228600" eaLnBrk="0" hangingPunct="0">
              <a:spcBef>
                <a:spcPct val="50000"/>
              </a:spcBef>
              <a:defRPr>
                <a:solidFill>
                  <a:schemeClr val="tx1"/>
                </a:solidFill>
                <a:latin typeface="Frutiger 55 Roman" pitchFamily="34" charset="0"/>
                <a:ea typeface="MS PGothic" pitchFamily="34" charset="-128"/>
              </a:defRPr>
            </a:lvl3pPr>
            <a:lvl4pPr marL="1600200" indent="-228600" eaLnBrk="0" hangingPunct="0">
              <a:spcBef>
                <a:spcPct val="50000"/>
              </a:spcBef>
              <a:defRPr>
                <a:solidFill>
                  <a:schemeClr val="tx1"/>
                </a:solidFill>
                <a:latin typeface="Frutiger 55 Roman" pitchFamily="34" charset="0"/>
                <a:ea typeface="MS PGothic" pitchFamily="34" charset="-128"/>
              </a:defRPr>
            </a:lvl4pPr>
            <a:lvl5pPr marL="2057400" indent="-228600" eaLnBrk="0" hangingPunct="0">
              <a:spcBef>
                <a:spcPct val="50000"/>
              </a:spcBef>
              <a:defRPr>
                <a:solidFill>
                  <a:schemeClr val="tx1"/>
                </a:solidFill>
                <a:latin typeface="Frutiger 55 Roman" pitchFamily="34" charset="0"/>
                <a:ea typeface="MS PGothic" pitchFamily="34" charset="-128"/>
              </a:defRPr>
            </a:lvl5pPr>
            <a:lvl6pPr marL="2514600" indent="-228600" eaLnBrk="0" fontAlgn="base" hangingPunct="0">
              <a:spcBef>
                <a:spcPct val="50000"/>
              </a:spcBef>
              <a:spcAft>
                <a:spcPct val="0"/>
              </a:spcAft>
              <a:defRPr>
                <a:solidFill>
                  <a:schemeClr val="tx1"/>
                </a:solidFill>
                <a:latin typeface="Frutiger 55 Roman" pitchFamily="34" charset="0"/>
                <a:ea typeface="MS PGothic" pitchFamily="34" charset="-128"/>
              </a:defRPr>
            </a:lvl6pPr>
            <a:lvl7pPr marL="2971800" indent="-228600" eaLnBrk="0" fontAlgn="base" hangingPunct="0">
              <a:spcBef>
                <a:spcPct val="50000"/>
              </a:spcBef>
              <a:spcAft>
                <a:spcPct val="0"/>
              </a:spcAft>
              <a:defRPr>
                <a:solidFill>
                  <a:schemeClr val="tx1"/>
                </a:solidFill>
                <a:latin typeface="Frutiger 55 Roman" pitchFamily="34" charset="0"/>
                <a:ea typeface="MS PGothic" pitchFamily="34" charset="-128"/>
              </a:defRPr>
            </a:lvl7pPr>
            <a:lvl8pPr marL="3429000" indent="-228600" eaLnBrk="0" fontAlgn="base" hangingPunct="0">
              <a:spcBef>
                <a:spcPct val="50000"/>
              </a:spcBef>
              <a:spcAft>
                <a:spcPct val="0"/>
              </a:spcAft>
              <a:defRPr>
                <a:solidFill>
                  <a:schemeClr val="tx1"/>
                </a:solidFill>
                <a:latin typeface="Frutiger 55 Roman" pitchFamily="34" charset="0"/>
                <a:ea typeface="MS PGothic" pitchFamily="34" charset="-128"/>
              </a:defRPr>
            </a:lvl8pPr>
            <a:lvl9pPr marL="3886200" indent="-228600" eaLnBrk="0" fontAlgn="base" hangingPunct="0">
              <a:spcBef>
                <a:spcPct val="50000"/>
              </a:spcBef>
              <a:spcAft>
                <a:spcPct val="0"/>
              </a:spcAft>
              <a:defRPr>
                <a:solidFill>
                  <a:schemeClr val="tx1"/>
                </a:solidFill>
                <a:latin typeface="Frutiger 55 Roman" pitchFamily="34" charset="0"/>
                <a:ea typeface="MS PGothic" pitchFamily="34" charset="-128"/>
              </a:defRPr>
            </a:lvl9pPr>
          </a:lstStyle>
          <a:p>
            <a:pPr>
              <a:spcBef>
                <a:spcPct val="0"/>
              </a:spcBef>
              <a:defRPr/>
            </a:pPr>
            <a:r>
              <a:rPr lang="en-US" altLang="en-US" sz="2399" b="1">
                <a:solidFill>
                  <a:srgbClr val="E60000"/>
                </a:solidFill>
                <a:cs typeface="Arial" charset="0"/>
              </a:rPr>
              <a:t>Draft</a:t>
            </a:r>
          </a:p>
        </p:txBody>
      </p:sp>
      <p:pic>
        <p:nvPicPr>
          <p:cNvPr id="19" name="Picture 19">
            <a:extLst>
              <a:ext uri="{FF2B5EF4-FFF2-40B4-BE49-F238E27FC236}">
                <a16:creationId xmlns:a16="http://schemas.microsoft.com/office/drawing/2014/main" id="{E4A89306-187C-4C3B-1E5B-C8BF6355EC39}"/>
              </a:ext>
            </a:extLst>
          </p:cNvPr>
          <p:cNvPicPr>
            <a:picLocks noChangeAspect="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71229" y="6989763"/>
            <a:ext cx="1161501"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AGE HEADING"/>
          <p:cNvSpPr>
            <a:spLocks noGrp="1"/>
          </p:cNvSpPr>
          <p:nvPr>
            <p:ph type="title"/>
          </p:nvPr>
        </p:nvSpPr>
        <p:spPr>
          <a:xfrm>
            <a:off x="560567" y="4"/>
            <a:ext cx="12247159" cy="941832"/>
          </a:xfrm>
        </p:spPr>
        <p:txBody>
          <a:bodyPr rtlCol="0">
            <a:normAutofit/>
          </a:bodyPr>
          <a:lstStyle>
            <a:lvl1pPr>
              <a:lnSpc>
                <a:spcPts val="3198"/>
              </a:lnSpc>
              <a:defRPr lang="en-US" sz="3198" b="0" baseline="0" dirty="0">
                <a:latin typeface="Frutiger 45 Light"/>
                <a:ea typeface="Arial Unicode MS" pitchFamily="34" charset="-128"/>
              </a:defRPr>
            </a:lvl1pPr>
          </a:lstStyle>
          <a:p>
            <a:pPr lvl="0"/>
            <a:r>
              <a:rPr lang="en-US"/>
              <a:t>Click to edit Master title style</a:t>
            </a:r>
            <a:endParaRPr lang="en-US" dirty="0"/>
          </a:p>
        </p:txBody>
      </p:sp>
    </p:spTree>
    <p:extLst>
      <p:ext uri="{BB962C8B-B14F-4D97-AF65-F5344CB8AC3E}">
        <p14:creationId xmlns:p14="http://schemas.microsoft.com/office/powerpoint/2010/main" val="41577446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Blank Slide">
    <p:spTree>
      <p:nvGrpSpPr>
        <p:cNvPr id="1" name=""/>
        <p:cNvGrpSpPr/>
        <p:nvPr/>
      </p:nvGrpSpPr>
      <p:grpSpPr>
        <a:xfrm>
          <a:off x="0" y="0"/>
          <a:ext cx="0" cy="0"/>
          <a:chOff x="0" y="0"/>
          <a:chExt cx="0" cy="0"/>
        </a:xfrm>
      </p:grpSpPr>
      <p:sp>
        <p:nvSpPr>
          <p:cNvPr id="2" name="Slide Number Textbox">
            <a:extLst>
              <a:ext uri="{FF2B5EF4-FFF2-40B4-BE49-F238E27FC236}">
                <a16:creationId xmlns:a16="http://schemas.microsoft.com/office/drawing/2014/main" id="{26EF0878-F951-95C6-795A-711D443C895C}"/>
              </a:ext>
            </a:extLst>
          </p:cNvPr>
          <p:cNvSpPr txBox="1">
            <a:spLocks noChangeArrowheads="1"/>
          </p:cNvSpPr>
          <p:nvPr userDrawn="1"/>
        </p:nvSpPr>
        <p:spPr bwMode="auto">
          <a:xfrm>
            <a:off x="12270854" y="6858001"/>
            <a:ext cx="550073" cy="384175"/>
          </a:xfrm>
          <a:prstGeom prst="rect">
            <a:avLst/>
          </a:prstGeom>
          <a:noFill/>
          <a:ln>
            <a:noFill/>
          </a:ln>
        </p:spPr>
        <p:txBody>
          <a:bodyPr lIns="0" tIns="0" rIns="0" bIns="0" anchor="b"/>
          <a:lstStyle>
            <a:lvl1pPr eaLnBrk="0" hangingPunct="0">
              <a:defRPr>
                <a:solidFill>
                  <a:schemeClr val="tx1"/>
                </a:solidFill>
                <a:latin typeface="Frutiger 55 Roman" panose="020B0503040202020204" pitchFamily="34" charset="0"/>
                <a:ea typeface="MS PGothic" panose="020B0600070205080204" pitchFamily="34" charset="-128"/>
              </a:defRPr>
            </a:lvl1pPr>
            <a:lvl2pPr marL="742950" indent="-285750" eaLnBrk="0" hangingPunct="0">
              <a:defRPr>
                <a:solidFill>
                  <a:schemeClr val="tx1"/>
                </a:solidFill>
                <a:latin typeface="Frutiger 55 Roman" panose="020B0503040202020204" pitchFamily="34" charset="0"/>
                <a:ea typeface="MS PGothic" panose="020B0600070205080204" pitchFamily="34" charset="-128"/>
              </a:defRPr>
            </a:lvl2pPr>
            <a:lvl3pPr marL="1143000" indent="-228600" eaLnBrk="0" hangingPunct="0">
              <a:defRPr>
                <a:solidFill>
                  <a:schemeClr val="tx1"/>
                </a:solidFill>
                <a:latin typeface="Frutiger 55 Roman" panose="020B0503040202020204" pitchFamily="34" charset="0"/>
                <a:ea typeface="MS PGothic" panose="020B0600070205080204" pitchFamily="34" charset="-128"/>
              </a:defRPr>
            </a:lvl3pPr>
            <a:lvl4pPr marL="1600200" indent="-228600" eaLnBrk="0" hangingPunct="0">
              <a:defRPr>
                <a:solidFill>
                  <a:schemeClr val="tx1"/>
                </a:solidFill>
                <a:latin typeface="Frutiger 55 Roman" panose="020B0503040202020204" pitchFamily="34" charset="0"/>
                <a:ea typeface="MS PGothic" panose="020B0600070205080204" pitchFamily="34" charset="-128"/>
              </a:defRPr>
            </a:lvl4pPr>
            <a:lvl5pPr marL="2057400" indent="-228600" eaLnBrk="0" hangingPunct="0">
              <a:defRPr>
                <a:solidFill>
                  <a:schemeClr val="tx1"/>
                </a:solidFill>
                <a:latin typeface="Frutiger 55 Roman" panose="020B050304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Frutiger 55 Roman" panose="020B050304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Frutiger 55 Roman" panose="020B050304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Frutiger 55 Roman" panose="020B050304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Frutiger 55 Roman" panose="020B0503040202020204" pitchFamily="34" charset="0"/>
                <a:ea typeface="MS PGothic" panose="020B0600070205080204" pitchFamily="34" charset="-128"/>
              </a:defRPr>
            </a:lvl9pPr>
          </a:lstStyle>
          <a:p>
            <a:pPr algn="r">
              <a:spcBef>
                <a:spcPct val="50000"/>
              </a:spcBef>
              <a:defRPr/>
            </a:pPr>
            <a:fld id="{689BD3E0-CCA1-4F9B-9555-9D28533222CF}" type="slidenum">
              <a:rPr lang="en-US" altLang="en-US" sz="699" smtClean="0"/>
              <a:pPr algn="r">
                <a:spcBef>
                  <a:spcPct val="50000"/>
                </a:spcBef>
                <a:defRPr/>
              </a:pPr>
              <a:t>‹#›</a:t>
            </a:fld>
            <a:endParaRPr lang="en-US" altLang="en-US" sz="699"/>
          </a:p>
        </p:txBody>
      </p:sp>
      <p:cxnSp>
        <p:nvCxnSpPr>
          <p:cNvPr id="3" name="THIN BLUE LINE">
            <a:extLst>
              <a:ext uri="{FF2B5EF4-FFF2-40B4-BE49-F238E27FC236}">
                <a16:creationId xmlns:a16="http://schemas.microsoft.com/office/drawing/2014/main" id="{7F9445F9-D806-47A1-25E0-4955B91AE080}"/>
              </a:ext>
            </a:extLst>
          </p:cNvPr>
          <p:cNvCxnSpPr/>
          <p:nvPr/>
        </p:nvCxnSpPr>
        <p:spPr>
          <a:xfrm>
            <a:off x="560653" y="1033463"/>
            <a:ext cx="1224758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DOCUMENT ID" hidden="1">
            <a:extLst>
              <a:ext uri="{FF2B5EF4-FFF2-40B4-BE49-F238E27FC236}">
                <a16:creationId xmlns:a16="http://schemas.microsoft.com/office/drawing/2014/main" id="{8B3A4EF4-F2CB-6985-DA5F-3ADC048B385A}"/>
              </a:ext>
            </a:extLst>
          </p:cNvPr>
          <p:cNvSpPr txBox="1"/>
          <p:nvPr userDrawn="1">
            <p:custDataLst>
              <p:tags r:id="rId1"/>
            </p:custDataLst>
          </p:nvPr>
        </p:nvSpPr>
        <p:spPr>
          <a:xfrm>
            <a:off x="3061368" y="420689"/>
            <a:ext cx="9744751" cy="92205"/>
          </a:xfrm>
          <a:prstGeom prst="rect">
            <a:avLst/>
          </a:prstGeom>
        </p:spPr>
        <p:txBody>
          <a:bodyPr lIns="0" tIns="0" rIns="0" bIns="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a:defRPr/>
            </a:pPr>
            <a:r>
              <a:rPr lang="en-US" sz="599" dirty="0">
                <a:ea typeface="+mn-ea"/>
              </a:rPr>
              <a:t>[printed: ____] [saved: ____] C:\ProgramData\PresXpress\PresXpress\PresPrint.potx</a:t>
            </a:r>
          </a:p>
        </p:txBody>
      </p:sp>
      <p:grpSp>
        <p:nvGrpSpPr>
          <p:cNvPr id="5" name="PXP_GRIDLINES" hidden="1">
            <a:extLst>
              <a:ext uri="{FF2B5EF4-FFF2-40B4-BE49-F238E27FC236}">
                <a16:creationId xmlns:a16="http://schemas.microsoft.com/office/drawing/2014/main" id="{603205CF-4C20-8E49-390F-952DABAEB68A}"/>
              </a:ext>
            </a:extLst>
          </p:cNvPr>
          <p:cNvGrpSpPr>
            <a:grpSpLocks/>
          </p:cNvGrpSpPr>
          <p:nvPr userDrawn="1"/>
        </p:nvGrpSpPr>
        <p:grpSpPr bwMode="auto">
          <a:xfrm>
            <a:off x="-40197" y="0"/>
            <a:ext cx="13451396" cy="7543800"/>
            <a:chOff x="-30640" y="0"/>
            <a:chExt cx="10093083" cy="7543800"/>
          </a:xfrm>
        </p:grpSpPr>
        <p:cxnSp>
          <p:nvCxnSpPr>
            <p:cNvPr id="6" name="Straight Connector 5" hidden="1">
              <a:extLst>
                <a:ext uri="{FF2B5EF4-FFF2-40B4-BE49-F238E27FC236}">
                  <a16:creationId xmlns:a16="http://schemas.microsoft.com/office/drawing/2014/main" id="{969E2875-2E6C-FB45-E275-378014F769AC}"/>
                </a:ext>
              </a:extLst>
            </p:cNvPr>
            <p:cNvCxnSpPr/>
            <p:nvPr userDrawn="1"/>
          </p:nvCxnSpPr>
          <p:spPr>
            <a:xfrm>
              <a:off x="402738"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7" name="Straight Connector 6" hidden="1">
              <a:extLst>
                <a:ext uri="{FF2B5EF4-FFF2-40B4-BE49-F238E27FC236}">
                  <a16:creationId xmlns:a16="http://schemas.microsoft.com/office/drawing/2014/main" id="{0E9ABB19-195C-E953-8309-F065547BA162}"/>
                </a:ext>
              </a:extLst>
            </p:cNvPr>
            <p:cNvCxnSpPr/>
            <p:nvPr userDrawn="1"/>
          </p:nvCxnSpPr>
          <p:spPr>
            <a:xfrm>
              <a:off x="5028601"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8" name="Straight Connector 7" hidden="1">
              <a:extLst>
                <a:ext uri="{FF2B5EF4-FFF2-40B4-BE49-F238E27FC236}">
                  <a16:creationId xmlns:a16="http://schemas.microsoft.com/office/drawing/2014/main" id="{BBEC2C1B-43F7-7E98-C2E9-81CBCB6E7FB5}"/>
                </a:ext>
              </a:extLst>
            </p:cNvPr>
            <p:cNvCxnSpPr/>
            <p:nvPr userDrawn="1"/>
          </p:nvCxnSpPr>
          <p:spPr>
            <a:xfrm>
              <a:off x="9610016"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42D0A368-8B9A-C04A-2725-D1966A9995F8}"/>
                </a:ext>
              </a:extLst>
            </p:cNvPr>
            <p:cNvCxnSpPr/>
            <p:nvPr userDrawn="1"/>
          </p:nvCxnSpPr>
          <p:spPr>
            <a:xfrm>
              <a:off x="-478" y="552450"/>
              <a:ext cx="1005815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89554201-93DD-8E5D-2FB9-8C4DF06ED0C7}"/>
                </a:ext>
              </a:extLst>
            </p:cNvPr>
            <p:cNvCxnSpPr/>
            <p:nvPr userDrawn="1"/>
          </p:nvCxnSpPr>
          <p:spPr>
            <a:xfrm>
              <a:off x="-2066" y="1079500"/>
              <a:ext cx="1005815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hidden="1">
              <a:extLst>
                <a:ext uri="{FF2B5EF4-FFF2-40B4-BE49-F238E27FC236}">
                  <a16:creationId xmlns:a16="http://schemas.microsoft.com/office/drawing/2014/main" id="{F501BF61-6E97-E826-886D-2B628EE3CFFD}"/>
                </a:ext>
              </a:extLst>
            </p:cNvPr>
            <p:cNvCxnSpPr/>
            <p:nvPr userDrawn="1"/>
          </p:nvCxnSpPr>
          <p:spPr>
            <a:xfrm>
              <a:off x="-3653" y="1636713"/>
              <a:ext cx="10058158"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1DAFB269-6BF0-8880-97BF-B998D8764631}"/>
                </a:ext>
              </a:extLst>
            </p:cNvPr>
            <p:cNvCxnSpPr/>
            <p:nvPr userDrawn="1"/>
          </p:nvCxnSpPr>
          <p:spPr>
            <a:xfrm>
              <a:off x="-13177" y="6586538"/>
              <a:ext cx="10058158"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CC3236C6-7D6E-A874-4292-0DA9EABDE629}"/>
                </a:ext>
              </a:extLst>
            </p:cNvPr>
            <p:cNvCxnSpPr/>
            <p:nvPr userDrawn="1"/>
          </p:nvCxnSpPr>
          <p:spPr>
            <a:xfrm>
              <a:off x="-30640" y="4003675"/>
              <a:ext cx="10058159"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hidden="1">
              <a:extLst>
                <a:ext uri="{FF2B5EF4-FFF2-40B4-BE49-F238E27FC236}">
                  <a16:creationId xmlns:a16="http://schemas.microsoft.com/office/drawing/2014/main" id="{F9E645A6-B5D6-B61C-018A-CA5E22B6312C}"/>
                </a:ext>
              </a:extLst>
            </p:cNvPr>
            <p:cNvCxnSpPr/>
            <p:nvPr userDrawn="1"/>
          </p:nvCxnSpPr>
          <p:spPr>
            <a:xfrm>
              <a:off x="-478" y="4359275"/>
              <a:ext cx="10058158"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16" name="Straight Connector 15" hidden="1">
              <a:extLst>
                <a:ext uri="{FF2B5EF4-FFF2-40B4-BE49-F238E27FC236}">
                  <a16:creationId xmlns:a16="http://schemas.microsoft.com/office/drawing/2014/main" id="{B8B29774-7F69-AA3A-6D4F-A4F47D474D70}"/>
                </a:ext>
              </a:extLst>
            </p:cNvPr>
            <p:cNvCxnSpPr/>
            <p:nvPr userDrawn="1"/>
          </p:nvCxnSpPr>
          <p:spPr>
            <a:xfrm>
              <a:off x="-5241" y="850900"/>
              <a:ext cx="10058159"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hidden="1">
              <a:extLst>
                <a:ext uri="{FF2B5EF4-FFF2-40B4-BE49-F238E27FC236}">
                  <a16:creationId xmlns:a16="http://schemas.microsoft.com/office/drawing/2014/main" id="{FD623AF8-1A3C-DECE-D295-B6144251EB2C}"/>
                </a:ext>
              </a:extLst>
            </p:cNvPr>
            <p:cNvCxnSpPr/>
            <p:nvPr userDrawn="1"/>
          </p:nvCxnSpPr>
          <p:spPr>
            <a:xfrm>
              <a:off x="4285" y="1492250"/>
              <a:ext cx="10058158"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DraftStamp" hidden="1">
            <a:extLst>
              <a:ext uri="{FF2B5EF4-FFF2-40B4-BE49-F238E27FC236}">
                <a16:creationId xmlns:a16="http://schemas.microsoft.com/office/drawing/2014/main" id="{B234CF27-0BA0-3F4E-8C59-D8F8516EC80A}"/>
              </a:ext>
            </a:extLst>
          </p:cNvPr>
          <p:cNvSpPr txBox="1">
            <a:spLocks noChangeArrowheads="1"/>
          </p:cNvSpPr>
          <p:nvPr userDrawn="1">
            <p:custDataLst>
              <p:tags r:id="rId2"/>
            </p:custDataLst>
          </p:nvPr>
        </p:nvSpPr>
        <p:spPr bwMode="auto">
          <a:xfrm>
            <a:off x="560652" y="254000"/>
            <a:ext cx="1438652" cy="330200"/>
          </a:xfrm>
          <a:prstGeom prst="rect">
            <a:avLst/>
          </a:prstGeom>
          <a:noFill/>
          <a:ln>
            <a:noFill/>
          </a:ln>
        </p:spPr>
        <p:txBody>
          <a:bodyPr wrap="none" lIns="0" tIns="0" rIns="0" bIns="0" anchor="b"/>
          <a:lstStyle>
            <a:lvl1pPr eaLnBrk="0" hangingPunct="0">
              <a:spcBef>
                <a:spcPct val="50000"/>
              </a:spcBef>
              <a:defRPr>
                <a:solidFill>
                  <a:schemeClr val="tx1"/>
                </a:solidFill>
                <a:latin typeface="Frutiger 55 Roman" pitchFamily="34" charset="0"/>
                <a:ea typeface="MS PGothic" pitchFamily="34" charset="-128"/>
              </a:defRPr>
            </a:lvl1pPr>
            <a:lvl2pPr marL="742950" indent="-285750" eaLnBrk="0" hangingPunct="0">
              <a:spcBef>
                <a:spcPct val="50000"/>
              </a:spcBef>
              <a:defRPr>
                <a:solidFill>
                  <a:schemeClr val="tx1"/>
                </a:solidFill>
                <a:latin typeface="Frutiger 55 Roman" pitchFamily="34" charset="0"/>
                <a:ea typeface="MS PGothic" pitchFamily="34" charset="-128"/>
              </a:defRPr>
            </a:lvl2pPr>
            <a:lvl3pPr marL="1143000" indent="-228600" eaLnBrk="0" hangingPunct="0">
              <a:spcBef>
                <a:spcPct val="50000"/>
              </a:spcBef>
              <a:defRPr>
                <a:solidFill>
                  <a:schemeClr val="tx1"/>
                </a:solidFill>
                <a:latin typeface="Frutiger 55 Roman" pitchFamily="34" charset="0"/>
                <a:ea typeface="MS PGothic" pitchFamily="34" charset="-128"/>
              </a:defRPr>
            </a:lvl3pPr>
            <a:lvl4pPr marL="1600200" indent="-228600" eaLnBrk="0" hangingPunct="0">
              <a:spcBef>
                <a:spcPct val="50000"/>
              </a:spcBef>
              <a:defRPr>
                <a:solidFill>
                  <a:schemeClr val="tx1"/>
                </a:solidFill>
                <a:latin typeface="Frutiger 55 Roman" pitchFamily="34" charset="0"/>
                <a:ea typeface="MS PGothic" pitchFamily="34" charset="-128"/>
              </a:defRPr>
            </a:lvl4pPr>
            <a:lvl5pPr marL="2057400" indent="-228600" eaLnBrk="0" hangingPunct="0">
              <a:spcBef>
                <a:spcPct val="50000"/>
              </a:spcBef>
              <a:defRPr>
                <a:solidFill>
                  <a:schemeClr val="tx1"/>
                </a:solidFill>
                <a:latin typeface="Frutiger 55 Roman" pitchFamily="34" charset="0"/>
                <a:ea typeface="MS PGothic" pitchFamily="34" charset="-128"/>
              </a:defRPr>
            </a:lvl5pPr>
            <a:lvl6pPr marL="2514600" indent="-228600" eaLnBrk="0" fontAlgn="base" hangingPunct="0">
              <a:spcBef>
                <a:spcPct val="50000"/>
              </a:spcBef>
              <a:spcAft>
                <a:spcPct val="0"/>
              </a:spcAft>
              <a:defRPr>
                <a:solidFill>
                  <a:schemeClr val="tx1"/>
                </a:solidFill>
                <a:latin typeface="Frutiger 55 Roman" pitchFamily="34" charset="0"/>
                <a:ea typeface="MS PGothic" pitchFamily="34" charset="-128"/>
              </a:defRPr>
            </a:lvl6pPr>
            <a:lvl7pPr marL="2971800" indent="-228600" eaLnBrk="0" fontAlgn="base" hangingPunct="0">
              <a:spcBef>
                <a:spcPct val="50000"/>
              </a:spcBef>
              <a:spcAft>
                <a:spcPct val="0"/>
              </a:spcAft>
              <a:defRPr>
                <a:solidFill>
                  <a:schemeClr val="tx1"/>
                </a:solidFill>
                <a:latin typeface="Frutiger 55 Roman" pitchFamily="34" charset="0"/>
                <a:ea typeface="MS PGothic" pitchFamily="34" charset="-128"/>
              </a:defRPr>
            </a:lvl7pPr>
            <a:lvl8pPr marL="3429000" indent="-228600" eaLnBrk="0" fontAlgn="base" hangingPunct="0">
              <a:spcBef>
                <a:spcPct val="50000"/>
              </a:spcBef>
              <a:spcAft>
                <a:spcPct val="0"/>
              </a:spcAft>
              <a:defRPr>
                <a:solidFill>
                  <a:schemeClr val="tx1"/>
                </a:solidFill>
                <a:latin typeface="Frutiger 55 Roman" pitchFamily="34" charset="0"/>
                <a:ea typeface="MS PGothic" pitchFamily="34" charset="-128"/>
              </a:defRPr>
            </a:lvl8pPr>
            <a:lvl9pPr marL="3886200" indent="-228600" eaLnBrk="0" fontAlgn="base" hangingPunct="0">
              <a:spcBef>
                <a:spcPct val="50000"/>
              </a:spcBef>
              <a:spcAft>
                <a:spcPct val="0"/>
              </a:spcAft>
              <a:defRPr>
                <a:solidFill>
                  <a:schemeClr val="tx1"/>
                </a:solidFill>
                <a:latin typeface="Frutiger 55 Roman" pitchFamily="34" charset="0"/>
                <a:ea typeface="MS PGothic" pitchFamily="34" charset="-128"/>
              </a:defRPr>
            </a:lvl9pPr>
          </a:lstStyle>
          <a:p>
            <a:pPr>
              <a:spcBef>
                <a:spcPct val="0"/>
              </a:spcBef>
              <a:defRPr/>
            </a:pPr>
            <a:r>
              <a:rPr lang="en-US" altLang="en-US" sz="2399" b="1">
                <a:solidFill>
                  <a:srgbClr val="E60000"/>
                </a:solidFill>
                <a:cs typeface="Arial" charset="0"/>
              </a:rPr>
              <a:t>Draft</a:t>
            </a:r>
          </a:p>
        </p:txBody>
      </p:sp>
      <p:pic>
        <p:nvPicPr>
          <p:cNvPr id="19" name="Picture 19">
            <a:extLst>
              <a:ext uri="{FF2B5EF4-FFF2-40B4-BE49-F238E27FC236}">
                <a16:creationId xmlns:a16="http://schemas.microsoft.com/office/drawing/2014/main" id="{E4A89306-187C-4C3B-1E5B-C8BF6355EC39}"/>
              </a:ext>
            </a:extLst>
          </p:cNvPr>
          <p:cNvPicPr>
            <a:picLocks noChangeAspect="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71229" y="6989763"/>
            <a:ext cx="1161501"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AGE HEADING"/>
          <p:cNvSpPr>
            <a:spLocks noGrp="1"/>
          </p:cNvSpPr>
          <p:nvPr>
            <p:ph type="title"/>
          </p:nvPr>
        </p:nvSpPr>
        <p:spPr>
          <a:xfrm>
            <a:off x="560567" y="4"/>
            <a:ext cx="12247159" cy="941832"/>
          </a:xfrm>
        </p:spPr>
        <p:txBody>
          <a:bodyPr rtlCol="0">
            <a:normAutofit/>
          </a:bodyPr>
          <a:lstStyle>
            <a:lvl1pPr>
              <a:lnSpc>
                <a:spcPts val="3198"/>
              </a:lnSpc>
              <a:defRPr lang="en-US" sz="3198" b="0" baseline="0" dirty="0">
                <a:latin typeface="Frutiger 45 Light"/>
                <a:ea typeface="Arial Unicode MS" pitchFamily="34" charset="-128"/>
              </a:defRPr>
            </a:lvl1pPr>
          </a:lstStyle>
          <a:p>
            <a:pPr lvl="0"/>
            <a:r>
              <a:rPr lang="en-US"/>
              <a:t>Click to edit Master title style</a:t>
            </a:r>
            <a:endParaRPr lang="en-US" dirty="0"/>
          </a:p>
        </p:txBody>
      </p:sp>
    </p:spTree>
    <p:extLst>
      <p:ext uri="{BB962C8B-B14F-4D97-AF65-F5344CB8AC3E}">
        <p14:creationId xmlns:p14="http://schemas.microsoft.com/office/powerpoint/2010/main" val="339278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0C3DBC-7216-817D-9155-A93F1BED82EB}"/>
              </a:ext>
            </a:extLst>
          </p:cNvPr>
          <p:cNvSpPr/>
          <p:nvPr/>
        </p:nvSpPr>
        <p:spPr>
          <a:xfrm>
            <a:off x="5889600" y="1699200"/>
            <a:ext cx="7232400" cy="54792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err="1">
              <a:solidFill>
                <a:schemeClr val="tx1"/>
              </a:solidFill>
            </a:endParaRPr>
          </a:p>
        </p:txBody>
      </p:sp>
      <p:sp>
        <p:nvSpPr>
          <p:cNvPr id="8" name="Rectangle 7">
            <a:extLst>
              <a:ext uri="{FF2B5EF4-FFF2-40B4-BE49-F238E27FC236}">
                <a16:creationId xmlns:a16="http://schemas.microsoft.com/office/drawing/2014/main" id="{6FD1AD85-9F65-98CB-5412-6FE2449F6FDD}"/>
              </a:ext>
            </a:extLst>
          </p:cNvPr>
          <p:cNvSpPr/>
          <p:nvPr/>
        </p:nvSpPr>
        <p:spPr>
          <a:xfrm>
            <a:off x="6170856" y="2400960"/>
            <a:ext cx="6666049" cy="477708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sp>
        <p:nvSpPr>
          <p:cNvPr id="4" name="text" descr="{&quot;templafy&quot;:{&quot;id&quot;:&quot;d243304c-622e-4f03-9ae5-4f42f3560cc9&quot;}}" hidden="1" title="Translations.Draft">
            <a:extLst>
              <a:ext uri="{FF2B5EF4-FFF2-40B4-BE49-F238E27FC236}">
                <a16:creationId xmlns:a16="http://schemas.microsoft.com/office/drawing/2014/main" id="{16D24353-4EAB-0147-C2B6-DB301FD42DF8}"/>
              </a:ext>
            </a:extLst>
          </p:cNvPr>
          <p:cNvSpPr txBox="1"/>
          <p:nvPr>
            <p:custDataLst>
              <p:tags r:id="rId1"/>
            </p:custDataLst>
          </p:nvPr>
        </p:nvSpPr>
        <p:spPr>
          <a:xfrm>
            <a:off x="6123600" y="1929600"/>
            <a:ext cx="824400" cy="1836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400" b="1" i="0" u="none" baseline="0">
                <a:solidFill>
                  <a:schemeClr val="tx2"/>
                </a:solidFill>
                <a:latin typeface="+mn-lt"/>
              </a:rPr>
              <a:t>Draft</a:t>
            </a:r>
          </a:p>
        </p:txBody>
      </p:sp>
      <p:sp>
        <p:nvSpPr>
          <p:cNvPr id="13" name="Classification Tag" descr="{&quot;templafy&quot;:{&quot;id&quot;:&quot;3081f87b-24e8-4ffe-b04e-8f40f4105cb5&quot;}}">
            <a:extLst>
              <a:ext uri="{FF2B5EF4-FFF2-40B4-BE49-F238E27FC236}">
                <a16:creationId xmlns:a16="http://schemas.microsoft.com/office/drawing/2014/main" id="{6CEB3477-DF72-979F-8A0C-DA4F7990372C}"/>
              </a:ext>
            </a:extLst>
          </p:cNvPr>
          <p:cNvSpPr txBox="1"/>
          <p:nvPr userDrawn="1">
            <p:custDataLst>
              <p:tags r:id="rId2"/>
            </p:custDataLst>
          </p:nvPr>
        </p:nvSpPr>
        <p:spPr>
          <a:xfrm>
            <a:off x="7758000" y="6854400"/>
            <a:ext cx="1554480" cy="136400"/>
          </a:xfrm>
          <a:prstGeom prst="rect">
            <a:avLst/>
          </a:prstGeom>
        </p:spPr>
        <p:txBody>
          <a:bodyPr vert="horz" lIns="0" tIns="0" rIns="0" bIns="0" rtlCol="0">
            <a:noAutofit/>
          </a:bodyPr>
          <a:lstStyle>
            <a:lvl1pPr marL="0" marR="0" lvl="0" indent="0" defTabSz="1005505" eaLnBrk="1" fontAlgn="auto" latinLnBrk="0" hangingPunct="1">
              <a:lnSpc>
                <a:spcPct val="100000"/>
              </a:lnSpc>
              <a:spcBef>
                <a:spcPts val="0"/>
              </a:spcBef>
              <a:spcAft>
                <a:spcPts val="0"/>
              </a:spcAft>
              <a:buClr>
                <a:schemeClr val="tx1"/>
              </a:buClr>
              <a:buSzPct val="75000"/>
              <a:buFont typeface="Wingdings 2" panose="05020102010507070707" pitchFamily="18" charset="2"/>
              <a:buNone/>
              <a:tabLst/>
              <a:defRPr lang="en-US" sz="1100" b="0" kern="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10" name="Keyline Title" descr="{&quot;templafy&quot;:{&quot;id&quot;:&quot;cfe5ca2c-42ff-4444-98c0-ae05f19f3c10&quot;}}">
            <a:extLst>
              <a:ext uri="{FF2B5EF4-FFF2-40B4-BE49-F238E27FC236}">
                <a16:creationId xmlns:a16="http://schemas.microsoft.com/office/drawing/2014/main" id="{9B2FA06E-9D6F-7F7F-1B11-C403B32E7505}"/>
              </a:ext>
            </a:extLst>
          </p:cNvPr>
          <p:cNvSpPr>
            <a:spLocks noGrp="1"/>
          </p:cNvSpPr>
          <p:nvPr>
            <p:ph type="title" hasCustomPrompt="1"/>
          </p:nvPr>
        </p:nvSpPr>
        <p:spPr>
          <a:xfrm>
            <a:off x="6201300" y="2376000"/>
            <a:ext cx="6681600" cy="1800000"/>
          </a:xfrm>
          <a:custGeom>
            <a:avLst/>
            <a:gdLst>
              <a:gd name="connsiteX0" fmla="*/ 0 w 12313368"/>
              <a:gd name="connsiteY0" fmla="*/ 0 h 495300"/>
              <a:gd name="connsiteX1" fmla="*/ 12313368 w 12313368"/>
              <a:gd name="connsiteY1" fmla="*/ 0 h 495300"/>
              <a:gd name="connsiteX2" fmla="*/ 12313368 w 12313368"/>
              <a:gd name="connsiteY2" fmla="*/ 495300 h 495300"/>
              <a:gd name="connsiteX3" fmla="*/ 0 w 12313368"/>
              <a:gd name="connsiteY3" fmla="*/ 495300 h 495300"/>
              <a:gd name="connsiteX4" fmla="*/ 0 w 12313368"/>
              <a:gd name="connsiteY4" fmla="*/ 0 h 495300"/>
              <a:gd name="connsiteX0" fmla="*/ 12313368 w 12404808"/>
              <a:gd name="connsiteY0" fmla="*/ 495300 h 495300"/>
              <a:gd name="connsiteX1" fmla="*/ 0 w 12404808"/>
              <a:gd name="connsiteY1" fmla="*/ 495300 h 495300"/>
              <a:gd name="connsiteX2" fmla="*/ 0 w 12404808"/>
              <a:gd name="connsiteY2" fmla="*/ 0 h 495300"/>
              <a:gd name="connsiteX3" fmla="*/ 12404808 w 12404808"/>
              <a:gd name="connsiteY3" fmla="*/ 91440 h 495300"/>
              <a:gd name="connsiteX0" fmla="*/ 12313368 w 12313368"/>
              <a:gd name="connsiteY0" fmla="*/ 495300 h 495300"/>
              <a:gd name="connsiteX1" fmla="*/ 0 w 12313368"/>
              <a:gd name="connsiteY1" fmla="*/ 495300 h 495300"/>
              <a:gd name="connsiteX2" fmla="*/ 0 w 12313368"/>
              <a:gd name="connsiteY2" fmla="*/ 0 h 495300"/>
              <a:gd name="connsiteX0" fmla="*/ 0 w 0"/>
              <a:gd name="connsiteY0" fmla="*/ 495300 h 495300"/>
              <a:gd name="connsiteX1" fmla="*/ 0 w 0"/>
              <a:gd name="connsiteY1" fmla="*/ 0 h 495300"/>
              <a:gd name="connsiteX0" fmla="*/ 0 w 0"/>
              <a:gd name="connsiteY0" fmla="*/ 10000 h 10000"/>
              <a:gd name="connsiteX1" fmla="*/ 0 w 0"/>
              <a:gd name="connsiteY1" fmla="*/ 0 h 10000"/>
              <a:gd name="connsiteX2" fmla="*/ 0 w 0"/>
              <a:gd name="connsiteY2" fmla="*/ 10000 h 10000"/>
            </a:gdLst>
            <a:ahLst/>
            <a:cxnLst>
              <a:cxn ang="0">
                <a:pos x="connsiteX0" y="connsiteY0"/>
              </a:cxn>
              <a:cxn ang="0">
                <a:pos x="connsiteX1" y="connsiteY1"/>
              </a:cxn>
              <a:cxn ang="0">
                <a:pos x="connsiteX2" y="connsiteY2"/>
              </a:cxn>
            </a:cxnLst>
            <a:rect l="l" t="t" r="r" b="b"/>
            <a:pathLst>
              <a:path h="10000">
                <a:moveTo>
                  <a:pt x="0" y="10000"/>
                </a:moveTo>
                <a:lnTo>
                  <a:pt x="0" y="0"/>
                </a:lnTo>
                <a:lnTo>
                  <a:pt x="0" y="10000"/>
                </a:lnTo>
                <a:close/>
              </a:path>
            </a:pathLst>
          </a:custGeom>
          <a:ln w="76200" cap="sq">
            <a:solidFill>
              <a:schemeClr val="tx2"/>
            </a:solidFill>
            <a:miter lim="800000"/>
          </a:ln>
        </p:spPr>
        <p:txBody>
          <a:bodyPr wrap="square" lIns="410400" anchor="t">
            <a:noAutofit/>
          </a:bodyPr>
          <a:lstStyle>
            <a:lvl1pPr>
              <a:lnSpc>
                <a:spcPct val="86000"/>
              </a:lnSpc>
              <a:defRPr sz="4400">
                <a:solidFill>
                  <a:schemeClr val="tx1"/>
                </a:solidFill>
              </a:defRPr>
            </a:lvl1pPr>
          </a:lstStyle>
          <a:p>
            <a:br>
              <a:rPr lang="en-US"/>
            </a:br>
            <a:r>
              <a:rPr lang="en-US"/>
              <a:t>Presentation title</a:t>
            </a:r>
          </a:p>
        </p:txBody>
      </p:sp>
      <p:sp>
        <p:nvSpPr>
          <p:cNvPr id="11" name="Infoline Title" descr="{&quot;templafy&quot;:{&quot;id&quot;:&quot;a5fe467c-0b12-4926-9044-81b425212dfc&quot;}}">
            <a:extLst>
              <a:ext uri="{FF2B5EF4-FFF2-40B4-BE49-F238E27FC236}">
                <a16:creationId xmlns:a16="http://schemas.microsoft.com/office/drawing/2014/main" id="{B72F7C80-699E-9367-6E82-B384780775BB}"/>
              </a:ext>
            </a:extLst>
          </p:cNvPr>
          <p:cNvSpPr>
            <a:spLocks noGrp="1"/>
          </p:cNvSpPr>
          <p:nvPr>
            <p:ph type="body" sz="quarter" idx="29" hasCustomPrompt="1"/>
          </p:nvPr>
        </p:nvSpPr>
        <p:spPr>
          <a:xfrm>
            <a:off x="6202800" y="3836738"/>
            <a:ext cx="6645600" cy="338400"/>
          </a:xfrm>
        </p:spPr>
        <p:txBody>
          <a:bodyPr lIns="410400" tIns="0" rIns="0" bIns="0"/>
          <a:lstStyle>
            <a:lvl1pPr marL="0" indent="0">
              <a:spcBef>
                <a:spcPts val="0"/>
              </a:spcBef>
              <a:buFontTx/>
              <a:buNone/>
              <a:defRPr sz="2200"/>
            </a:lvl1pPr>
          </a:lstStyle>
          <a:p>
            <a:pPr lvl="0"/>
            <a:r>
              <a:rPr lang="en-US"/>
              <a:t>&lt;&lt;Infoline&gt;&gt;</a:t>
            </a:r>
          </a:p>
        </p:txBody>
      </p:sp>
      <p:sp>
        <p:nvSpPr>
          <p:cNvPr id="2" name="Text Placeholder 13" descr="{&quot;templafy&quot;:{&quot;id&quot;:&quot;77767138-2b57-455a-a159-460d1a9043a3&quot;}}">
            <a:extLst>
              <a:ext uri="{FF2B5EF4-FFF2-40B4-BE49-F238E27FC236}">
                <a16:creationId xmlns:a16="http://schemas.microsoft.com/office/drawing/2014/main" id="{C4FF6101-C912-29C9-3B1A-A404C9780B5E}"/>
              </a:ext>
            </a:extLst>
          </p:cNvPr>
          <p:cNvSpPr>
            <a:spLocks noGrp="1"/>
          </p:cNvSpPr>
          <p:nvPr>
            <p:ph type="body" sz="quarter" idx="32" hasCustomPrompt="1"/>
          </p:nvPr>
        </p:nvSpPr>
        <p:spPr>
          <a:xfrm>
            <a:off x="6163200" y="5205576"/>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18" name="Text Placeholder 13" descr="{&quot;templafy&quot;:{&quot;id&quot;:&quot;bb519c36-70df-4fc8-b1be-2b07ccbdc843&quot;}}">
            <a:extLst>
              <a:ext uri="{FF2B5EF4-FFF2-40B4-BE49-F238E27FC236}">
                <a16:creationId xmlns:a16="http://schemas.microsoft.com/office/drawing/2014/main" id="{991FE8F2-7457-412C-7DDB-98D4B7DFA94F}"/>
              </a:ext>
            </a:extLst>
          </p:cNvPr>
          <p:cNvSpPr>
            <a:spLocks noGrp="1"/>
          </p:cNvSpPr>
          <p:nvPr>
            <p:ph type="body" sz="quarter" idx="34" hasCustomPrompt="1"/>
          </p:nvPr>
        </p:nvSpPr>
        <p:spPr>
          <a:xfrm>
            <a:off x="6163200" y="5457576"/>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4" name="Text Placeholder 13" descr="{&quot;templafy&quot;:{&quot;id&quot;:&quot;7d055371-9d08-4c0b-8a92-77f03411bb08&quot;}}">
            <a:extLst>
              <a:ext uri="{FF2B5EF4-FFF2-40B4-BE49-F238E27FC236}">
                <a16:creationId xmlns:a16="http://schemas.microsoft.com/office/drawing/2014/main" id="{F4DC9143-F6ED-A491-241A-AA772A4ACD7C}"/>
              </a:ext>
            </a:extLst>
          </p:cNvPr>
          <p:cNvSpPr>
            <a:spLocks noGrp="1"/>
          </p:cNvSpPr>
          <p:nvPr>
            <p:ph type="body" sz="quarter" idx="33" hasCustomPrompt="1"/>
          </p:nvPr>
        </p:nvSpPr>
        <p:spPr>
          <a:xfrm>
            <a:off x="6163200" y="5824128"/>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0" name="Text Placeholder 13" descr="{&quot;templafy&quot;:{&quot;id&quot;:&quot;8947ff2a-ac34-436f-8ea2-1cf000b5dfcf&quot;}}">
            <a:extLst>
              <a:ext uri="{FF2B5EF4-FFF2-40B4-BE49-F238E27FC236}">
                <a16:creationId xmlns:a16="http://schemas.microsoft.com/office/drawing/2014/main" id="{10DECFA6-F63F-280E-A663-BF397C421151}"/>
              </a:ext>
            </a:extLst>
          </p:cNvPr>
          <p:cNvSpPr>
            <a:spLocks noGrp="1"/>
          </p:cNvSpPr>
          <p:nvPr>
            <p:ph type="body" sz="quarter" idx="35" hasCustomPrompt="1"/>
          </p:nvPr>
        </p:nvSpPr>
        <p:spPr>
          <a:xfrm>
            <a:off x="6163200" y="6076128"/>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45" name="Date" descr="{&quot;templafy&quot;:{&quot;id&quot;:&quot;553f5c38-076b-46e3-9a64-deebea727cc3&quot;}}">
            <a:extLst>
              <a:ext uri="{FF2B5EF4-FFF2-40B4-BE49-F238E27FC236}">
                <a16:creationId xmlns:a16="http://schemas.microsoft.com/office/drawing/2014/main" id="{27FE5849-46CE-FBE7-2FFA-E48760372DAA}"/>
              </a:ext>
            </a:extLst>
          </p:cNvPr>
          <p:cNvSpPr>
            <a:spLocks noGrp="1"/>
          </p:cNvSpPr>
          <p:nvPr>
            <p:ph type="body" sz="quarter" idx="26" hasCustomPrompt="1"/>
          </p:nvPr>
        </p:nvSpPr>
        <p:spPr>
          <a:xfrm>
            <a:off x="6163056" y="6848856"/>
            <a:ext cx="1371600" cy="137160"/>
          </a:xfrm>
          <a:prstGeom prst="rect">
            <a:avLst/>
          </a:prstGeom>
        </p:spPr>
        <p:txBody>
          <a:bodyPr/>
          <a:lstStyle>
            <a:lvl1pPr marL="0" indent="0">
              <a:lnSpc>
                <a:spcPct val="100000"/>
              </a:lnSpc>
              <a:spcBef>
                <a:spcPts val="0"/>
              </a:spcBef>
              <a:buNone/>
              <a:defRPr sz="1100"/>
            </a:lvl1pPr>
            <a:lvl2pPr marL="191520" indent="0">
              <a:buNone/>
              <a:defRPr/>
            </a:lvl2pPr>
            <a:lvl3pPr marL="384048" indent="0">
              <a:buNone/>
              <a:defRPr/>
            </a:lvl3pPr>
            <a:lvl4pPr marL="576389" indent="0">
              <a:buNone/>
              <a:defRPr/>
            </a:lvl4pPr>
            <a:lvl5pPr marL="768413" indent="0">
              <a:buNone/>
              <a:defRPr/>
            </a:lvl5pPr>
          </a:lstStyle>
          <a:p>
            <a:pPr lvl="0"/>
            <a:r>
              <a:rPr lang="en-US"/>
              <a:t>&lt;&lt;Date&gt;&gt;</a:t>
            </a:r>
          </a:p>
        </p:txBody>
      </p:sp>
      <p:sp>
        <p:nvSpPr>
          <p:cNvPr id="6" name="LogoTab">
            <a:extLst>
              <a:ext uri="{FF2B5EF4-FFF2-40B4-BE49-F238E27FC236}">
                <a16:creationId xmlns:a16="http://schemas.microsoft.com/office/drawing/2014/main" id="{7B109929-033F-2DAB-6381-300AFF11DDBD}"/>
              </a:ext>
            </a:extLst>
          </p:cNvPr>
          <p:cNvSpPr/>
          <p:nvPr/>
        </p:nvSpPr>
        <p:spPr>
          <a:xfrm>
            <a:off x="10994400" y="6238800"/>
            <a:ext cx="2412000" cy="9288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pic>
        <p:nvPicPr>
          <p:cNvPr id="366507190" name="InsideLogo" descr="{&quot;templafy&quot;:{&quot;id&quot;:&quot;2db5c682-4b6b-47f4-8bdf-5cb3e750fc31&quot;}}"/>
          <p:cNvPicPr>
            <a:picLocks noChangeAspect="1"/>
          </p:cNvPicPr>
          <p:nvPr/>
        </p:nvPicPr>
        <p:blipFill>
          <a:blip r:embed="rId7"/>
          <a:stretch>
            <a:fillRect/>
          </a:stretch>
        </p:blipFill>
        <p:spPr>
          <a:xfrm>
            <a:off x="11271600" y="6429600"/>
            <a:ext cx="1569612" cy="558000"/>
          </a:xfrm>
          <a:prstGeom prst="rect">
            <a:avLst/>
          </a:prstGeom>
        </p:spPr>
      </p:pic>
      <p:sp>
        <p:nvSpPr>
          <p:cNvPr id="9" name="Picture Placeholder 4">
            <a:extLst>
              <a:ext uri="{FF2B5EF4-FFF2-40B4-BE49-F238E27FC236}">
                <a16:creationId xmlns:a16="http://schemas.microsoft.com/office/drawing/2014/main" id="{3D1B3946-02D8-5A92-B350-5C91AC5F08EB}"/>
              </a:ext>
              <a:ext uri="{C183D7F6-B498-43B3-948B-1728B52AA6E4}">
                <adec:decorative xmlns:adec="http://schemas.microsoft.com/office/drawing/2017/decorative" val="1"/>
              </a:ext>
            </a:extLst>
          </p:cNvPr>
          <p:cNvSpPr>
            <a:spLocks noGrp="1"/>
          </p:cNvSpPr>
          <p:nvPr>
            <p:ph type="pic" sz="quarter" idx="20" hasCustomPrompt="1"/>
          </p:nvPr>
        </p:nvSpPr>
        <p:spPr>
          <a:xfrm>
            <a:off x="0" y="0"/>
            <a:ext cx="13404850" cy="7543800"/>
          </a:xfrm>
          <a:custGeom>
            <a:avLst/>
            <a:gdLst>
              <a:gd name="connsiteX0" fmla="*/ 5888736 w 13404850"/>
              <a:gd name="connsiteY0" fmla="*/ 1700784 h 7543800"/>
              <a:gd name="connsiteX1" fmla="*/ 5888736 w 13404850"/>
              <a:gd name="connsiteY1" fmla="*/ 7178040 h 7543800"/>
              <a:gd name="connsiteX2" fmla="*/ 13120370 w 13404850"/>
              <a:gd name="connsiteY2" fmla="*/ 7178040 h 7543800"/>
              <a:gd name="connsiteX3" fmla="*/ 13120370 w 13404850"/>
              <a:gd name="connsiteY3" fmla="*/ 1700784 h 7543800"/>
              <a:gd name="connsiteX4" fmla="*/ 0 w 13404850"/>
              <a:gd name="connsiteY4" fmla="*/ 0 h 7543800"/>
              <a:gd name="connsiteX5" fmla="*/ 13404850 w 13404850"/>
              <a:gd name="connsiteY5" fmla="*/ 0 h 7543800"/>
              <a:gd name="connsiteX6" fmla="*/ 13404850 w 13404850"/>
              <a:gd name="connsiteY6" fmla="*/ 7543800 h 7543800"/>
              <a:gd name="connsiteX7" fmla="*/ 0 w 13404850"/>
              <a:gd name="connsiteY7" fmla="*/ 7543800 h 754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4850" h="7543800">
                <a:moveTo>
                  <a:pt x="5888736" y="1700784"/>
                </a:moveTo>
                <a:lnTo>
                  <a:pt x="5888736" y="7178040"/>
                </a:lnTo>
                <a:lnTo>
                  <a:pt x="13120370" y="7178040"/>
                </a:lnTo>
                <a:lnTo>
                  <a:pt x="13120370" y="1700784"/>
                </a:lnTo>
                <a:close/>
                <a:moveTo>
                  <a:pt x="0" y="0"/>
                </a:moveTo>
                <a:lnTo>
                  <a:pt x="13404850" y="0"/>
                </a:lnTo>
                <a:lnTo>
                  <a:pt x="13404850" y="7543800"/>
                </a:lnTo>
                <a:lnTo>
                  <a:pt x="0" y="7543800"/>
                </a:lnTo>
                <a:close/>
              </a:path>
            </a:pathLst>
          </a:custGeom>
          <a:solidFill>
            <a:srgbClr val="CCCABC"/>
          </a:solidFill>
        </p:spPr>
        <p:txBody>
          <a:bodyPr wrap="square" lIns="972000" tIns="0" anchor="ctr" anchorCtr="0">
            <a:noAutofit/>
          </a:bodyPr>
          <a:lstStyle>
            <a:lvl1pPr marL="0" indent="0" algn="l">
              <a:buNone/>
              <a:defRPr/>
            </a:lvl1pPr>
          </a:lstStyle>
          <a:p>
            <a:r>
              <a:rPr lang="en-US"/>
              <a:t>Please drag &amp; drop and image here</a:t>
            </a:r>
          </a:p>
        </p:txBody>
      </p:sp>
      <p:sp>
        <p:nvSpPr>
          <p:cNvPr id="15" name="TemplafyBrandVersion" hidden="1">
            <a:extLst>
              <a:ext uri="{FF2B5EF4-FFF2-40B4-BE49-F238E27FC236}">
                <a16:creationId xmlns:a16="http://schemas.microsoft.com/office/drawing/2014/main" id="{ECB9A7C9-AC69-AD83-E2A9-852C77A6122F}"/>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16" name="Object 15" hidden="1">
            <a:extLst>
              <a:ext uri="{FF2B5EF4-FFF2-40B4-BE49-F238E27FC236}">
                <a16:creationId xmlns:a16="http://schemas.microsoft.com/office/drawing/2014/main" id="{A5B6BC23-A61F-2DF0-D87D-F22561CE948A}"/>
              </a:ext>
            </a:extLst>
          </p:cNvPr>
          <p:cNvGraphicFramePr>
            <a:graphicFrameLocks noChangeAspect="1"/>
          </p:cNvGraphicFramePr>
          <p:nvPr>
            <p:custDataLst>
              <p:tags r:id="rId3"/>
            </p:custDataLst>
            <p:extLst>
              <p:ext uri="{D42A27DB-BD31-4B8C-83A1-F6EECF244321}">
                <p14:modId xmlns:p14="http://schemas.microsoft.com/office/powerpoint/2010/main" val="382702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6" name="Object 15" hidden="1">
                        <a:extLst>
                          <a:ext uri="{FF2B5EF4-FFF2-40B4-BE49-F238E27FC236}">
                            <a16:creationId xmlns:a16="http://schemas.microsoft.com/office/drawing/2014/main" id="{A5B6BC23-A61F-2DF0-D87D-F22561CE948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7" name="Object 16" hidden="1">
            <a:extLst>
              <a:ext uri="{FF2B5EF4-FFF2-40B4-BE49-F238E27FC236}">
                <a16:creationId xmlns:a16="http://schemas.microsoft.com/office/drawing/2014/main" id="{B9968FBA-BCC1-615A-5798-7D413AA99918}"/>
              </a:ext>
            </a:extLst>
          </p:cNvPr>
          <p:cNvGraphicFramePr>
            <a:graphicFrameLocks noChangeAspect="1"/>
          </p:cNvGraphicFramePr>
          <p:nvPr>
            <p:custDataLst>
              <p:tags r:id="rId4"/>
            </p:custDataLst>
            <p:extLst>
              <p:ext uri="{D42A27DB-BD31-4B8C-83A1-F6EECF244321}">
                <p14:modId xmlns:p14="http://schemas.microsoft.com/office/powerpoint/2010/main" val="3549266623"/>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7" name="Object 16" hidden="1">
                        <a:extLst>
                          <a:ext uri="{FF2B5EF4-FFF2-40B4-BE49-F238E27FC236}">
                            <a16:creationId xmlns:a16="http://schemas.microsoft.com/office/drawing/2014/main" id="{B9968FBA-BCC1-615A-5798-7D413AA99918}"/>
                          </a:ext>
                        </a:extLst>
                      </p:cNvPr>
                      <p:cNvPicPr/>
                      <p:nvPr/>
                    </p:nvPicPr>
                    <p:blipFill>
                      <a:blip r:embed="rId9"/>
                      <a:stretch>
                        <a:fillRect/>
                      </a:stretch>
                    </p:blipFill>
                    <p:spPr>
                      <a:xfrm>
                        <a:off x="153988" y="153988"/>
                        <a:ext cx="1588" cy="1588"/>
                      </a:xfrm>
                      <a:prstGeom prst="rect">
                        <a:avLst/>
                      </a:prstGeom>
                    </p:spPr>
                  </p:pic>
                </p:oleObj>
              </mc:Fallback>
            </mc:AlternateContent>
          </a:graphicData>
        </a:graphic>
      </p:graphicFrame>
      <p:graphicFrame>
        <p:nvGraphicFramePr>
          <p:cNvPr id="19" name="Object 18" hidden="1">
            <a:extLst>
              <a:ext uri="{FF2B5EF4-FFF2-40B4-BE49-F238E27FC236}">
                <a16:creationId xmlns:a16="http://schemas.microsoft.com/office/drawing/2014/main" id="{33DD8A0E-77A9-64A4-532D-E9F160D78F3B}"/>
              </a:ext>
            </a:extLst>
          </p:cNvPr>
          <p:cNvGraphicFramePr>
            <a:graphicFrameLocks noChangeAspect="1"/>
          </p:cNvGraphicFramePr>
          <p:nvPr>
            <p:custDataLst>
              <p:tags r:id="rId5"/>
            </p:custDataLst>
            <p:extLst>
              <p:ext uri="{D42A27DB-BD31-4B8C-83A1-F6EECF244321}">
                <p14:modId xmlns:p14="http://schemas.microsoft.com/office/powerpoint/2010/main" val="861102617"/>
              </p:ext>
            </p:ext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9" name="Object 18" hidden="1">
                        <a:extLst>
                          <a:ext uri="{FF2B5EF4-FFF2-40B4-BE49-F238E27FC236}">
                            <a16:creationId xmlns:a16="http://schemas.microsoft.com/office/drawing/2014/main" id="{33DD8A0E-77A9-64A4-532D-E9F160D78F3B}"/>
                          </a:ext>
                        </a:extLst>
                      </p:cNvPr>
                      <p:cNvPicPr/>
                      <p:nvPr/>
                    </p:nvPicPr>
                    <p:blipFill>
                      <a:blip r:embed="rId9"/>
                      <a:stretch>
                        <a:fillRect/>
                      </a:stretch>
                    </p:blipFill>
                    <p:spPr>
                      <a:xfrm>
                        <a:off x="306388" y="3063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93602745"/>
      </p:ext>
    </p:extLst>
  </p:cSld>
  <p:clrMapOvr>
    <a:masterClrMapping/>
  </p:clrMapOvr>
  <p:extLst>
    <p:ext uri="{DCECCB84-F9BA-43D5-87BE-67443E8EF086}">
      <p15:sldGuideLst xmlns:p15="http://schemas.microsoft.com/office/powerpoint/2012/main">
        <p15:guide id="1" pos="388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894D0CC-EB69-D66F-990E-E8EEEF80668E}"/>
              </a:ext>
              <a:ext uri="{C183D7F6-B498-43B3-948B-1728B52AA6E4}">
                <adec:decorative xmlns:adec="http://schemas.microsoft.com/office/drawing/2017/decorative" val="1"/>
              </a:ext>
            </a:extLst>
          </p:cNvPr>
          <p:cNvSpPr>
            <a:spLocks noGrp="1"/>
          </p:cNvSpPr>
          <p:nvPr>
            <p:ph type="pic" sz="quarter" idx="20"/>
          </p:nvPr>
        </p:nvSpPr>
        <p:spPr>
          <a:xfrm>
            <a:off x="557784" y="3337560"/>
            <a:ext cx="12847066" cy="4206240"/>
          </a:xfrm>
          <a:custGeom>
            <a:avLst/>
            <a:gdLst>
              <a:gd name="connsiteX0" fmla="*/ 0 w 12847066"/>
              <a:gd name="connsiteY0" fmla="*/ 0 h 4206240"/>
              <a:gd name="connsiteX1" fmla="*/ 12847066 w 12847066"/>
              <a:gd name="connsiteY1" fmla="*/ 0 h 4206240"/>
              <a:gd name="connsiteX2" fmla="*/ 12847066 w 12847066"/>
              <a:gd name="connsiteY2" fmla="*/ 2901240 h 4206240"/>
              <a:gd name="connsiteX3" fmla="*/ 10436616 w 12847066"/>
              <a:gd name="connsiteY3" fmla="*/ 2901240 h 4206240"/>
              <a:gd name="connsiteX4" fmla="*/ 10436616 w 12847066"/>
              <a:gd name="connsiteY4" fmla="*/ 3830040 h 4206240"/>
              <a:gd name="connsiteX5" fmla="*/ 12847066 w 12847066"/>
              <a:gd name="connsiteY5" fmla="*/ 3830040 h 4206240"/>
              <a:gd name="connsiteX6" fmla="*/ 12847066 w 12847066"/>
              <a:gd name="connsiteY6" fmla="*/ 4206240 h 4206240"/>
              <a:gd name="connsiteX7" fmla="*/ 0 w 12847066"/>
              <a:gd name="connsiteY7" fmla="*/ 4206240 h 420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7066" h="4206240">
                <a:moveTo>
                  <a:pt x="0" y="0"/>
                </a:moveTo>
                <a:lnTo>
                  <a:pt x="12847066" y="0"/>
                </a:lnTo>
                <a:lnTo>
                  <a:pt x="12847066" y="2901240"/>
                </a:lnTo>
                <a:lnTo>
                  <a:pt x="10436616" y="2901240"/>
                </a:lnTo>
                <a:lnTo>
                  <a:pt x="10436616" y="3830040"/>
                </a:lnTo>
                <a:lnTo>
                  <a:pt x="12847066" y="3830040"/>
                </a:lnTo>
                <a:lnTo>
                  <a:pt x="12847066" y="4206240"/>
                </a:lnTo>
                <a:lnTo>
                  <a:pt x="0" y="4206240"/>
                </a:lnTo>
                <a:close/>
              </a:path>
            </a:pathLst>
          </a:custGeom>
          <a:solidFill>
            <a:srgbClr val="CCCABC"/>
          </a:solidFill>
        </p:spPr>
        <p:txBody>
          <a:bodyPr wrap="square" tIns="720000" anchor="t" anchorCtr="1">
            <a:noAutofit/>
          </a:bodyPr>
          <a:lstStyle>
            <a:lvl1pPr marL="0" indent="0" algn="ctr">
              <a:buNone/>
              <a:defRPr/>
            </a:lvl1pPr>
          </a:lstStyle>
          <a:p>
            <a:r>
              <a:rPr lang="en-US"/>
              <a:t>Click icon to add picture</a:t>
            </a:r>
          </a:p>
        </p:txBody>
      </p:sp>
      <p:sp>
        <p:nvSpPr>
          <p:cNvPr id="3" name="text" descr="{&quot;templafy&quot;:{&quot;id&quot;:&quot;85924214-3228-402a-8565-70a819330684&quot;}}" hidden="1" title="Translations.Draft">
            <a:extLst>
              <a:ext uri="{FF2B5EF4-FFF2-40B4-BE49-F238E27FC236}">
                <a16:creationId xmlns:a16="http://schemas.microsoft.com/office/drawing/2014/main" id="{AEC7BDD1-ACDC-7A7F-4987-FB19E3D95F7C}"/>
              </a:ext>
            </a:extLst>
          </p:cNvPr>
          <p:cNvSpPr txBox="1"/>
          <p:nvPr>
            <p:custDataLst>
              <p:tags r:id="rId1"/>
            </p:custDataLst>
          </p:nvPr>
        </p:nvSpPr>
        <p:spPr>
          <a:xfrm>
            <a:off x="507600" y="252000"/>
            <a:ext cx="824400" cy="1836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400" b="1" i="0" u="none" baseline="0">
                <a:solidFill>
                  <a:schemeClr val="tx2"/>
                </a:solidFill>
                <a:latin typeface="+mn-lt"/>
              </a:rPr>
              <a:t>Draft</a:t>
            </a:r>
          </a:p>
        </p:txBody>
      </p:sp>
      <p:sp>
        <p:nvSpPr>
          <p:cNvPr id="5" name="Classification Tag" descr="{&quot;templafy&quot;:{&quot;id&quot;:&quot;34b88d2b-ab78-4458-916f-e22255feaccd&quot;}}">
            <a:extLst>
              <a:ext uri="{FF2B5EF4-FFF2-40B4-BE49-F238E27FC236}">
                <a16:creationId xmlns:a16="http://schemas.microsoft.com/office/drawing/2014/main" id="{95042CD5-0099-BEFD-E053-94659FD12BEC}"/>
              </a:ext>
            </a:extLst>
          </p:cNvPr>
          <p:cNvSpPr txBox="1"/>
          <p:nvPr userDrawn="1">
            <p:custDataLst>
              <p:tags r:id="rId2"/>
            </p:custDataLst>
          </p:nvPr>
        </p:nvSpPr>
        <p:spPr>
          <a:xfrm>
            <a:off x="2376000" y="6851015"/>
            <a:ext cx="1554480" cy="136400"/>
          </a:xfrm>
          <a:prstGeom prst="rect">
            <a:avLst/>
          </a:prstGeom>
        </p:spPr>
        <p:txBody>
          <a:bodyPr vert="horz" lIns="0" tIns="0" rIns="0" bIns="0" rtlCol="0">
            <a:noAutofit/>
          </a:bodyPr>
          <a:lstStyle>
            <a:lvl1pPr marL="0" marR="0" lvl="0" indent="0" defTabSz="1005505" eaLnBrk="1" fontAlgn="auto" latinLnBrk="0" hangingPunct="1">
              <a:lnSpc>
                <a:spcPct val="100000"/>
              </a:lnSpc>
              <a:spcBef>
                <a:spcPts val="0"/>
              </a:spcBef>
              <a:spcAft>
                <a:spcPts val="0"/>
              </a:spcAft>
              <a:buClr>
                <a:schemeClr val="tx1"/>
              </a:buClr>
              <a:buSzPct val="75000"/>
              <a:buFont typeface="Wingdings 2" panose="05020102010507070707" pitchFamily="18" charset="2"/>
              <a:buNone/>
              <a:tabLst/>
              <a:defRPr lang="en-US" sz="1100" b="0" kern="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10" name="Keyline Title" descr="{&quot;templafy&quot;:{&quot;id&quot;:&quot;42073ede-d443-44ef-9256-cba2cd379d13&quot;}}">
            <a:extLst>
              <a:ext uri="{FF2B5EF4-FFF2-40B4-BE49-F238E27FC236}">
                <a16:creationId xmlns:a16="http://schemas.microsoft.com/office/drawing/2014/main" id="{BF762222-9FDD-86AE-CA1A-3D24EDF9981F}"/>
              </a:ext>
            </a:extLst>
          </p:cNvPr>
          <p:cNvSpPr>
            <a:spLocks noGrp="1"/>
          </p:cNvSpPr>
          <p:nvPr>
            <p:ph type="title" hasCustomPrompt="1"/>
          </p:nvPr>
        </p:nvSpPr>
        <p:spPr>
          <a:xfrm>
            <a:off x="581978" y="548640"/>
            <a:ext cx="10688400" cy="1183695"/>
          </a:xfrm>
          <a:custGeom>
            <a:avLst/>
            <a:gdLst>
              <a:gd name="connsiteX0" fmla="*/ 0 w 12313368"/>
              <a:gd name="connsiteY0" fmla="*/ 0 h 495300"/>
              <a:gd name="connsiteX1" fmla="*/ 12313368 w 12313368"/>
              <a:gd name="connsiteY1" fmla="*/ 0 h 495300"/>
              <a:gd name="connsiteX2" fmla="*/ 12313368 w 12313368"/>
              <a:gd name="connsiteY2" fmla="*/ 495300 h 495300"/>
              <a:gd name="connsiteX3" fmla="*/ 0 w 12313368"/>
              <a:gd name="connsiteY3" fmla="*/ 495300 h 495300"/>
              <a:gd name="connsiteX4" fmla="*/ 0 w 12313368"/>
              <a:gd name="connsiteY4" fmla="*/ 0 h 495300"/>
              <a:gd name="connsiteX0" fmla="*/ 12313368 w 12404808"/>
              <a:gd name="connsiteY0" fmla="*/ 495300 h 495300"/>
              <a:gd name="connsiteX1" fmla="*/ 0 w 12404808"/>
              <a:gd name="connsiteY1" fmla="*/ 495300 h 495300"/>
              <a:gd name="connsiteX2" fmla="*/ 0 w 12404808"/>
              <a:gd name="connsiteY2" fmla="*/ 0 h 495300"/>
              <a:gd name="connsiteX3" fmla="*/ 12404808 w 12404808"/>
              <a:gd name="connsiteY3" fmla="*/ 91440 h 495300"/>
              <a:gd name="connsiteX0" fmla="*/ 12313368 w 12313368"/>
              <a:gd name="connsiteY0" fmla="*/ 495300 h 495300"/>
              <a:gd name="connsiteX1" fmla="*/ 0 w 12313368"/>
              <a:gd name="connsiteY1" fmla="*/ 495300 h 495300"/>
              <a:gd name="connsiteX2" fmla="*/ 0 w 12313368"/>
              <a:gd name="connsiteY2" fmla="*/ 0 h 495300"/>
              <a:gd name="connsiteX0" fmla="*/ 0 w 0"/>
              <a:gd name="connsiteY0" fmla="*/ 495300 h 495300"/>
              <a:gd name="connsiteX1" fmla="*/ 0 w 0"/>
              <a:gd name="connsiteY1" fmla="*/ 0 h 495300"/>
              <a:gd name="connsiteX0" fmla="*/ 0 w 0"/>
              <a:gd name="connsiteY0" fmla="*/ 10000 h 10000"/>
              <a:gd name="connsiteX1" fmla="*/ 0 w 0"/>
              <a:gd name="connsiteY1" fmla="*/ 0 h 10000"/>
              <a:gd name="connsiteX2" fmla="*/ 0 w 0"/>
              <a:gd name="connsiteY2" fmla="*/ 10000 h 10000"/>
            </a:gdLst>
            <a:ahLst/>
            <a:cxnLst>
              <a:cxn ang="0">
                <a:pos x="connsiteX0" y="connsiteY0"/>
              </a:cxn>
              <a:cxn ang="0">
                <a:pos x="connsiteX1" y="connsiteY1"/>
              </a:cxn>
              <a:cxn ang="0">
                <a:pos x="connsiteX2" y="connsiteY2"/>
              </a:cxn>
            </a:cxnLst>
            <a:rect l="l" t="t" r="r" b="b"/>
            <a:pathLst>
              <a:path h="10000">
                <a:moveTo>
                  <a:pt x="0" y="10000"/>
                </a:moveTo>
                <a:lnTo>
                  <a:pt x="0" y="0"/>
                </a:lnTo>
                <a:lnTo>
                  <a:pt x="0" y="10000"/>
                </a:lnTo>
                <a:close/>
              </a:path>
            </a:pathLst>
          </a:custGeom>
          <a:ln w="76200" cap="sq">
            <a:solidFill>
              <a:schemeClr val="tx2"/>
            </a:solidFill>
            <a:miter lim="800000"/>
          </a:ln>
        </p:spPr>
        <p:txBody>
          <a:bodyPr wrap="square" lIns="410400" anchor="t" anchorCtr="0">
            <a:noAutofit/>
          </a:bodyPr>
          <a:lstStyle>
            <a:lvl1pPr>
              <a:lnSpc>
                <a:spcPct val="86000"/>
              </a:lnSpc>
              <a:defRPr sz="4400">
                <a:solidFill>
                  <a:schemeClr val="tx1"/>
                </a:solidFill>
              </a:defRPr>
            </a:lvl1pPr>
          </a:lstStyle>
          <a:p>
            <a:br>
              <a:rPr lang="en-US"/>
            </a:br>
            <a:r>
              <a:rPr lang="en-US"/>
              <a:t>Presentation title</a:t>
            </a:r>
          </a:p>
        </p:txBody>
      </p:sp>
      <p:sp>
        <p:nvSpPr>
          <p:cNvPr id="13" name="Infoline Title" descr="{&quot;templafy&quot;:{&quot;id&quot;:&quot;248c9d17-f531-4785-bc71-c15184ecb101&quot;}}">
            <a:extLst>
              <a:ext uri="{FF2B5EF4-FFF2-40B4-BE49-F238E27FC236}">
                <a16:creationId xmlns:a16="http://schemas.microsoft.com/office/drawing/2014/main" id="{1F73D99A-04EE-37F4-D0F1-B9D9BFDD036D}"/>
              </a:ext>
            </a:extLst>
          </p:cNvPr>
          <p:cNvSpPr>
            <a:spLocks noGrp="1"/>
          </p:cNvSpPr>
          <p:nvPr>
            <p:ph type="body" sz="quarter" idx="29" hasCustomPrompt="1"/>
          </p:nvPr>
        </p:nvSpPr>
        <p:spPr>
          <a:xfrm>
            <a:off x="583200" y="1397535"/>
            <a:ext cx="10625040" cy="334800"/>
          </a:xfrm>
        </p:spPr>
        <p:txBody>
          <a:bodyPr lIns="410400" tIns="0" rIns="0" bIns="0"/>
          <a:lstStyle>
            <a:lvl1pPr marL="0" indent="0">
              <a:spcBef>
                <a:spcPts val="0"/>
              </a:spcBef>
              <a:buFontTx/>
              <a:buNone/>
              <a:defRPr sz="2200"/>
            </a:lvl1pPr>
          </a:lstStyle>
          <a:p>
            <a:pPr lvl="0"/>
            <a:r>
              <a:rPr lang="en-US"/>
              <a:t>&lt;&lt;Infoline&gt;&gt;</a:t>
            </a:r>
          </a:p>
        </p:txBody>
      </p:sp>
      <p:sp>
        <p:nvSpPr>
          <p:cNvPr id="12" name="Text Placeholder 13" descr="{&quot;templafy&quot;:{&quot;id&quot;:&quot;8a1f154f-7123-428a-a6c1-92d84fcadd19&quot;}}">
            <a:extLst>
              <a:ext uri="{FF2B5EF4-FFF2-40B4-BE49-F238E27FC236}">
                <a16:creationId xmlns:a16="http://schemas.microsoft.com/office/drawing/2014/main" id="{9E029418-75C4-1873-D494-A8244E523477}"/>
              </a:ext>
            </a:extLst>
          </p:cNvPr>
          <p:cNvSpPr>
            <a:spLocks noGrp="1"/>
          </p:cNvSpPr>
          <p:nvPr>
            <p:ph type="body" sz="quarter" idx="30" hasCustomPrompt="1"/>
          </p:nvPr>
        </p:nvSpPr>
        <p:spPr>
          <a:xfrm>
            <a:off x="547688" y="22644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0" name="Text Placeholder 13" descr="{&quot;templafy&quot;:{&quot;id&quot;:&quot;ac1e810e-abfe-4d06-9757-2f754d25383f&quot;}}">
            <a:extLst>
              <a:ext uri="{FF2B5EF4-FFF2-40B4-BE49-F238E27FC236}">
                <a16:creationId xmlns:a16="http://schemas.microsoft.com/office/drawing/2014/main" id="{2A0AA444-4120-DB1C-A8B2-0A45BA0439D7}"/>
              </a:ext>
            </a:extLst>
          </p:cNvPr>
          <p:cNvSpPr>
            <a:spLocks noGrp="1"/>
          </p:cNvSpPr>
          <p:nvPr>
            <p:ph type="body" sz="quarter" idx="36" hasCustomPrompt="1"/>
          </p:nvPr>
        </p:nvSpPr>
        <p:spPr>
          <a:xfrm>
            <a:off x="548640" y="25164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4" name="Text Placeholder 13" descr="{&quot;templafy&quot;:{&quot;id&quot;:&quot;81900973-614c-4d7b-8291-7580cdf3301a&quot;}}">
            <a:extLst>
              <a:ext uri="{FF2B5EF4-FFF2-40B4-BE49-F238E27FC236}">
                <a16:creationId xmlns:a16="http://schemas.microsoft.com/office/drawing/2014/main" id="{92BF4981-23E5-75C0-89CF-73606F514291}"/>
              </a:ext>
            </a:extLst>
          </p:cNvPr>
          <p:cNvSpPr>
            <a:spLocks noGrp="1"/>
          </p:cNvSpPr>
          <p:nvPr>
            <p:ph type="body" sz="quarter" idx="34" hasCustomPrompt="1"/>
          </p:nvPr>
        </p:nvSpPr>
        <p:spPr>
          <a:xfrm>
            <a:off x="4146529" y="22644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1" name="Text Placeholder 13" descr="{&quot;templafy&quot;:{&quot;id&quot;:&quot;e9ab72ad-8237-410c-8544-405e8c6150a6&quot;}}">
            <a:extLst>
              <a:ext uri="{FF2B5EF4-FFF2-40B4-BE49-F238E27FC236}">
                <a16:creationId xmlns:a16="http://schemas.microsoft.com/office/drawing/2014/main" id="{A4B240BA-2ED0-A028-364F-C8AC06485AF4}"/>
              </a:ext>
            </a:extLst>
          </p:cNvPr>
          <p:cNvSpPr>
            <a:spLocks noGrp="1"/>
          </p:cNvSpPr>
          <p:nvPr>
            <p:ph type="body" sz="quarter" idx="37" hasCustomPrompt="1"/>
          </p:nvPr>
        </p:nvSpPr>
        <p:spPr>
          <a:xfrm>
            <a:off x="4146529" y="25164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5" name="Text Placeholder 13" descr="{&quot;templafy&quot;:{&quot;id&quot;:&quot;38f6cf7c-4d81-49ab-9573-ac5c765abc68&quot;}}">
            <a:extLst>
              <a:ext uri="{FF2B5EF4-FFF2-40B4-BE49-F238E27FC236}">
                <a16:creationId xmlns:a16="http://schemas.microsoft.com/office/drawing/2014/main" id="{15572E8E-7D20-7F79-356E-C168CAC16EFB}"/>
              </a:ext>
            </a:extLst>
          </p:cNvPr>
          <p:cNvSpPr>
            <a:spLocks noGrp="1"/>
          </p:cNvSpPr>
          <p:nvPr>
            <p:ph type="body" sz="quarter" idx="35" hasCustomPrompt="1"/>
          </p:nvPr>
        </p:nvSpPr>
        <p:spPr>
          <a:xfrm>
            <a:off x="7746541" y="22644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2" name="Text Placeholder 13" descr="{&quot;templafy&quot;:{&quot;id&quot;:&quot;a5cc9d49-b78e-45b5-85db-668919f7b451&quot;}}">
            <a:extLst>
              <a:ext uri="{FF2B5EF4-FFF2-40B4-BE49-F238E27FC236}">
                <a16:creationId xmlns:a16="http://schemas.microsoft.com/office/drawing/2014/main" id="{3BB63091-ADBF-A665-B58A-05410316BCA3}"/>
              </a:ext>
            </a:extLst>
          </p:cNvPr>
          <p:cNvSpPr>
            <a:spLocks noGrp="1"/>
          </p:cNvSpPr>
          <p:nvPr>
            <p:ph type="body" sz="quarter" idx="38" hasCustomPrompt="1"/>
          </p:nvPr>
        </p:nvSpPr>
        <p:spPr>
          <a:xfrm>
            <a:off x="7746541" y="25164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1" name="Date" descr="{&quot;templafy&quot;:{&quot;id&quot;:&quot;8d4d1255-0a45-47ec-b69d-11aa066dd2d1&quot;}}">
            <a:extLst>
              <a:ext uri="{FF2B5EF4-FFF2-40B4-BE49-F238E27FC236}">
                <a16:creationId xmlns:a16="http://schemas.microsoft.com/office/drawing/2014/main" id="{BB4D4232-CAD3-2C5F-973E-A8E640FAB76C}"/>
              </a:ext>
            </a:extLst>
          </p:cNvPr>
          <p:cNvSpPr>
            <a:spLocks noGrp="1"/>
          </p:cNvSpPr>
          <p:nvPr>
            <p:ph type="body" sz="quarter" idx="26" hasCustomPrompt="1"/>
          </p:nvPr>
        </p:nvSpPr>
        <p:spPr>
          <a:xfrm>
            <a:off x="832104" y="6852517"/>
            <a:ext cx="1371600" cy="137160"/>
          </a:xfrm>
          <a:prstGeom prst="rect">
            <a:avLst/>
          </a:prstGeom>
        </p:spPr>
        <p:txBody>
          <a:bodyPr/>
          <a:lstStyle>
            <a:lvl1pPr marL="0" indent="0">
              <a:lnSpc>
                <a:spcPct val="100000"/>
              </a:lnSpc>
              <a:spcBef>
                <a:spcPts val="0"/>
              </a:spcBef>
              <a:buNone/>
              <a:defRPr sz="1100"/>
            </a:lvl1pPr>
            <a:lvl2pPr marL="191520" indent="0">
              <a:buNone/>
              <a:defRPr/>
            </a:lvl2pPr>
            <a:lvl3pPr marL="384048" indent="0">
              <a:buNone/>
              <a:defRPr/>
            </a:lvl3pPr>
            <a:lvl4pPr marL="576389" indent="0">
              <a:buNone/>
              <a:defRPr/>
            </a:lvl4pPr>
            <a:lvl5pPr marL="768413" indent="0">
              <a:buNone/>
              <a:defRPr/>
            </a:lvl5pPr>
          </a:lstStyle>
          <a:p>
            <a:pPr lvl="0"/>
            <a:r>
              <a:rPr lang="en-US"/>
              <a:t>&lt;&lt;Date&gt;&gt;</a:t>
            </a:r>
          </a:p>
        </p:txBody>
      </p:sp>
      <p:sp>
        <p:nvSpPr>
          <p:cNvPr id="6" name="LogoTab">
            <a:extLst>
              <a:ext uri="{FF2B5EF4-FFF2-40B4-BE49-F238E27FC236}">
                <a16:creationId xmlns:a16="http://schemas.microsoft.com/office/drawing/2014/main" id="{58D6E9D5-E36D-37FF-0E46-CE6B36A1182B}"/>
              </a:ext>
            </a:extLst>
          </p:cNvPr>
          <p:cNvSpPr/>
          <p:nvPr/>
        </p:nvSpPr>
        <p:spPr>
          <a:xfrm>
            <a:off x="10994400" y="6238800"/>
            <a:ext cx="2412000" cy="9288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pic>
        <p:nvPicPr>
          <p:cNvPr id="1180022440" name="InsideLogo" descr="{&quot;templafy&quot;:{&quot;id&quot;:&quot;64d0583d-10dd-4588-85ee-ec499d85dd77&quot;}}"/>
          <p:cNvPicPr>
            <a:picLocks noChangeAspect="1"/>
          </p:cNvPicPr>
          <p:nvPr/>
        </p:nvPicPr>
        <p:blipFill>
          <a:blip r:embed="rId7"/>
          <a:stretch>
            <a:fillRect/>
          </a:stretch>
        </p:blipFill>
        <p:spPr>
          <a:xfrm>
            <a:off x="11271600" y="6429600"/>
            <a:ext cx="1569612" cy="558000"/>
          </a:xfrm>
          <a:prstGeom prst="rect">
            <a:avLst/>
          </a:prstGeom>
        </p:spPr>
      </p:pic>
      <p:sp>
        <p:nvSpPr>
          <p:cNvPr id="16" name="TemplafyBrandVersion" hidden="1">
            <a:extLst>
              <a:ext uri="{FF2B5EF4-FFF2-40B4-BE49-F238E27FC236}">
                <a16:creationId xmlns:a16="http://schemas.microsoft.com/office/drawing/2014/main" id="{0E326214-7356-A7C0-7259-5EF3C94725AF}"/>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graphicFrame>
        <p:nvGraphicFramePr>
          <p:cNvPr id="17" name="Object 16" hidden="1">
            <a:extLst>
              <a:ext uri="{FF2B5EF4-FFF2-40B4-BE49-F238E27FC236}">
                <a16:creationId xmlns:a16="http://schemas.microsoft.com/office/drawing/2014/main" id="{AB821DEB-EB8B-CB23-B2AD-249A49AF125E}"/>
              </a:ext>
            </a:extLst>
          </p:cNvPr>
          <p:cNvGraphicFramePr>
            <a:graphicFrameLocks noChangeAspect="1"/>
          </p:cNvGraphicFramePr>
          <p:nvPr>
            <p:custDataLst>
              <p:tags r:id="rId3"/>
            </p:custDataLst>
            <p:extLst>
              <p:ext uri="{D42A27DB-BD31-4B8C-83A1-F6EECF244321}">
                <p14:modId xmlns:p14="http://schemas.microsoft.com/office/powerpoint/2010/main" val="2222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7" name="Object 16" hidden="1">
                        <a:extLst>
                          <a:ext uri="{FF2B5EF4-FFF2-40B4-BE49-F238E27FC236}">
                            <a16:creationId xmlns:a16="http://schemas.microsoft.com/office/drawing/2014/main" id="{AB821DEB-EB8B-CB23-B2AD-249A49AF125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8" name="Object 17" hidden="1">
            <a:extLst>
              <a:ext uri="{FF2B5EF4-FFF2-40B4-BE49-F238E27FC236}">
                <a16:creationId xmlns:a16="http://schemas.microsoft.com/office/drawing/2014/main" id="{E3EBD98D-AA49-2C09-1A46-0EF15BC63098}"/>
              </a:ext>
            </a:extLst>
          </p:cNvPr>
          <p:cNvGraphicFramePr>
            <a:graphicFrameLocks noChangeAspect="1"/>
          </p:cNvGraphicFramePr>
          <p:nvPr>
            <p:custDataLst>
              <p:tags r:id="rId4"/>
            </p:custDataLst>
            <p:extLst>
              <p:ext uri="{D42A27DB-BD31-4B8C-83A1-F6EECF244321}">
                <p14:modId xmlns:p14="http://schemas.microsoft.com/office/powerpoint/2010/main" val="3641463520"/>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8" name="Object 17" hidden="1">
                        <a:extLst>
                          <a:ext uri="{FF2B5EF4-FFF2-40B4-BE49-F238E27FC236}">
                            <a16:creationId xmlns:a16="http://schemas.microsoft.com/office/drawing/2014/main" id="{E3EBD98D-AA49-2C09-1A46-0EF15BC63098}"/>
                          </a:ext>
                        </a:extLst>
                      </p:cNvPr>
                      <p:cNvPicPr/>
                      <p:nvPr/>
                    </p:nvPicPr>
                    <p:blipFill>
                      <a:blip r:embed="rId9"/>
                      <a:stretch>
                        <a:fillRect/>
                      </a:stretch>
                    </p:blipFill>
                    <p:spPr>
                      <a:xfrm>
                        <a:off x="153988" y="153988"/>
                        <a:ext cx="1588" cy="1588"/>
                      </a:xfrm>
                      <a:prstGeom prst="rect">
                        <a:avLst/>
                      </a:prstGeom>
                    </p:spPr>
                  </p:pic>
                </p:oleObj>
              </mc:Fallback>
            </mc:AlternateContent>
          </a:graphicData>
        </a:graphic>
      </p:graphicFrame>
      <p:graphicFrame>
        <p:nvGraphicFramePr>
          <p:cNvPr id="19" name="Object 18" hidden="1">
            <a:extLst>
              <a:ext uri="{FF2B5EF4-FFF2-40B4-BE49-F238E27FC236}">
                <a16:creationId xmlns:a16="http://schemas.microsoft.com/office/drawing/2014/main" id="{4967F8B5-2BA2-EDAE-36DA-FF5259E8449D}"/>
              </a:ext>
            </a:extLst>
          </p:cNvPr>
          <p:cNvGraphicFramePr>
            <a:graphicFrameLocks noChangeAspect="1"/>
          </p:cNvGraphicFramePr>
          <p:nvPr>
            <p:custDataLst>
              <p:tags r:id="rId5"/>
            </p:custDataLst>
            <p:extLst>
              <p:ext uri="{D42A27DB-BD31-4B8C-83A1-F6EECF244321}">
                <p14:modId xmlns:p14="http://schemas.microsoft.com/office/powerpoint/2010/main" val="3661337413"/>
              </p:ext>
            </p:ext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9" name="Object 18" hidden="1">
                        <a:extLst>
                          <a:ext uri="{FF2B5EF4-FFF2-40B4-BE49-F238E27FC236}">
                            <a16:creationId xmlns:a16="http://schemas.microsoft.com/office/drawing/2014/main" id="{4967F8B5-2BA2-EDAE-36DA-FF5259E8449D}"/>
                          </a:ext>
                        </a:extLst>
                      </p:cNvPr>
                      <p:cNvPicPr/>
                      <p:nvPr/>
                    </p:nvPicPr>
                    <p:blipFill>
                      <a:blip r:embed="rId9"/>
                      <a:stretch>
                        <a:fillRect/>
                      </a:stretch>
                    </p:blipFill>
                    <p:spPr>
                      <a:xfrm>
                        <a:off x="306388" y="3063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86972736"/>
      </p:ext>
    </p:extLst>
  </p:cSld>
  <p:clrMapOvr>
    <a:masterClrMapping/>
  </p:clrMapOvr>
  <p:extLst>
    <p:ext uri="{DCECCB84-F9BA-43D5-87BE-67443E8EF086}">
      <p15:sldGuideLst xmlns:p15="http://schemas.microsoft.com/office/powerpoint/2012/main">
        <p15:guide id="1" orient="horz" pos="211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DBBAA0A-61B2-A5C3-EDD4-84AFCB5F4066}"/>
              </a:ext>
            </a:extLst>
          </p:cNvPr>
          <p:cNvSpPr/>
          <p:nvPr/>
        </p:nvSpPr>
        <p:spPr>
          <a:xfrm>
            <a:off x="0" y="4852020"/>
            <a:ext cx="13404850" cy="2691780"/>
          </a:xfrm>
          <a:prstGeom prst="rect">
            <a:avLst/>
          </a:prstGeom>
          <a:solidFill>
            <a:srgbClr val="CCCAB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sp>
        <p:nvSpPr>
          <p:cNvPr id="3" name="text" descr="{&quot;templafy&quot;:{&quot;id&quot;:&quot;b306d81d-859c-41a6-a5bc-18e133eaecbc&quot;}}" hidden="1" title="Translations.Draft">
            <a:extLst>
              <a:ext uri="{FF2B5EF4-FFF2-40B4-BE49-F238E27FC236}">
                <a16:creationId xmlns:a16="http://schemas.microsoft.com/office/drawing/2014/main" id="{B2D25CEF-440B-9485-7F42-C6E5E2CC1FBD}"/>
              </a:ext>
            </a:extLst>
          </p:cNvPr>
          <p:cNvSpPr txBox="1"/>
          <p:nvPr>
            <p:custDataLst>
              <p:tags r:id="rId1"/>
            </p:custDataLst>
          </p:nvPr>
        </p:nvSpPr>
        <p:spPr>
          <a:xfrm>
            <a:off x="507600" y="547200"/>
            <a:ext cx="824400" cy="183600"/>
          </a:xfrm>
          <a:prstGeom prst="rect">
            <a:avLst/>
          </a:prstGeom>
          <a:noFill/>
          <a:ln>
            <a:noFill/>
          </a:ln>
        </p:spPr>
        <p:txBody>
          <a:bodyPr vert="horz" wrap="none" lIns="0" tIns="0" rIns="0" bIns="0" rtlCol="0" anchor="b">
            <a:noAutofit/>
          </a:bodyPr>
          <a:lstStyle/>
          <a:p>
            <a:pPr algn="l">
              <a:lnSpc>
                <a:spcPct val="100000"/>
              </a:lnSpc>
              <a:spcBef>
                <a:spcPct val="0"/>
              </a:spcBef>
              <a:spcAft>
                <a:spcPct val="0"/>
              </a:spcAft>
            </a:pPr>
            <a:r>
              <a:rPr kumimoji="0" lang="en-US" sz="1400" b="1" i="0" u="none" baseline="0">
                <a:solidFill>
                  <a:schemeClr val="tx2"/>
                </a:solidFill>
                <a:latin typeface="+mn-lt"/>
              </a:rPr>
              <a:t>Draft</a:t>
            </a:r>
          </a:p>
        </p:txBody>
      </p:sp>
      <p:sp>
        <p:nvSpPr>
          <p:cNvPr id="6" name="Classification Tag" descr="{&quot;templafy&quot;:{&quot;id&quot;:&quot;a4a55c8b-b68d-4b48-82f6-725eb2104f8f&quot;}}">
            <a:extLst>
              <a:ext uri="{FF2B5EF4-FFF2-40B4-BE49-F238E27FC236}">
                <a16:creationId xmlns:a16="http://schemas.microsoft.com/office/drawing/2014/main" id="{29E7B06F-ABAE-5DF8-FD82-AF327EBDB9F7}"/>
              </a:ext>
            </a:extLst>
          </p:cNvPr>
          <p:cNvSpPr txBox="1"/>
          <p:nvPr userDrawn="1">
            <p:custDataLst>
              <p:tags r:id="rId2"/>
            </p:custDataLst>
          </p:nvPr>
        </p:nvSpPr>
        <p:spPr>
          <a:xfrm>
            <a:off x="2103120" y="6851015"/>
            <a:ext cx="1554480" cy="136400"/>
          </a:xfrm>
          <a:prstGeom prst="rect">
            <a:avLst/>
          </a:prstGeom>
        </p:spPr>
        <p:txBody>
          <a:bodyPr vert="horz" lIns="0" tIns="0" rIns="0" bIns="0" rtlCol="0">
            <a:noAutofit/>
          </a:bodyPr>
          <a:lstStyle>
            <a:lvl1pPr marL="0" marR="0" lvl="0" indent="0" defTabSz="1005505" eaLnBrk="1" fontAlgn="auto" latinLnBrk="0" hangingPunct="1">
              <a:lnSpc>
                <a:spcPct val="100000"/>
              </a:lnSpc>
              <a:spcBef>
                <a:spcPts val="0"/>
              </a:spcBef>
              <a:spcAft>
                <a:spcPts val="0"/>
              </a:spcAft>
              <a:buClr>
                <a:schemeClr val="tx1"/>
              </a:buClr>
              <a:buSzPct val="75000"/>
              <a:buFont typeface="Wingdings 2" panose="05020102010507070707" pitchFamily="18" charset="2"/>
              <a:buNone/>
              <a:tabLst/>
              <a:defRPr lang="en-US" sz="1100" b="0" kern="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8" name="Keyline Title" descr="{&quot;templafy&quot;:{&quot;id&quot;:&quot;3f884dd2-66e1-4819-8f35-3377db464721&quot;}}">
            <a:extLst>
              <a:ext uri="{FF2B5EF4-FFF2-40B4-BE49-F238E27FC236}">
                <a16:creationId xmlns:a16="http://schemas.microsoft.com/office/drawing/2014/main" id="{C9EDB099-A512-CAB8-5443-BF1B54029AD1}"/>
              </a:ext>
            </a:extLst>
          </p:cNvPr>
          <p:cNvSpPr>
            <a:spLocks noGrp="1"/>
          </p:cNvSpPr>
          <p:nvPr>
            <p:ph type="title" hasCustomPrompt="1"/>
          </p:nvPr>
        </p:nvSpPr>
        <p:spPr>
          <a:xfrm>
            <a:off x="584359" y="1463040"/>
            <a:ext cx="10688400" cy="1800000"/>
          </a:xfrm>
          <a:custGeom>
            <a:avLst/>
            <a:gdLst>
              <a:gd name="connsiteX0" fmla="*/ 0 w 12313368"/>
              <a:gd name="connsiteY0" fmla="*/ 0 h 495300"/>
              <a:gd name="connsiteX1" fmla="*/ 12313368 w 12313368"/>
              <a:gd name="connsiteY1" fmla="*/ 0 h 495300"/>
              <a:gd name="connsiteX2" fmla="*/ 12313368 w 12313368"/>
              <a:gd name="connsiteY2" fmla="*/ 495300 h 495300"/>
              <a:gd name="connsiteX3" fmla="*/ 0 w 12313368"/>
              <a:gd name="connsiteY3" fmla="*/ 495300 h 495300"/>
              <a:gd name="connsiteX4" fmla="*/ 0 w 12313368"/>
              <a:gd name="connsiteY4" fmla="*/ 0 h 495300"/>
              <a:gd name="connsiteX0" fmla="*/ 12313368 w 12404808"/>
              <a:gd name="connsiteY0" fmla="*/ 495300 h 495300"/>
              <a:gd name="connsiteX1" fmla="*/ 0 w 12404808"/>
              <a:gd name="connsiteY1" fmla="*/ 495300 h 495300"/>
              <a:gd name="connsiteX2" fmla="*/ 0 w 12404808"/>
              <a:gd name="connsiteY2" fmla="*/ 0 h 495300"/>
              <a:gd name="connsiteX3" fmla="*/ 12404808 w 12404808"/>
              <a:gd name="connsiteY3" fmla="*/ 91440 h 495300"/>
              <a:gd name="connsiteX0" fmla="*/ 12313368 w 12313368"/>
              <a:gd name="connsiteY0" fmla="*/ 495300 h 495300"/>
              <a:gd name="connsiteX1" fmla="*/ 0 w 12313368"/>
              <a:gd name="connsiteY1" fmla="*/ 495300 h 495300"/>
              <a:gd name="connsiteX2" fmla="*/ 0 w 12313368"/>
              <a:gd name="connsiteY2" fmla="*/ 0 h 495300"/>
              <a:gd name="connsiteX0" fmla="*/ 0 w 0"/>
              <a:gd name="connsiteY0" fmla="*/ 495300 h 495300"/>
              <a:gd name="connsiteX1" fmla="*/ 0 w 0"/>
              <a:gd name="connsiteY1" fmla="*/ 0 h 495300"/>
              <a:gd name="connsiteX0" fmla="*/ 0 w 0"/>
              <a:gd name="connsiteY0" fmla="*/ 10000 h 10000"/>
              <a:gd name="connsiteX1" fmla="*/ 0 w 0"/>
              <a:gd name="connsiteY1" fmla="*/ 0 h 10000"/>
              <a:gd name="connsiteX2" fmla="*/ 0 w 0"/>
              <a:gd name="connsiteY2" fmla="*/ 10000 h 10000"/>
            </a:gdLst>
            <a:ahLst/>
            <a:cxnLst>
              <a:cxn ang="0">
                <a:pos x="connsiteX0" y="connsiteY0"/>
              </a:cxn>
              <a:cxn ang="0">
                <a:pos x="connsiteX1" y="connsiteY1"/>
              </a:cxn>
              <a:cxn ang="0">
                <a:pos x="connsiteX2" y="connsiteY2"/>
              </a:cxn>
            </a:cxnLst>
            <a:rect l="l" t="t" r="r" b="b"/>
            <a:pathLst>
              <a:path h="10000">
                <a:moveTo>
                  <a:pt x="0" y="10000"/>
                </a:moveTo>
                <a:lnTo>
                  <a:pt x="0" y="0"/>
                </a:lnTo>
                <a:lnTo>
                  <a:pt x="0" y="10000"/>
                </a:lnTo>
                <a:close/>
              </a:path>
            </a:pathLst>
          </a:custGeom>
          <a:ln w="76200" cap="sq">
            <a:solidFill>
              <a:schemeClr val="tx2"/>
            </a:solidFill>
            <a:miter lim="800000"/>
          </a:ln>
        </p:spPr>
        <p:txBody>
          <a:bodyPr wrap="square" lIns="410400" anchor="t" anchorCtr="0">
            <a:noAutofit/>
          </a:bodyPr>
          <a:lstStyle>
            <a:lvl1pPr>
              <a:lnSpc>
                <a:spcPct val="86000"/>
              </a:lnSpc>
              <a:defRPr sz="4400">
                <a:solidFill>
                  <a:schemeClr val="tx1"/>
                </a:solidFill>
              </a:defRPr>
            </a:lvl1pPr>
          </a:lstStyle>
          <a:p>
            <a:br>
              <a:rPr lang="en-US"/>
            </a:br>
            <a:r>
              <a:rPr lang="en-US"/>
              <a:t>Presentation title</a:t>
            </a:r>
          </a:p>
        </p:txBody>
      </p:sp>
      <p:sp>
        <p:nvSpPr>
          <p:cNvPr id="9" name="Infoline Title" descr="{&quot;templafy&quot;:{&quot;id&quot;:&quot;357d136f-3f3e-4947-b1d7-4c6a2fcad9e6&quot;}}">
            <a:extLst>
              <a:ext uri="{FF2B5EF4-FFF2-40B4-BE49-F238E27FC236}">
                <a16:creationId xmlns:a16="http://schemas.microsoft.com/office/drawing/2014/main" id="{8CB37212-9DDC-DB85-52AB-2FA1DE9EB18A}"/>
              </a:ext>
            </a:extLst>
          </p:cNvPr>
          <p:cNvSpPr>
            <a:spLocks noGrp="1"/>
          </p:cNvSpPr>
          <p:nvPr>
            <p:ph type="body" sz="quarter" idx="29" hasCustomPrompt="1"/>
          </p:nvPr>
        </p:nvSpPr>
        <p:spPr>
          <a:xfrm>
            <a:off x="583200" y="2929537"/>
            <a:ext cx="10617840" cy="334800"/>
          </a:xfrm>
        </p:spPr>
        <p:txBody>
          <a:bodyPr lIns="410400" tIns="0" rIns="0" bIns="0"/>
          <a:lstStyle>
            <a:lvl1pPr marL="0" indent="0">
              <a:spcBef>
                <a:spcPts val="0"/>
              </a:spcBef>
              <a:buFontTx/>
              <a:buNone/>
              <a:defRPr sz="2200"/>
            </a:lvl1pPr>
          </a:lstStyle>
          <a:p>
            <a:pPr lvl="0"/>
            <a:r>
              <a:rPr lang="en-US"/>
              <a:t>&lt;&lt;Infoline&gt;&gt;</a:t>
            </a:r>
          </a:p>
        </p:txBody>
      </p:sp>
      <p:sp>
        <p:nvSpPr>
          <p:cNvPr id="18" name="Text Placeholder 13" descr="{&quot;templafy&quot;:{&quot;id&quot;:&quot;f2954e74-e271-4746-9ba7-df0e9616e1cd&quot;}}">
            <a:extLst>
              <a:ext uri="{FF2B5EF4-FFF2-40B4-BE49-F238E27FC236}">
                <a16:creationId xmlns:a16="http://schemas.microsoft.com/office/drawing/2014/main" id="{CB866E77-9A05-9379-2B17-82A9BA8BCB64}"/>
              </a:ext>
            </a:extLst>
          </p:cNvPr>
          <p:cNvSpPr>
            <a:spLocks noGrp="1"/>
          </p:cNvSpPr>
          <p:nvPr>
            <p:ph type="body" sz="quarter" idx="30" hasCustomPrompt="1"/>
          </p:nvPr>
        </p:nvSpPr>
        <p:spPr>
          <a:xfrm>
            <a:off x="547688"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2" name="Text Placeholder 13" descr="{&quot;templafy&quot;:{&quot;id&quot;:&quot;ccd2b9ee-c462-4fa8-a393-b7fd51e8a681&quot;}}">
            <a:extLst>
              <a:ext uri="{FF2B5EF4-FFF2-40B4-BE49-F238E27FC236}">
                <a16:creationId xmlns:a16="http://schemas.microsoft.com/office/drawing/2014/main" id="{9D24871D-EAF1-6EEE-68D8-4E4932827CDA}"/>
              </a:ext>
            </a:extLst>
          </p:cNvPr>
          <p:cNvSpPr>
            <a:spLocks noGrp="1"/>
          </p:cNvSpPr>
          <p:nvPr>
            <p:ph type="body" sz="quarter" idx="33" hasCustomPrompt="1"/>
          </p:nvPr>
        </p:nvSpPr>
        <p:spPr>
          <a:xfrm>
            <a:off x="548640"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20" name="Text Placeholder 13" descr="{&quot;templafy&quot;:{&quot;id&quot;:&quot;9c631154-26fd-457b-9f97-0a64e58af563&quot;}}">
            <a:extLst>
              <a:ext uri="{FF2B5EF4-FFF2-40B4-BE49-F238E27FC236}">
                <a16:creationId xmlns:a16="http://schemas.microsoft.com/office/drawing/2014/main" id="{31AD13AC-837F-2C3B-F702-71E80BB379C1}"/>
              </a:ext>
            </a:extLst>
          </p:cNvPr>
          <p:cNvSpPr>
            <a:spLocks noGrp="1"/>
          </p:cNvSpPr>
          <p:nvPr>
            <p:ph type="body" sz="quarter" idx="31" hasCustomPrompt="1"/>
          </p:nvPr>
        </p:nvSpPr>
        <p:spPr>
          <a:xfrm>
            <a:off x="4146529"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3" name="Text Placeholder 13" descr="{&quot;templafy&quot;:{&quot;id&quot;:&quot;7fccfd45-9d82-4e0d-99c3-aa1872f1e902&quot;}}">
            <a:extLst>
              <a:ext uri="{FF2B5EF4-FFF2-40B4-BE49-F238E27FC236}">
                <a16:creationId xmlns:a16="http://schemas.microsoft.com/office/drawing/2014/main" id="{33BC50F0-DBAF-27A5-0551-EA3617A800BA}"/>
              </a:ext>
            </a:extLst>
          </p:cNvPr>
          <p:cNvSpPr>
            <a:spLocks noGrp="1"/>
          </p:cNvSpPr>
          <p:nvPr>
            <p:ph type="body" sz="quarter" idx="34" hasCustomPrompt="1"/>
          </p:nvPr>
        </p:nvSpPr>
        <p:spPr>
          <a:xfrm>
            <a:off x="4146529"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21" name="Text Placeholder 13" descr="{&quot;templafy&quot;:{&quot;id&quot;:&quot;36f86861-4fc3-4853-b720-4abd53469dba&quot;}}">
            <a:extLst>
              <a:ext uri="{FF2B5EF4-FFF2-40B4-BE49-F238E27FC236}">
                <a16:creationId xmlns:a16="http://schemas.microsoft.com/office/drawing/2014/main" id="{A2C58923-F693-0518-54B2-227D572A3AB4}"/>
              </a:ext>
            </a:extLst>
          </p:cNvPr>
          <p:cNvSpPr>
            <a:spLocks noGrp="1"/>
          </p:cNvSpPr>
          <p:nvPr>
            <p:ph type="body" sz="quarter" idx="32" hasCustomPrompt="1"/>
          </p:nvPr>
        </p:nvSpPr>
        <p:spPr>
          <a:xfrm>
            <a:off x="7746541"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4" name="Text Placeholder 13" descr="{&quot;templafy&quot;:{&quot;id&quot;:&quot;ef457d04-ec5f-441c-a5e2-13e281398252&quot;}}">
            <a:extLst>
              <a:ext uri="{FF2B5EF4-FFF2-40B4-BE49-F238E27FC236}">
                <a16:creationId xmlns:a16="http://schemas.microsoft.com/office/drawing/2014/main" id="{7A51815C-6635-1164-7EB8-D4243C0575B3}"/>
              </a:ext>
            </a:extLst>
          </p:cNvPr>
          <p:cNvSpPr>
            <a:spLocks noGrp="1"/>
          </p:cNvSpPr>
          <p:nvPr>
            <p:ph type="body" sz="quarter" idx="35" hasCustomPrompt="1"/>
          </p:nvPr>
        </p:nvSpPr>
        <p:spPr>
          <a:xfrm>
            <a:off x="7746541"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9" name="Date" descr="{&quot;templafy&quot;:{&quot;id&quot;:&quot;34e45fe5-00a1-4b0c-9409-7d583541e62c&quot;}}">
            <a:extLst>
              <a:ext uri="{FF2B5EF4-FFF2-40B4-BE49-F238E27FC236}">
                <a16:creationId xmlns:a16="http://schemas.microsoft.com/office/drawing/2014/main" id="{D6950CCD-2A0D-D22E-DB3E-DA12D1F95D01}"/>
              </a:ext>
            </a:extLst>
          </p:cNvPr>
          <p:cNvSpPr>
            <a:spLocks noGrp="1"/>
          </p:cNvSpPr>
          <p:nvPr>
            <p:ph type="body" sz="quarter" idx="26" hasCustomPrompt="1"/>
          </p:nvPr>
        </p:nvSpPr>
        <p:spPr>
          <a:xfrm>
            <a:off x="548640" y="6851015"/>
            <a:ext cx="1371600" cy="137160"/>
          </a:xfrm>
          <a:prstGeom prst="rect">
            <a:avLst/>
          </a:prstGeom>
        </p:spPr>
        <p:txBody>
          <a:bodyPr/>
          <a:lstStyle>
            <a:lvl1pPr marL="0" indent="0">
              <a:lnSpc>
                <a:spcPct val="100000"/>
              </a:lnSpc>
              <a:spcBef>
                <a:spcPts val="0"/>
              </a:spcBef>
              <a:buNone/>
              <a:defRPr sz="1100"/>
            </a:lvl1pPr>
            <a:lvl2pPr marL="191520" indent="0">
              <a:buNone/>
              <a:defRPr/>
            </a:lvl2pPr>
            <a:lvl3pPr marL="384048" indent="0">
              <a:buNone/>
              <a:defRPr/>
            </a:lvl3pPr>
            <a:lvl4pPr marL="576389" indent="0">
              <a:buNone/>
              <a:defRPr/>
            </a:lvl4pPr>
            <a:lvl5pPr marL="768413" indent="0">
              <a:buNone/>
              <a:defRPr/>
            </a:lvl5pPr>
          </a:lstStyle>
          <a:p>
            <a:pPr lvl="0"/>
            <a:r>
              <a:rPr lang="en-US"/>
              <a:t>&lt;&lt;Date&gt;&gt;</a:t>
            </a:r>
          </a:p>
        </p:txBody>
      </p:sp>
      <p:sp>
        <p:nvSpPr>
          <p:cNvPr id="2" name="LogoTab">
            <a:extLst>
              <a:ext uri="{FF2B5EF4-FFF2-40B4-BE49-F238E27FC236}">
                <a16:creationId xmlns:a16="http://schemas.microsoft.com/office/drawing/2014/main" id="{46E62453-D36A-D4B9-DBD5-851D18F1FE5C}"/>
              </a:ext>
            </a:extLst>
          </p:cNvPr>
          <p:cNvSpPr/>
          <p:nvPr/>
        </p:nvSpPr>
        <p:spPr>
          <a:xfrm>
            <a:off x="10994400" y="6238800"/>
            <a:ext cx="2412000" cy="9288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pic>
        <p:nvPicPr>
          <p:cNvPr id="2128592160" name="InsideLogo" descr="{&quot;templafy&quot;:{&quot;id&quot;:&quot;0f4b3442-a30f-461d-8ddd-6b2be9a55082&quot;}}"/>
          <p:cNvPicPr>
            <a:picLocks noChangeAspect="1"/>
          </p:cNvPicPr>
          <p:nvPr/>
        </p:nvPicPr>
        <p:blipFill>
          <a:blip r:embed="rId7"/>
          <a:stretch>
            <a:fillRect/>
          </a:stretch>
        </p:blipFill>
        <p:spPr>
          <a:xfrm>
            <a:off x="11271600" y="6429600"/>
            <a:ext cx="1569612" cy="558000"/>
          </a:xfrm>
          <a:prstGeom prst="rect">
            <a:avLst/>
          </a:prstGeom>
        </p:spPr>
      </p:pic>
      <p:graphicFrame>
        <p:nvGraphicFramePr>
          <p:cNvPr id="11" name="Object 10" hidden="1">
            <a:extLst>
              <a:ext uri="{FF2B5EF4-FFF2-40B4-BE49-F238E27FC236}">
                <a16:creationId xmlns:a16="http://schemas.microsoft.com/office/drawing/2014/main" id="{A06FDEA4-A794-7BEF-D275-64E719CD2964}"/>
              </a:ext>
            </a:extLst>
          </p:cNvPr>
          <p:cNvGraphicFramePr>
            <a:graphicFrameLocks noChangeAspect="1"/>
          </p:cNvGraphicFramePr>
          <p:nvPr>
            <p:custDataLst>
              <p:tags r:id="rId3"/>
            </p:custDataLst>
            <p:extLst>
              <p:ext uri="{D42A27DB-BD31-4B8C-83A1-F6EECF244321}">
                <p14:modId xmlns:p14="http://schemas.microsoft.com/office/powerpoint/2010/main" val="1513695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1" name="Object 10" hidden="1">
                        <a:extLst>
                          <a:ext uri="{FF2B5EF4-FFF2-40B4-BE49-F238E27FC236}">
                            <a16:creationId xmlns:a16="http://schemas.microsoft.com/office/drawing/2014/main" id="{A06FDEA4-A794-7BEF-D275-64E719CD296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2" name="Object 11" hidden="1">
            <a:extLst>
              <a:ext uri="{FF2B5EF4-FFF2-40B4-BE49-F238E27FC236}">
                <a16:creationId xmlns:a16="http://schemas.microsoft.com/office/drawing/2014/main" id="{76F76DE8-E55B-1CDE-95E3-AB79D39F2BDE}"/>
              </a:ext>
            </a:extLst>
          </p:cNvPr>
          <p:cNvGraphicFramePr>
            <a:graphicFrameLocks noChangeAspect="1"/>
          </p:cNvGraphicFramePr>
          <p:nvPr>
            <p:custDataLst>
              <p:tags r:id="rId4"/>
            </p:custDataLst>
            <p:extLst>
              <p:ext uri="{D42A27DB-BD31-4B8C-83A1-F6EECF244321}">
                <p14:modId xmlns:p14="http://schemas.microsoft.com/office/powerpoint/2010/main" val="3552193672"/>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2" name="Object 11" hidden="1">
                        <a:extLst>
                          <a:ext uri="{FF2B5EF4-FFF2-40B4-BE49-F238E27FC236}">
                            <a16:creationId xmlns:a16="http://schemas.microsoft.com/office/drawing/2014/main" id="{76F76DE8-E55B-1CDE-95E3-AB79D39F2BDE}"/>
                          </a:ext>
                        </a:extLst>
                      </p:cNvPr>
                      <p:cNvPicPr/>
                      <p:nvPr/>
                    </p:nvPicPr>
                    <p:blipFill>
                      <a:blip r:embed="rId9"/>
                      <a:stretch>
                        <a:fillRect/>
                      </a:stretch>
                    </p:blipFill>
                    <p:spPr>
                      <a:xfrm>
                        <a:off x="153988" y="153988"/>
                        <a:ext cx="1588" cy="1588"/>
                      </a:xfrm>
                      <a:prstGeom prst="rect">
                        <a:avLst/>
                      </a:prstGeom>
                    </p:spPr>
                  </p:pic>
                </p:oleObj>
              </mc:Fallback>
            </mc:AlternateContent>
          </a:graphicData>
        </a:graphic>
      </p:graphicFrame>
      <p:graphicFrame>
        <p:nvGraphicFramePr>
          <p:cNvPr id="13" name="Object 12" hidden="1">
            <a:extLst>
              <a:ext uri="{FF2B5EF4-FFF2-40B4-BE49-F238E27FC236}">
                <a16:creationId xmlns:a16="http://schemas.microsoft.com/office/drawing/2014/main" id="{DF31C0B2-6FA7-D3A3-9967-FD587EEA842D}"/>
              </a:ext>
            </a:extLst>
          </p:cNvPr>
          <p:cNvGraphicFramePr>
            <a:graphicFrameLocks noChangeAspect="1"/>
          </p:cNvGraphicFramePr>
          <p:nvPr>
            <p:custDataLst>
              <p:tags r:id="rId5"/>
            </p:custDataLst>
            <p:extLst>
              <p:ext uri="{D42A27DB-BD31-4B8C-83A1-F6EECF244321}">
                <p14:modId xmlns:p14="http://schemas.microsoft.com/office/powerpoint/2010/main" val="2726533719"/>
              </p:ext>
            </p:ext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3" name="Object 12" hidden="1">
                        <a:extLst>
                          <a:ext uri="{FF2B5EF4-FFF2-40B4-BE49-F238E27FC236}">
                            <a16:creationId xmlns:a16="http://schemas.microsoft.com/office/drawing/2014/main" id="{DF31C0B2-6FA7-D3A3-9967-FD587EEA842D}"/>
                          </a:ext>
                        </a:extLst>
                      </p:cNvPr>
                      <p:cNvPicPr/>
                      <p:nvPr/>
                    </p:nvPicPr>
                    <p:blipFill>
                      <a:blip r:embed="rId9"/>
                      <a:stretch>
                        <a:fillRect/>
                      </a:stretch>
                    </p:blipFill>
                    <p:spPr>
                      <a:xfrm>
                        <a:off x="306388" y="306388"/>
                        <a:ext cx="1588" cy="1588"/>
                      </a:xfrm>
                      <a:prstGeom prst="rect">
                        <a:avLst/>
                      </a:prstGeom>
                    </p:spPr>
                  </p:pic>
                </p:oleObj>
              </mc:Fallback>
            </mc:AlternateContent>
          </a:graphicData>
        </a:graphic>
      </p:graphicFrame>
      <p:sp>
        <p:nvSpPr>
          <p:cNvPr id="14" name="TemplafyBrandVersion" hidden="1">
            <a:extLst>
              <a:ext uri="{FF2B5EF4-FFF2-40B4-BE49-F238E27FC236}">
                <a16:creationId xmlns:a16="http://schemas.microsoft.com/office/drawing/2014/main" id="{31A4DFB3-AC13-B254-3783-9AC875EC1126}"/>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spTree>
    <p:extLst>
      <p:ext uri="{BB962C8B-B14F-4D97-AF65-F5344CB8AC3E}">
        <p14:creationId xmlns:p14="http://schemas.microsoft.com/office/powerpoint/2010/main" val="2469902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F">
    <p:spTree>
      <p:nvGrpSpPr>
        <p:cNvPr id="1" name=""/>
        <p:cNvGrpSpPr/>
        <p:nvPr/>
      </p:nvGrpSpPr>
      <p:grpSpPr>
        <a:xfrm>
          <a:off x="0" y="0"/>
          <a:ext cx="0" cy="0"/>
          <a:chOff x="0" y="0"/>
          <a:chExt cx="0" cy="0"/>
        </a:xfrm>
      </p:grpSpPr>
      <p:sp>
        <p:nvSpPr>
          <p:cNvPr id="3" name="text" descr="{&quot;templafy&quot;:{&quot;id&quot;:&quot;a2223bcf-f716-4bed-af80-011e2e038f95&quot;}}" hidden="1" title="Translations.Draft">
            <a:extLst>
              <a:ext uri="{FF2B5EF4-FFF2-40B4-BE49-F238E27FC236}">
                <a16:creationId xmlns:a16="http://schemas.microsoft.com/office/drawing/2014/main" id="{B2D25CEF-440B-9485-7F42-C6E5E2CC1FBD}"/>
              </a:ext>
            </a:extLst>
          </p:cNvPr>
          <p:cNvSpPr txBox="1"/>
          <p:nvPr>
            <p:custDataLst>
              <p:tags r:id="rId1"/>
            </p:custDataLst>
          </p:nvPr>
        </p:nvSpPr>
        <p:spPr>
          <a:xfrm>
            <a:off x="507600" y="547200"/>
            <a:ext cx="824400" cy="1836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400" b="1" i="0" u="none" baseline="0">
                <a:solidFill>
                  <a:schemeClr val="tx2"/>
                </a:solidFill>
                <a:latin typeface="+mn-lt"/>
              </a:rPr>
              <a:t>Draft</a:t>
            </a:r>
          </a:p>
        </p:txBody>
      </p:sp>
      <p:sp>
        <p:nvSpPr>
          <p:cNvPr id="6" name="Classification Tag" descr="{&quot;templafy&quot;:{&quot;id&quot;:&quot;d1fe8421-b464-4fec-94c3-798c6dba586d&quot;}}">
            <a:extLst>
              <a:ext uri="{FF2B5EF4-FFF2-40B4-BE49-F238E27FC236}">
                <a16:creationId xmlns:a16="http://schemas.microsoft.com/office/drawing/2014/main" id="{0CE7BC21-E994-0C1A-9762-DB6458F9C0D6}"/>
              </a:ext>
            </a:extLst>
          </p:cNvPr>
          <p:cNvSpPr txBox="1"/>
          <p:nvPr userDrawn="1">
            <p:custDataLst>
              <p:tags r:id="rId2"/>
            </p:custDataLst>
          </p:nvPr>
        </p:nvSpPr>
        <p:spPr>
          <a:xfrm>
            <a:off x="2103120" y="6851015"/>
            <a:ext cx="1554480" cy="136400"/>
          </a:xfrm>
          <a:prstGeom prst="rect">
            <a:avLst/>
          </a:prstGeom>
        </p:spPr>
        <p:txBody>
          <a:bodyPr vert="horz" lIns="0" tIns="0" rIns="0" bIns="0" rtlCol="0">
            <a:noAutofit/>
          </a:bodyPr>
          <a:lstStyle>
            <a:lvl1pPr marL="0" marR="0" lvl="0" indent="0" defTabSz="1005505" eaLnBrk="1" fontAlgn="auto" latinLnBrk="0" hangingPunct="1">
              <a:lnSpc>
                <a:spcPct val="100000"/>
              </a:lnSpc>
              <a:spcBef>
                <a:spcPts val="0"/>
              </a:spcBef>
              <a:spcAft>
                <a:spcPts val="0"/>
              </a:spcAft>
              <a:buClr>
                <a:schemeClr val="tx1"/>
              </a:buClr>
              <a:buSzPct val="75000"/>
              <a:buFont typeface="Wingdings 2" panose="05020102010507070707" pitchFamily="18" charset="2"/>
              <a:buNone/>
              <a:tabLst/>
              <a:defRPr lang="en-US" sz="1100" b="0" kern="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8" name="Keyline Title" descr="{&quot;templafy&quot;:{&quot;id&quot;:&quot;7eef4a88-b5e8-49e8-8b67-d5a4bb9d4be2&quot;}}">
            <a:extLst>
              <a:ext uri="{FF2B5EF4-FFF2-40B4-BE49-F238E27FC236}">
                <a16:creationId xmlns:a16="http://schemas.microsoft.com/office/drawing/2014/main" id="{C9EDB099-A512-CAB8-5443-BF1B54029AD1}"/>
              </a:ext>
            </a:extLst>
          </p:cNvPr>
          <p:cNvSpPr>
            <a:spLocks noGrp="1"/>
          </p:cNvSpPr>
          <p:nvPr>
            <p:ph type="title" hasCustomPrompt="1"/>
          </p:nvPr>
        </p:nvSpPr>
        <p:spPr>
          <a:xfrm>
            <a:off x="584359" y="1463040"/>
            <a:ext cx="10688400" cy="1800000"/>
          </a:xfrm>
          <a:custGeom>
            <a:avLst/>
            <a:gdLst>
              <a:gd name="connsiteX0" fmla="*/ 0 w 12313368"/>
              <a:gd name="connsiteY0" fmla="*/ 0 h 495300"/>
              <a:gd name="connsiteX1" fmla="*/ 12313368 w 12313368"/>
              <a:gd name="connsiteY1" fmla="*/ 0 h 495300"/>
              <a:gd name="connsiteX2" fmla="*/ 12313368 w 12313368"/>
              <a:gd name="connsiteY2" fmla="*/ 495300 h 495300"/>
              <a:gd name="connsiteX3" fmla="*/ 0 w 12313368"/>
              <a:gd name="connsiteY3" fmla="*/ 495300 h 495300"/>
              <a:gd name="connsiteX4" fmla="*/ 0 w 12313368"/>
              <a:gd name="connsiteY4" fmla="*/ 0 h 495300"/>
              <a:gd name="connsiteX0" fmla="*/ 12313368 w 12404808"/>
              <a:gd name="connsiteY0" fmla="*/ 495300 h 495300"/>
              <a:gd name="connsiteX1" fmla="*/ 0 w 12404808"/>
              <a:gd name="connsiteY1" fmla="*/ 495300 h 495300"/>
              <a:gd name="connsiteX2" fmla="*/ 0 w 12404808"/>
              <a:gd name="connsiteY2" fmla="*/ 0 h 495300"/>
              <a:gd name="connsiteX3" fmla="*/ 12404808 w 12404808"/>
              <a:gd name="connsiteY3" fmla="*/ 91440 h 495300"/>
              <a:gd name="connsiteX0" fmla="*/ 12313368 w 12313368"/>
              <a:gd name="connsiteY0" fmla="*/ 495300 h 495300"/>
              <a:gd name="connsiteX1" fmla="*/ 0 w 12313368"/>
              <a:gd name="connsiteY1" fmla="*/ 495300 h 495300"/>
              <a:gd name="connsiteX2" fmla="*/ 0 w 12313368"/>
              <a:gd name="connsiteY2" fmla="*/ 0 h 495300"/>
              <a:gd name="connsiteX0" fmla="*/ 0 w 0"/>
              <a:gd name="connsiteY0" fmla="*/ 495300 h 495300"/>
              <a:gd name="connsiteX1" fmla="*/ 0 w 0"/>
              <a:gd name="connsiteY1" fmla="*/ 0 h 495300"/>
              <a:gd name="connsiteX0" fmla="*/ 0 w 0"/>
              <a:gd name="connsiteY0" fmla="*/ 10000 h 10000"/>
              <a:gd name="connsiteX1" fmla="*/ 0 w 0"/>
              <a:gd name="connsiteY1" fmla="*/ 0 h 10000"/>
              <a:gd name="connsiteX2" fmla="*/ 0 w 0"/>
              <a:gd name="connsiteY2" fmla="*/ 10000 h 10000"/>
            </a:gdLst>
            <a:ahLst/>
            <a:cxnLst>
              <a:cxn ang="0">
                <a:pos x="connsiteX0" y="connsiteY0"/>
              </a:cxn>
              <a:cxn ang="0">
                <a:pos x="connsiteX1" y="connsiteY1"/>
              </a:cxn>
              <a:cxn ang="0">
                <a:pos x="connsiteX2" y="connsiteY2"/>
              </a:cxn>
            </a:cxnLst>
            <a:rect l="l" t="t" r="r" b="b"/>
            <a:pathLst>
              <a:path h="10000">
                <a:moveTo>
                  <a:pt x="0" y="10000"/>
                </a:moveTo>
                <a:lnTo>
                  <a:pt x="0" y="0"/>
                </a:lnTo>
                <a:lnTo>
                  <a:pt x="0" y="10000"/>
                </a:lnTo>
                <a:close/>
              </a:path>
            </a:pathLst>
          </a:custGeom>
          <a:ln w="76200" cap="sq">
            <a:solidFill>
              <a:schemeClr val="tx2"/>
            </a:solidFill>
            <a:miter lim="800000"/>
          </a:ln>
        </p:spPr>
        <p:txBody>
          <a:bodyPr wrap="square" lIns="410400" anchor="t" anchorCtr="0">
            <a:noAutofit/>
          </a:bodyPr>
          <a:lstStyle>
            <a:lvl1pPr>
              <a:lnSpc>
                <a:spcPct val="86000"/>
              </a:lnSpc>
              <a:defRPr sz="4400">
                <a:solidFill>
                  <a:schemeClr val="tx1"/>
                </a:solidFill>
              </a:defRPr>
            </a:lvl1pPr>
          </a:lstStyle>
          <a:p>
            <a:br>
              <a:rPr lang="en-US"/>
            </a:br>
            <a:r>
              <a:rPr lang="en-US"/>
              <a:t>Presentation title</a:t>
            </a:r>
          </a:p>
        </p:txBody>
      </p:sp>
      <p:sp>
        <p:nvSpPr>
          <p:cNvPr id="9" name="Infoline Title" descr="{&quot;templafy&quot;:{&quot;id&quot;:&quot;d57e6457-db56-4b2c-96ea-4dd05ccbc54d&quot;}}">
            <a:extLst>
              <a:ext uri="{FF2B5EF4-FFF2-40B4-BE49-F238E27FC236}">
                <a16:creationId xmlns:a16="http://schemas.microsoft.com/office/drawing/2014/main" id="{8CB37212-9DDC-DB85-52AB-2FA1DE9EB18A}"/>
              </a:ext>
            </a:extLst>
          </p:cNvPr>
          <p:cNvSpPr>
            <a:spLocks noGrp="1"/>
          </p:cNvSpPr>
          <p:nvPr>
            <p:ph type="body" sz="quarter" idx="29" hasCustomPrompt="1"/>
          </p:nvPr>
        </p:nvSpPr>
        <p:spPr>
          <a:xfrm>
            <a:off x="583200" y="2927156"/>
            <a:ext cx="10617840" cy="334800"/>
          </a:xfrm>
        </p:spPr>
        <p:txBody>
          <a:bodyPr lIns="410400" tIns="0" rIns="0" bIns="0"/>
          <a:lstStyle>
            <a:lvl1pPr marL="0" indent="0">
              <a:spcBef>
                <a:spcPts val="0"/>
              </a:spcBef>
              <a:buFontTx/>
              <a:buNone/>
              <a:defRPr sz="2200"/>
            </a:lvl1pPr>
          </a:lstStyle>
          <a:p>
            <a:pPr lvl="0"/>
            <a:r>
              <a:rPr lang="en-US"/>
              <a:t>&lt;&lt;Infoline&gt;&gt;</a:t>
            </a:r>
          </a:p>
        </p:txBody>
      </p:sp>
      <p:sp>
        <p:nvSpPr>
          <p:cNvPr id="10" name="Text Placeholder 13" descr="{&quot;templafy&quot;:{&quot;id&quot;:&quot;6e282dca-27e9-42c0-a346-5c16ffd6cfa1&quot;}}">
            <a:extLst>
              <a:ext uri="{FF2B5EF4-FFF2-40B4-BE49-F238E27FC236}">
                <a16:creationId xmlns:a16="http://schemas.microsoft.com/office/drawing/2014/main" id="{606D7969-3E84-AED1-5FB3-59FFBA1CB5FD}"/>
              </a:ext>
            </a:extLst>
          </p:cNvPr>
          <p:cNvSpPr>
            <a:spLocks noGrp="1"/>
          </p:cNvSpPr>
          <p:nvPr>
            <p:ph type="body" sz="quarter" idx="30" hasCustomPrompt="1"/>
          </p:nvPr>
        </p:nvSpPr>
        <p:spPr>
          <a:xfrm>
            <a:off x="547688"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18" name="Text Placeholder 13" descr="{&quot;templafy&quot;:{&quot;id&quot;:&quot;22e4d1d3-ec12-4216-9c33-e31f179ac6e6&quot;}}">
            <a:extLst>
              <a:ext uri="{FF2B5EF4-FFF2-40B4-BE49-F238E27FC236}">
                <a16:creationId xmlns:a16="http://schemas.microsoft.com/office/drawing/2014/main" id="{BDE19EE3-AB25-FA0E-E30D-1CFA4091545A}"/>
              </a:ext>
            </a:extLst>
          </p:cNvPr>
          <p:cNvSpPr>
            <a:spLocks noGrp="1"/>
          </p:cNvSpPr>
          <p:nvPr>
            <p:ph type="body" sz="quarter" idx="33" hasCustomPrompt="1"/>
          </p:nvPr>
        </p:nvSpPr>
        <p:spPr>
          <a:xfrm>
            <a:off x="548640"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6" name="Text Placeholder 13" descr="{&quot;templafy&quot;:{&quot;id&quot;:&quot;0c9f7742-6234-441c-95ab-2b1bd46e347f&quot;}}">
            <a:extLst>
              <a:ext uri="{FF2B5EF4-FFF2-40B4-BE49-F238E27FC236}">
                <a16:creationId xmlns:a16="http://schemas.microsoft.com/office/drawing/2014/main" id="{130C05C1-D71F-2F03-78A7-F1F863E62199}"/>
              </a:ext>
            </a:extLst>
          </p:cNvPr>
          <p:cNvSpPr>
            <a:spLocks noGrp="1"/>
          </p:cNvSpPr>
          <p:nvPr>
            <p:ph type="body" sz="quarter" idx="31" hasCustomPrompt="1"/>
          </p:nvPr>
        </p:nvSpPr>
        <p:spPr>
          <a:xfrm>
            <a:off x="4146529"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0" name="Text Placeholder 13" descr="{&quot;templafy&quot;:{&quot;id&quot;:&quot;5f64cb44-533b-43ed-8492-37a511e6c4da&quot;}}">
            <a:extLst>
              <a:ext uri="{FF2B5EF4-FFF2-40B4-BE49-F238E27FC236}">
                <a16:creationId xmlns:a16="http://schemas.microsoft.com/office/drawing/2014/main" id="{EBBE3162-F8DE-E660-8A5A-99201F6FA6BB}"/>
              </a:ext>
            </a:extLst>
          </p:cNvPr>
          <p:cNvSpPr>
            <a:spLocks noGrp="1"/>
          </p:cNvSpPr>
          <p:nvPr>
            <p:ph type="body" sz="quarter" idx="34" hasCustomPrompt="1"/>
          </p:nvPr>
        </p:nvSpPr>
        <p:spPr>
          <a:xfrm>
            <a:off x="4146529"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7" name="Text Placeholder 13" descr="{&quot;templafy&quot;:{&quot;id&quot;:&quot;03257c09-d9fa-4d68-bacf-d46448e22b18&quot;}}">
            <a:extLst>
              <a:ext uri="{FF2B5EF4-FFF2-40B4-BE49-F238E27FC236}">
                <a16:creationId xmlns:a16="http://schemas.microsoft.com/office/drawing/2014/main" id="{275CB2DA-3B8B-5FE2-1128-33C67BB77A8E}"/>
              </a:ext>
            </a:extLst>
          </p:cNvPr>
          <p:cNvSpPr>
            <a:spLocks noGrp="1"/>
          </p:cNvSpPr>
          <p:nvPr>
            <p:ph type="body" sz="quarter" idx="32" hasCustomPrompt="1"/>
          </p:nvPr>
        </p:nvSpPr>
        <p:spPr>
          <a:xfrm>
            <a:off x="7746541" y="5122800"/>
            <a:ext cx="34920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1" name="Text Placeholder 13" descr="{&quot;templafy&quot;:{&quot;id&quot;:&quot;266ad374-ca1d-4292-99df-31c942c72576&quot;}}">
            <a:extLst>
              <a:ext uri="{FF2B5EF4-FFF2-40B4-BE49-F238E27FC236}">
                <a16:creationId xmlns:a16="http://schemas.microsoft.com/office/drawing/2014/main" id="{37604BE3-122D-A67F-F10D-5F6E104F6895}"/>
              </a:ext>
            </a:extLst>
          </p:cNvPr>
          <p:cNvSpPr>
            <a:spLocks noGrp="1"/>
          </p:cNvSpPr>
          <p:nvPr>
            <p:ph type="body" sz="quarter" idx="35" hasCustomPrompt="1"/>
          </p:nvPr>
        </p:nvSpPr>
        <p:spPr>
          <a:xfrm>
            <a:off x="7746541" y="5374800"/>
            <a:ext cx="34920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9" name="Date" descr="{&quot;templafy&quot;:{&quot;id&quot;:&quot;0f7f294f-59d5-414c-ae9a-6da1cbcde4c7&quot;}}">
            <a:extLst>
              <a:ext uri="{FF2B5EF4-FFF2-40B4-BE49-F238E27FC236}">
                <a16:creationId xmlns:a16="http://schemas.microsoft.com/office/drawing/2014/main" id="{D6950CCD-2A0D-D22E-DB3E-DA12D1F95D01}"/>
              </a:ext>
            </a:extLst>
          </p:cNvPr>
          <p:cNvSpPr>
            <a:spLocks noGrp="1"/>
          </p:cNvSpPr>
          <p:nvPr>
            <p:ph type="body" sz="quarter" idx="26" hasCustomPrompt="1"/>
          </p:nvPr>
        </p:nvSpPr>
        <p:spPr>
          <a:xfrm>
            <a:off x="548640" y="6851015"/>
            <a:ext cx="1371600" cy="137160"/>
          </a:xfrm>
          <a:prstGeom prst="rect">
            <a:avLst/>
          </a:prstGeom>
        </p:spPr>
        <p:txBody>
          <a:bodyPr/>
          <a:lstStyle>
            <a:lvl1pPr marL="0" indent="0">
              <a:lnSpc>
                <a:spcPct val="100000"/>
              </a:lnSpc>
              <a:spcBef>
                <a:spcPts val="0"/>
              </a:spcBef>
              <a:buNone/>
              <a:defRPr sz="1100"/>
            </a:lvl1pPr>
            <a:lvl2pPr marL="191520" indent="0">
              <a:buNone/>
              <a:defRPr/>
            </a:lvl2pPr>
            <a:lvl3pPr marL="384048" indent="0">
              <a:buNone/>
              <a:defRPr/>
            </a:lvl3pPr>
            <a:lvl4pPr marL="576389" indent="0">
              <a:buNone/>
              <a:defRPr/>
            </a:lvl4pPr>
            <a:lvl5pPr marL="768413" indent="0">
              <a:buNone/>
              <a:defRPr/>
            </a:lvl5pPr>
          </a:lstStyle>
          <a:p>
            <a:pPr lvl="0"/>
            <a:r>
              <a:rPr lang="en-US"/>
              <a:t>&lt;&lt;Date&gt;&gt;</a:t>
            </a:r>
          </a:p>
        </p:txBody>
      </p:sp>
      <p:sp>
        <p:nvSpPr>
          <p:cNvPr id="2" name="LogoTab">
            <a:extLst>
              <a:ext uri="{FF2B5EF4-FFF2-40B4-BE49-F238E27FC236}">
                <a16:creationId xmlns:a16="http://schemas.microsoft.com/office/drawing/2014/main" id="{46E62453-D36A-D4B9-DBD5-851D18F1FE5C}"/>
              </a:ext>
            </a:extLst>
          </p:cNvPr>
          <p:cNvSpPr/>
          <p:nvPr/>
        </p:nvSpPr>
        <p:spPr>
          <a:xfrm>
            <a:off x="10994400" y="6238800"/>
            <a:ext cx="2412000" cy="9288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pic>
        <p:nvPicPr>
          <p:cNvPr id="301775945" name="InsideLogo" descr="{&quot;templafy&quot;:{&quot;id&quot;:&quot;837f43b8-b0db-4d8d-8d96-6c05acdb77bf&quot;}}"/>
          <p:cNvPicPr>
            <a:picLocks noChangeAspect="1"/>
          </p:cNvPicPr>
          <p:nvPr/>
        </p:nvPicPr>
        <p:blipFill>
          <a:blip r:embed="rId7"/>
          <a:stretch>
            <a:fillRect/>
          </a:stretch>
        </p:blipFill>
        <p:spPr>
          <a:xfrm>
            <a:off x="11271600" y="6429600"/>
            <a:ext cx="1569612" cy="558000"/>
          </a:xfrm>
          <a:prstGeom prst="rect">
            <a:avLst/>
          </a:prstGeom>
        </p:spPr>
      </p:pic>
      <p:graphicFrame>
        <p:nvGraphicFramePr>
          <p:cNvPr id="11" name="Object 10" hidden="1">
            <a:extLst>
              <a:ext uri="{FF2B5EF4-FFF2-40B4-BE49-F238E27FC236}">
                <a16:creationId xmlns:a16="http://schemas.microsoft.com/office/drawing/2014/main" id="{A06FDEA4-A794-7BEF-D275-64E719CD2964}"/>
              </a:ext>
            </a:extLst>
          </p:cNvPr>
          <p:cNvGraphicFramePr>
            <a:graphicFrameLocks noChangeAspect="1"/>
          </p:cNvGraphicFramePr>
          <p:nvPr>
            <p:custDataLst>
              <p:tags r:id="rId3"/>
            </p:custDataLst>
            <p:extLst>
              <p:ext uri="{D42A27DB-BD31-4B8C-83A1-F6EECF244321}">
                <p14:modId xmlns:p14="http://schemas.microsoft.com/office/powerpoint/2010/main" val="1513695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1" name="Object 10" hidden="1">
                        <a:extLst>
                          <a:ext uri="{FF2B5EF4-FFF2-40B4-BE49-F238E27FC236}">
                            <a16:creationId xmlns:a16="http://schemas.microsoft.com/office/drawing/2014/main" id="{A06FDEA4-A794-7BEF-D275-64E719CD296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2" name="Object 11" hidden="1">
            <a:extLst>
              <a:ext uri="{FF2B5EF4-FFF2-40B4-BE49-F238E27FC236}">
                <a16:creationId xmlns:a16="http://schemas.microsoft.com/office/drawing/2014/main" id="{76F76DE8-E55B-1CDE-95E3-AB79D39F2BDE}"/>
              </a:ext>
            </a:extLst>
          </p:cNvPr>
          <p:cNvGraphicFramePr>
            <a:graphicFrameLocks noChangeAspect="1"/>
          </p:cNvGraphicFramePr>
          <p:nvPr>
            <p:custDataLst>
              <p:tags r:id="rId4"/>
            </p:custDataLst>
            <p:extLst>
              <p:ext uri="{D42A27DB-BD31-4B8C-83A1-F6EECF244321}">
                <p14:modId xmlns:p14="http://schemas.microsoft.com/office/powerpoint/2010/main" val="3552193672"/>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2" name="Object 11" hidden="1">
                        <a:extLst>
                          <a:ext uri="{FF2B5EF4-FFF2-40B4-BE49-F238E27FC236}">
                            <a16:creationId xmlns:a16="http://schemas.microsoft.com/office/drawing/2014/main" id="{76F76DE8-E55B-1CDE-95E3-AB79D39F2BDE}"/>
                          </a:ext>
                        </a:extLst>
                      </p:cNvPr>
                      <p:cNvPicPr/>
                      <p:nvPr/>
                    </p:nvPicPr>
                    <p:blipFill>
                      <a:blip r:embed="rId9"/>
                      <a:stretch>
                        <a:fillRect/>
                      </a:stretch>
                    </p:blipFill>
                    <p:spPr>
                      <a:xfrm>
                        <a:off x="153988" y="153988"/>
                        <a:ext cx="1588" cy="1588"/>
                      </a:xfrm>
                      <a:prstGeom prst="rect">
                        <a:avLst/>
                      </a:prstGeom>
                    </p:spPr>
                  </p:pic>
                </p:oleObj>
              </mc:Fallback>
            </mc:AlternateContent>
          </a:graphicData>
        </a:graphic>
      </p:graphicFrame>
      <p:graphicFrame>
        <p:nvGraphicFramePr>
          <p:cNvPr id="13" name="Object 12" hidden="1">
            <a:extLst>
              <a:ext uri="{FF2B5EF4-FFF2-40B4-BE49-F238E27FC236}">
                <a16:creationId xmlns:a16="http://schemas.microsoft.com/office/drawing/2014/main" id="{DF31C0B2-6FA7-D3A3-9967-FD587EEA842D}"/>
              </a:ext>
            </a:extLst>
          </p:cNvPr>
          <p:cNvGraphicFramePr>
            <a:graphicFrameLocks noChangeAspect="1"/>
          </p:cNvGraphicFramePr>
          <p:nvPr>
            <p:custDataLst>
              <p:tags r:id="rId5"/>
            </p:custDataLst>
            <p:extLst>
              <p:ext uri="{D42A27DB-BD31-4B8C-83A1-F6EECF244321}">
                <p14:modId xmlns:p14="http://schemas.microsoft.com/office/powerpoint/2010/main" val="2726533719"/>
              </p:ext>
            </p:ext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3" name="Object 12" hidden="1">
                        <a:extLst>
                          <a:ext uri="{FF2B5EF4-FFF2-40B4-BE49-F238E27FC236}">
                            <a16:creationId xmlns:a16="http://schemas.microsoft.com/office/drawing/2014/main" id="{DF31C0B2-6FA7-D3A3-9967-FD587EEA842D}"/>
                          </a:ext>
                        </a:extLst>
                      </p:cNvPr>
                      <p:cNvPicPr/>
                      <p:nvPr/>
                    </p:nvPicPr>
                    <p:blipFill>
                      <a:blip r:embed="rId9"/>
                      <a:stretch>
                        <a:fillRect/>
                      </a:stretch>
                    </p:blipFill>
                    <p:spPr>
                      <a:xfrm>
                        <a:off x="306388" y="306388"/>
                        <a:ext cx="1588" cy="1588"/>
                      </a:xfrm>
                      <a:prstGeom prst="rect">
                        <a:avLst/>
                      </a:prstGeom>
                    </p:spPr>
                  </p:pic>
                </p:oleObj>
              </mc:Fallback>
            </mc:AlternateContent>
          </a:graphicData>
        </a:graphic>
      </p:graphicFrame>
      <p:sp>
        <p:nvSpPr>
          <p:cNvPr id="14" name="TemplafyBrandVersion" hidden="1">
            <a:extLst>
              <a:ext uri="{FF2B5EF4-FFF2-40B4-BE49-F238E27FC236}">
                <a16:creationId xmlns:a16="http://schemas.microsoft.com/office/drawing/2014/main" id="{31A4DFB3-AC13-B254-3783-9AC875EC1126}"/>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spTree>
    <p:extLst>
      <p:ext uri="{BB962C8B-B14F-4D97-AF65-F5344CB8AC3E}">
        <p14:creationId xmlns:p14="http://schemas.microsoft.com/office/powerpoint/2010/main" val="32727888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C1ADB4B9-2228-279A-15A7-0203CB2DF6B4}"/>
              </a:ext>
              <a:ext uri="{C183D7F6-B498-43B3-948B-1728B52AA6E4}">
                <adec:decorative xmlns:adec="http://schemas.microsoft.com/office/drawing/2017/decorative" val="1"/>
              </a:ext>
            </a:extLst>
          </p:cNvPr>
          <p:cNvPicPr>
            <a:picLocks noChangeAspect="1"/>
          </p:cNvPicPr>
          <p:nvPr/>
        </p:nvPicPr>
        <p:blipFill rotWithShape="1">
          <a:blip>
            <a:extLst>
              <a:ext uri="{28A0092B-C50C-407E-A947-70E740481C1C}">
                <a14:useLocalDpi xmlns:a14="http://schemas.microsoft.com/office/drawing/2010/main" val="0"/>
              </a:ext>
              <a:ext uri="{96DAC541-7B7A-43D3-8B79-37D633B846F1}">
                <asvg:svgBlip xmlns:asvg="http://schemas.microsoft.com/office/drawing/2016/SVG/main" r:embed="rId6"/>
              </a:ext>
            </a:extLst>
          </a:blip>
          <a:srcRect l="21826" r="20399"/>
          <a:stretch/>
        </p:blipFill>
        <p:spPr>
          <a:xfrm>
            <a:off x="5658309" y="1786"/>
            <a:ext cx="7746541" cy="7542014"/>
          </a:xfrm>
          <a:prstGeom prst="rect">
            <a:avLst/>
          </a:prstGeom>
        </p:spPr>
      </p:pic>
      <p:sp>
        <p:nvSpPr>
          <p:cNvPr id="3" name="text" descr="{&quot;templafy&quot;:{&quot;id&quot;:&quot;f3f0e31b-7599-4a39-9279-15ec5774381d&quot;}}" hidden="1" title="Translations.Draft">
            <a:extLst>
              <a:ext uri="{FF2B5EF4-FFF2-40B4-BE49-F238E27FC236}">
                <a16:creationId xmlns:a16="http://schemas.microsoft.com/office/drawing/2014/main" id="{ABD4874C-0E1A-74A1-69F0-6BA20532A9C8}"/>
              </a:ext>
            </a:extLst>
          </p:cNvPr>
          <p:cNvSpPr txBox="1"/>
          <p:nvPr>
            <p:custDataLst>
              <p:tags r:id="rId1"/>
            </p:custDataLst>
          </p:nvPr>
        </p:nvSpPr>
        <p:spPr>
          <a:xfrm>
            <a:off x="507600" y="547200"/>
            <a:ext cx="824400" cy="1836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400" b="1" i="0" u="none" baseline="0">
                <a:solidFill>
                  <a:schemeClr val="tx2"/>
                </a:solidFill>
                <a:latin typeface="+mn-lt"/>
              </a:rPr>
              <a:t>Draft</a:t>
            </a:r>
          </a:p>
        </p:txBody>
      </p:sp>
      <p:sp>
        <p:nvSpPr>
          <p:cNvPr id="10" name="Keyline Title" descr="{&quot;templafy&quot;:{&quot;id&quot;:&quot;c2e23d8e-7bb5-4d7a-af73-50e7f0aef3f3&quot;}}">
            <a:extLst>
              <a:ext uri="{FF2B5EF4-FFF2-40B4-BE49-F238E27FC236}">
                <a16:creationId xmlns:a16="http://schemas.microsoft.com/office/drawing/2014/main" id="{F6847083-E891-7D6E-7FC4-58D835BD0FE5}"/>
              </a:ext>
            </a:extLst>
          </p:cNvPr>
          <p:cNvSpPr>
            <a:spLocks noGrp="1"/>
          </p:cNvSpPr>
          <p:nvPr>
            <p:ph type="title" hasCustomPrompt="1"/>
          </p:nvPr>
        </p:nvSpPr>
        <p:spPr>
          <a:xfrm>
            <a:off x="584359" y="1463040"/>
            <a:ext cx="6487200" cy="1800000"/>
          </a:xfrm>
          <a:custGeom>
            <a:avLst/>
            <a:gdLst>
              <a:gd name="connsiteX0" fmla="*/ 0 w 12313368"/>
              <a:gd name="connsiteY0" fmla="*/ 0 h 495300"/>
              <a:gd name="connsiteX1" fmla="*/ 12313368 w 12313368"/>
              <a:gd name="connsiteY1" fmla="*/ 0 h 495300"/>
              <a:gd name="connsiteX2" fmla="*/ 12313368 w 12313368"/>
              <a:gd name="connsiteY2" fmla="*/ 495300 h 495300"/>
              <a:gd name="connsiteX3" fmla="*/ 0 w 12313368"/>
              <a:gd name="connsiteY3" fmla="*/ 495300 h 495300"/>
              <a:gd name="connsiteX4" fmla="*/ 0 w 12313368"/>
              <a:gd name="connsiteY4" fmla="*/ 0 h 495300"/>
              <a:gd name="connsiteX0" fmla="*/ 12313368 w 12404808"/>
              <a:gd name="connsiteY0" fmla="*/ 495300 h 495300"/>
              <a:gd name="connsiteX1" fmla="*/ 0 w 12404808"/>
              <a:gd name="connsiteY1" fmla="*/ 495300 h 495300"/>
              <a:gd name="connsiteX2" fmla="*/ 0 w 12404808"/>
              <a:gd name="connsiteY2" fmla="*/ 0 h 495300"/>
              <a:gd name="connsiteX3" fmla="*/ 12404808 w 12404808"/>
              <a:gd name="connsiteY3" fmla="*/ 91440 h 495300"/>
              <a:gd name="connsiteX0" fmla="*/ 12313368 w 12313368"/>
              <a:gd name="connsiteY0" fmla="*/ 495300 h 495300"/>
              <a:gd name="connsiteX1" fmla="*/ 0 w 12313368"/>
              <a:gd name="connsiteY1" fmla="*/ 495300 h 495300"/>
              <a:gd name="connsiteX2" fmla="*/ 0 w 12313368"/>
              <a:gd name="connsiteY2" fmla="*/ 0 h 495300"/>
              <a:gd name="connsiteX0" fmla="*/ 0 w 0"/>
              <a:gd name="connsiteY0" fmla="*/ 495300 h 495300"/>
              <a:gd name="connsiteX1" fmla="*/ 0 w 0"/>
              <a:gd name="connsiteY1" fmla="*/ 0 h 495300"/>
              <a:gd name="connsiteX0" fmla="*/ 0 w 0"/>
              <a:gd name="connsiteY0" fmla="*/ 10000 h 10000"/>
              <a:gd name="connsiteX1" fmla="*/ 0 w 0"/>
              <a:gd name="connsiteY1" fmla="*/ 0 h 10000"/>
              <a:gd name="connsiteX2" fmla="*/ 0 w 0"/>
              <a:gd name="connsiteY2" fmla="*/ 10000 h 10000"/>
            </a:gdLst>
            <a:ahLst/>
            <a:cxnLst>
              <a:cxn ang="0">
                <a:pos x="connsiteX0" y="connsiteY0"/>
              </a:cxn>
              <a:cxn ang="0">
                <a:pos x="connsiteX1" y="connsiteY1"/>
              </a:cxn>
              <a:cxn ang="0">
                <a:pos x="connsiteX2" y="connsiteY2"/>
              </a:cxn>
            </a:cxnLst>
            <a:rect l="l" t="t" r="r" b="b"/>
            <a:pathLst>
              <a:path h="10000">
                <a:moveTo>
                  <a:pt x="0" y="10000"/>
                </a:moveTo>
                <a:lnTo>
                  <a:pt x="0" y="0"/>
                </a:lnTo>
                <a:lnTo>
                  <a:pt x="0" y="10000"/>
                </a:lnTo>
                <a:close/>
              </a:path>
            </a:pathLst>
          </a:custGeom>
          <a:ln w="76200" cap="sq">
            <a:solidFill>
              <a:schemeClr val="tx2"/>
            </a:solidFill>
            <a:miter lim="800000"/>
          </a:ln>
        </p:spPr>
        <p:txBody>
          <a:bodyPr wrap="square" lIns="410400" anchor="t" anchorCtr="0">
            <a:noAutofit/>
          </a:bodyPr>
          <a:lstStyle>
            <a:lvl1pPr>
              <a:lnSpc>
                <a:spcPct val="86000"/>
              </a:lnSpc>
              <a:defRPr sz="4400">
                <a:solidFill>
                  <a:schemeClr val="tx1"/>
                </a:solidFill>
              </a:defRPr>
            </a:lvl1pPr>
          </a:lstStyle>
          <a:p>
            <a:br>
              <a:rPr lang="en-US"/>
            </a:br>
            <a:r>
              <a:rPr lang="en-US"/>
              <a:t>Presentation title</a:t>
            </a:r>
          </a:p>
        </p:txBody>
      </p:sp>
      <p:sp>
        <p:nvSpPr>
          <p:cNvPr id="7" name="Infoline Title" descr="{&quot;templafy&quot;:{&quot;id&quot;:&quot;fc22ade5-b18d-4c8c-859b-b7b96ad4b0c2&quot;}}">
            <a:extLst>
              <a:ext uri="{FF2B5EF4-FFF2-40B4-BE49-F238E27FC236}">
                <a16:creationId xmlns:a16="http://schemas.microsoft.com/office/drawing/2014/main" id="{553A1973-D80B-AC5F-AE6C-6CA1C0BCACC0}"/>
              </a:ext>
            </a:extLst>
          </p:cNvPr>
          <p:cNvSpPr>
            <a:spLocks noGrp="1"/>
          </p:cNvSpPr>
          <p:nvPr>
            <p:ph type="body" sz="quarter" idx="29" hasCustomPrompt="1"/>
          </p:nvPr>
        </p:nvSpPr>
        <p:spPr>
          <a:xfrm>
            <a:off x="583200" y="2924775"/>
            <a:ext cx="6416640" cy="338400"/>
          </a:xfrm>
        </p:spPr>
        <p:txBody>
          <a:bodyPr lIns="410400" tIns="0" rIns="0" bIns="0"/>
          <a:lstStyle>
            <a:lvl1pPr marL="0" indent="0">
              <a:spcBef>
                <a:spcPts val="0"/>
              </a:spcBef>
              <a:buFontTx/>
              <a:buNone/>
              <a:defRPr sz="2200"/>
            </a:lvl1pPr>
          </a:lstStyle>
          <a:p>
            <a:pPr lvl="0"/>
            <a:r>
              <a:rPr lang="en-US"/>
              <a:t>&lt;&lt;Infoline&gt;&gt;</a:t>
            </a:r>
          </a:p>
        </p:txBody>
      </p:sp>
      <p:sp>
        <p:nvSpPr>
          <p:cNvPr id="8" name="Text Placeholder 13" descr="{&quot;templafy&quot;:{&quot;id&quot;:&quot;fdf76d94-cba5-47b1-a19f-fe3d83662c05&quot;}}">
            <a:extLst>
              <a:ext uri="{FF2B5EF4-FFF2-40B4-BE49-F238E27FC236}">
                <a16:creationId xmlns:a16="http://schemas.microsoft.com/office/drawing/2014/main" id="{16DE8BD0-4204-BAD8-4642-86B034F4E615}"/>
              </a:ext>
            </a:extLst>
          </p:cNvPr>
          <p:cNvSpPr>
            <a:spLocks noGrp="1"/>
          </p:cNvSpPr>
          <p:nvPr>
            <p:ph type="body" sz="quarter" idx="30" hasCustomPrompt="1"/>
          </p:nvPr>
        </p:nvSpPr>
        <p:spPr>
          <a:xfrm>
            <a:off x="547688" y="46584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0" name="Text Placeholder 13" descr="{&quot;templafy&quot;:{&quot;id&quot;:&quot;72af5b67-0ad0-4dde-bb47-7af68bc86f5d&quot;}}">
            <a:extLst>
              <a:ext uri="{FF2B5EF4-FFF2-40B4-BE49-F238E27FC236}">
                <a16:creationId xmlns:a16="http://schemas.microsoft.com/office/drawing/2014/main" id="{6C02FF2D-67D2-4E11-5502-02314BBEBEAA}"/>
              </a:ext>
            </a:extLst>
          </p:cNvPr>
          <p:cNvSpPr>
            <a:spLocks noGrp="1"/>
          </p:cNvSpPr>
          <p:nvPr>
            <p:ph type="body" sz="quarter" idx="33" hasCustomPrompt="1"/>
          </p:nvPr>
        </p:nvSpPr>
        <p:spPr>
          <a:xfrm>
            <a:off x="547200" y="49104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9" name="Text Placeholder 13" descr="{&quot;templafy&quot;:{&quot;id&quot;:&quot;defd712d-e849-41d1-9c49-7f132f542d6b&quot;}}">
            <a:extLst>
              <a:ext uri="{FF2B5EF4-FFF2-40B4-BE49-F238E27FC236}">
                <a16:creationId xmlns:a16="http://schemas.microsoft.com/office/drawing/2014/main" id="{961254E8-9D4B-5A71-5153-0006846A5AC6}"/>
              </a:ext>
            </a:extLst>
          </p:cNvPr>
          <p:cNvSpPr>
            <a:spLocks noGrp="1"/>
          </p:cNvSpPr>
          <p:nvPr>
            <p:ph type="body" sz="quarter" idx="31" hasCustomPrompt="1"/>
          </p:nvPr>
        </p:nvSpPr>
        <p:spPr>
          <a:xfrm>
            <a:off x="547688" y="52416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1" name="Text Placeholder 13" descr="{&quot;templafy&quot;:{&quot;id&quot;:&quot;8f5d496d-5ddf-4f8f-82ad-2eaa3b952ca0&quot;}}">
            <a:extLst>
              <a:ext uri="{FF2B5EF4-FFF2-40B4-BE49-F238E27FC236}">
                <a16:creationId xmlns:a16="http://schemas.microsoft.com/office/drawing/2014/main" id="{C30D788E-0BB5-020A-D37E-F7CE02814691}"/>
              </a:ext>
            </a:extLst>
          </p:cNvPr>
          <p:cNvSpPr>
            <a:spLocks noGrp="1"/>
          </p:cNvSpPr>
          <p:nvPr>
            <p:ph type="body" sz="quarter" idx="34" hasCustomPrompt="1"/>
          </p:nvPr>
        </p:nvSpPr>
        <p:spPr>
          <a:xfrm>
            <a:off x="547199" y="54936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8" name="Text Placeholder 13" descr="{&quot;templafy&quot;:{&quot;id&quot;:&quot;ff7da106-c48c-4328-87ad-5e339c81f62d&quot;}}">
            <a:extLst>
              <a:ext uri="{FF2B5EF4-FFF2-40B4-BE49-F238E27FC236}">
                <a16:creationId xmlns:a16="http://schemas.microsoft.com/office/drawing/2014/main" id="{4424936E-E367-5448-2D03-6FD23DB2FE60}"/>
              </a:ext>
            </a:extLst>
          </p:cNvPr>
          <p:cNvSpPr>
            <a:spLocks noGrp="1"/>
          </p:cNvSpPr>
          <p:nvPr>
            <p:ph type="body" sz="quarter" idx="32" hasCustomPrompt="1"/>
          </p:nvPr>
        </p:nvSpPr>
        <p:spPr>
          <a:xfrm>
            <a:off x="547200" y="58284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2" name="Text Placeholder 13" descr="{&quot;templafy&quot;:{&quot;id&quot;:&quot;e50dd992-5199-4934-a628-b07ec709038f&quot;}}">
            <a:extLst>
              <a:ext uri="{FF2B5EF4-FFF2-40B4-BE49-F238E27FC236}">
                <a16:creationId xmlns:a16="http://schemas.microsoft.com/office/drawing/2014/main" id="{76430B56-CC53-ABE1-4229-B2B76D08769E}"/>
              </a:ext>
            </a:extLst>
          </p:cNvPr>
          <p:cNvSpPr>
            <a:spLocks noGrp="1"/>
          </p:cNvSpPr>
          <p:nvPr>
            <p:ph type="body" sz="quarter" idx="35" hasCustomPrompt="1"/>
          </p:nvPr>
        </p:nvSpPr>
        <p:spPr>
          <a:xfrm>
            <a:off x="547200" y="6080400"/>
            <a:ext cx="3851275"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9" name="Date" descr="{&quot;templafy&quot;:{&quot;id&quot;:&quot;70d3e7a6-fd23-491e-b4d7-f21109e79975&quot;}}">
            <a:extLst>
              <a:ext uri="{FF2B5EF4-FFF2-40B4-BE49-F238E27FC236}">
                <a16:creationId xmlns:a16="http://schemas.microsoft.com/office/drawing/2014/main" id="{D6950CCD-2A0D-D22E-DB3E-DA12D1F95D01}"/>
              </a:ext>
            </a:extLst>
          </p:cNvPr>
          <p:cNvSpPr>
            <a:spLocks noGrp="1"/>
          </p:cNvSpPr>
          <p:nvPr>
            <p:ph type="body" sz="quarter" idx="26" hasCustomPrompt="1"/>
          </p:nvPr>
        </p:nvSpPr>
        <p:spPr>
          <a:xfrm>
            <a:off x="548640" y="6851015"/>
            <a:ext cx="1371600" cy="137160"/>
          </a:xfrm>
          <a:prstGeom prst="rect">
            <a:avLst/>
          </a:prstGeom>
        </p:spPr>
        <p:txBody>
          <a:bodyPr/>
          <a:lstStyle>
            <a:lvl1pPr marL="0" indent="0">
              <a:lnSpc>
                <a:spcPct val="100000"/>
              </a:lnSpc>
              <a:spcBef>
                <a:spcPts val="0"/>
              </a:spcBef>
              <a:buNone/>
              <a:defRPr sz="1100"/>
            </a:lvl1pPr>
            <a:lvl2pPr marL="191520" indent="0">
              <a:buNone/>
              <a:defRPr/>
            </a:lvl2pPr>
            <a:lvl3pPr marL="384048" indent="0">
              <a:buNone/>
              <a:defRPr/>
            </a:lvl3pPr>
            <a:lvl4pPr marL="576389" indent="0">
              <a:buNone/>
              <a:defRPr/>
            </a:lvl4pPr>
            <a:lvl5pPr marL="768413" indent="0">
              <a:buNone/>
              <a:defRPr/>
            </a:lvl5pPr>
          </a:lstStyle>
          <a:p>
            <a:pPr lvl="0"/>
            <a:r>
              <a:rPr lang="en-US"/>
              <a:t>&lt;&lt;Date&gt;&gt;</a:t>
            </a:r>
          </a:p>
        </p:txBody>
      </p:sp>
      <p:sp>
        <p:nvSpPr>
          <p:cNvPr id="2" name="LogoTab">
            <a:extLst>
              <a:ext uri="{FF2B5EF4-FFF2-40B4-BE49-F238E27FC236}">
                <a16:creationId xmlns:a16="http://schemas.microsoft.com/office/drawing/2014/main" id="{8BB78152-D1DB-E1F1-1DF6-FF73D90E5E5D}"/>
              </a:ext>
            </a:extLst>
          </p:cNvPr>
          <p:cNvSpPr/>
          <p:nvPr/>
        </p:nvSpPr>
        <p:spPr>
          <a:xfrm>
            <a:off x="10994400" y="6238800"/>
            <a:ext cx="2412000" cy="9288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pic>
        <p:nvPicPr>
          <p:cNvPr id="1297789888" name="InsideLogo" descr="{&quot;templafy&quot;:{&quot;id&quot;:&quot;8edc72ca-8eac-4f4e-b94f-aa8a4d4e4c9d&quot;}}"/>
          <p:cNvPicPr>
            <a:picLocks noChangeAspect="1"/>
          </p:cNvPicPr>
          <p:nvPr/>
        </p:nvPicPr>
        <p:blipFill>
          <a:blip r:embed="rId7"/>
          <a:stretch>
            <a:fillRect/>
          </a:stretch>
        </p:blipFill>
        <p:spPr>
          <a:xfrm>
            <a:off x="11271600" y="6429600"/>
            <a:ext cx="1569612" cy="558000"/>
          </a:xfrm>
          <a:prstGeom prst="rect">
            <a:avLst/>
          </a:prstGeom>
        </p:spPr>
      </p:pic>
      <p:graphicFrame>
        <p:nvGraphicFramePr>
          <p:cNvPr id="14" name="Object 13" hidden="1">
            <a:extLst>
              <a:ext uri="{FF2B5EF4-FFF2-40B4-BE49-F238E27FC236}">
                <a16:creationId xmlns:a16="http://schemas.microsoft.com/office/drawing/2014/main" id="{0256C6D8-1AF2-34A7-66D8-C198B5530DA1}"/>
              </a:ext>
            </a:extLst>
          </p:cNvPr>
          <p:cNvGraphicFramePr>
            <a:graphicFrameLocks noChangeAspect="1"/>
          </p:cNvGraphicFramePr>
          <p:nvPr>
            <p:custDataLst>
              <p:tags r:id="rId2"/>
            </p:custDataLst>
            <p:extLst>
              <p:ext uri="{D42A27DB-BD31-4B8C-83A1-F6EECF244321}">
                <p14:modId xmlns:p14="http://schemas.microsoft.com/office/powerpoint/2010/main" val="330191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4" name="Object 13" hidden="1">
                        <a:extLst>
                          <a:ext uri="{FF2B5EF4-FFF2-40B4-BE49-F238E27FC236}">
                            <a16:creationId xmlns:a16="http://schemas.microsoft.com/office/drawing/2014/main" id="{0256C6D8-1AF2-34A7-66D8-C198B5530DA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5" name="Object 14" hidden="1">
            <a:extLst>
              <a:ext uri="{FF2B5EF4-FFF2-40B4-BE49-F238E27FC236}">
                <a16:creationId xmlns:a16="http://schemas.microsoft.com/office/drawing/2014/main" id="{C754AEF0-D1E0-011C-0067-EEBBDC4C8067}"/>
              </a:ext>
            </a:extLst>
          </p:cNvPr>
          <p:cNvGraphicFramePr>
            <a:graphicFrameLocks noChangeAspect="1"/>
          </p:cNvGraphicFramePr>
          <p:nvPr>
            <p:custDataLst>
              <p:tags r:id="rId3"/>
            </p:custDataLst>
            <p:extLst>
              <p:ext uri="{D42A27DB-BD31-4B8C-83A1-F6EECF244321}">
                <p14:modId xmlns:p14="http://schemas.microsoft.com/office/powerpoint/2010/main" val="2405947420"/>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5" name="Object 14" hidden="1">
                        <a:extLst>
                          <a:ext uri="{FF2B5EF4-FFF2-40B4-BE49-F238E27FC236}">
                            <a16:creationId xmlns:a16="http://schemas.microsoft.com/office/drawing/2014/main" id="{C754AEF0-D1E0-011C-0067-EEBBDC4C8067}"/>
                          </a:ext>
                        </a:extLst>
                      </p:cNvPr>
                      <p:cNvPicPr/>
                      <p:nvPr/>
                    </p:nvPicPr>
                    <p:blipFill>
                      <a:blip r:embed="rId9"/>
                      <a:stretch>
                        <a:fillRect/>
                      </a:stretch>
                    </p:blipFill>
                    <p:spPr>
                      <a:xfrm>
                        <a:off x="153988" y="153988"/>
                        <a:ext cx="1588" cy="1588"/>
                      </a:xfrm>
                      <a:prstGeom prst="rect">
                        <a:avLst/>
                      </a:prstGeom>
                    </p:spPr>
                  </p:pic>
                </p:oleObj>
              </mc:Fallback>
            </mc:AlternateContent>
          </a:graphicData>
        </a:graphic>
      </p:graphicFrame>
      <p:graphicFrame>
        <p:nvGraphicFramePr>
          <p:cNvPr id="16" name="Object 15" hidden="1">
            <a:extLst>
              <a:ext uri="{FF2B5EF4-FFF2-40B4-BE49-F238E27FC236}">
                <a16:creationId xmlns:a16="http://schemas.microsoft.com/office/drawing/2014/main" id="{46C84325-05AC-2D8C-A683-10EA1C0AB0BA}"/>
              </a:ext>
            </a:extLst>
          </p:cNvPr>
          <p:cNvGraphicFramePr>
            <a:graphicFrameLocks noChangeAspect="1"/>
          </p:cNvGraphicFramePr>
          <p:nvPr>
            <p:custDataLst>
              <p:tags r:id="rId4"/>
            </p:custDataLst>
            <p:extLst>
              <p:ext uri="{D42A27DB-BD31-4B8C-83A1-F6EECF244321}">
                <p14:modId xmlns:p14="http://schemas.microsoft.com/office/powerpoint/2010/main" val="1727817887"/>
              </p:ext>
            </p:ext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6" name="Object 15" hidden="1">
                        <a:extLst>
                          <a:ext uri="{FF2B5EF4-FFF2-40B4-BE49-F238E27FC236}">
                            <a16:creationId xmlns:a16="http://schemas.microsoft.com/office/drawing/2014/main" id="{46C84325-05AC-2D8C-A683-10EA1C0AB0BA}"/>
                          </a:ext>
                        </a:extLst>
                      </p:cNvPr>
                      <p:cNvPicPr/>
                      <p:nvPr/>
                    </p:nvPicPr>
                    <p:blipFill>
                      <a:blip r:embed="rId9"/>
                      <a:stretch>
                        <a:fillRect/>
                      </a:stretch>
                    </p:blipFill>
                    <p:spPr>
                      <a:xfrm>
                        <a:off x="306388" y="306388"/>
                        <a:ext cx="1588" cy="1588"/>
                      </a:xfrm>
                      <a:prstGeom prst="rect">
                        <a:avLst/>
                      </a:prstGeom>
                    </p:spPr>
                  </p:pic>
                </p:oleObj>
              </mc:Fallback>
            </mc:AlternateContent>
          </a:graphicData>
        </a:graphic>
      </p:graphicFrame>
      <p:sp>
        <p:nvSpPr>
          <p:cNvPr id="17" name="TemplafyBrandVersion" hidden="1">
            <a:extLst>
              <a:ext uri="{FF2B5EF4-FFF2-40B4-BE49-F238E27FC236}">
                <a16:creationId xmlns:a16="http://schemas.microsoft.com/office/drawing/2014/main" id="{EF62E6D0-A8D7-949C-94F0-C9C23EBB3843}"/>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spTree>
    <p:extLst>
      <p:ext uri="{BB962C8B-B14F-4D97-AF65-F5344CB8AC3E}">
        <p14:creationId xmlns:p14="http://schemas.microsoft.com/office/powerpoint/2010/main" val="1954090225"/>
      </p:ext>
    </p:extLst>
  </p:cSld>
  <p:clrMapOvr>
    <a:masterClrMapping/>
  </p:clrMapOvr>
  <p:extLst>
    <p:ext uri="{DCECCB84-F9BA-43D5-87BE-67443E8EF086}">
      <p15:sldGuideLst xmlns:p15="http://schemas.microsoft.com/office/powerpoint/2012/main">
        <p15:guide id="4" pos="445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Only for Asset Management_Cover">
    <p:spTree>
      <p:nvGrpSpPr>
        <p:cNvPr id="1" name=""/>
        <p:cNvGrpSpPr/>
        <p:nvPr/>
      </p:nvGrpSpPr>
      <p:grpSpPr>
        <a:xfrm>
          <a:off x="0" y="0"/>
          <a:ext cx="0" cy="0"/>
          <a:chOff x="0" y="0"/>
          <a:chExt cx="0" cy="0"/>
        </a:xfrm>
      </p:grpSpPr>
      <p:sp>
        <p:nvSpPr>
          <p:cNvPr id="3" name="text" descr="{&quot;templafy&quot;:{&quot;id&quot;:&quot;7e5b7b89-a424-4db3-a7a2-6df53ddc147e&quot;}}" hidden="1" title="Translations.Draft">
            <a:extLst>
              <a:ext uri="{FF2B5EF4-FFF2-40B4-BE49-F238E27FC236}">
                <a16:creationId xmlns:a16="http://schemas.microsoft.com/office/drawing/2014/main" id="{167B9DB2-0A9C-B18C-4923-ACA5F6AFAF3F}"/>
              </a:ext>
            </a:extLst>
          </p:cNvPr>
          <p:cNvSpPr txBox="1"/>
          <p:nvPr>
            <p:custDataLst>
              <p:tags r:id="rId1"/>
            </p:custDataLst>
          </p:nvPr>
        </p:nvSpPr>
        <p:spPr>
          <a:xfrm>
            <a:off x="507600" y="547200"/>
            <a:ext cx="824400" cy="1836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400" b="1" i="0" u="none" baseline="0">
                <a:solidFill>
                  <a:schemeClr val="tx2"/>
                </a:solidFill>
                <a:latin typeface="+mn-lt"/>
              </a:rPr>
              <a:t>Draft</a:t>
            </a:r>
          </a:p>
        </p:txBody>
      </p:sp>
      <p:sp>
        <p:nvSpPr>
          <p:cNvPr id="12" name="Classification Tag" descr="{&quot;templafy&quot;:{&quot;id&quot;:&quot;7a779ad0-695b-4d69-98f8-56973059fe82&quot;}}">
            <a:extLst>
              <a:ext uri="{FF2B5EF4-FFF2-40B4-BE49-F238E27FC236}">
                <a16:creationId xmlns:a16="http://schemas.microsoft.com/office/drawing/2014/main" id="{5446D6A5-B2D0-B702-3CC8-A58672EE11BF}"/>
              </a:ext>
            </a:extLst>
          </p:cNvPr>
          <p:cNvSpPr txBox="1"/>
          <p:nvPr userDrawn="1">
            <p:custDataLst>
              <p:tags r:id="rId2"/>
            </p:custDataLst>
          </p:nvPr>
        </p:nvSpPr>
        <p:spPr>
          <a:xfrm>
            <a:off x="2103120" y="6851015"/>
            <a:ext cx="1554480" cy="136400"/>
          </a:xfrm>
          <a:prstGeom prst="rect">
            <a:avLst/>
          </a:prstGeom>
        </p:spPr>
        <p:txBody>
          <a:bodyPr vert="horz" lIns="0" tIns="0" rIns="0" bIns="0" rtlCol="0">
            <a:noAutofit/>
          </a:bodyPr>
          <a:lstStyle>
            <a:lvl1pPr marL="0" marR="0" lvl="0" indent="0" defTabSz="1005505" eaLnBrk="1" fontAlgn="auto" latinLnBrk="0" hangingPunct="1">
              <a:lnSpc>
                <a:spcPct val="100000"/>
              </a:lnSpc>
              <a:spcBef>
                <a:spcPts val="0"/>
              </a:spcBef>
              <a:spcAft>
                <a:spcPts val="0"/>
              </a:spcAft>
              <a:buClr>
                <a:schemeClr val="tx1"/>
              </a:buClr>
              <a:buSzPct val="75000"/>
              <a:buFont typeface="Wingdings 2" panose="05020102010507070707" pitchFamily="18" charset="2"/>
              <a:buNone/>
              <a:tabLst/>
              <a:defRPr lang="en-US" sz="1100" b="0" kern="0" baseline="0" dirty="0" smtClean="0">
                <a:latin typeface="+mn-lt"/>
              </a:defRPr>
            </a:lvl1pPr>
            <a:lvl2pPr marL="374400"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2pPr>
            <a:lvl3pPr marL="566928" marR="0" indent="-182880" defTabSz="1005505"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latin typeface="+mn-lt"/>
              </a:defRPr>
            </a:lvl3pPr>
            <a:lvl4pPr marL="758952"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4pPr>
            <a:lvl5pPr marL="950976" marR="0" indent="-182563" defTabSz="1005505"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latin typeface="+mn-lt"/>
              </a:defRPr>
            </a:lvl5pPr>
            <a:lvl6pPr marL="950976" marR="0" indent="-182563" defTabSz="1005505" fontAlgn="auto">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latin typeface="+mn-lt"/>
              </a:defRPr>
            </a:lvl6pPr>
            <a:lvl7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latin typeface="+mn-lt"/>
              </a:defRPr>
            </a:lvl7pPr>
            <a:lvl8pPr marL="0" marR="0" indent="0" defTabSz="1005505" fontAlgn="auto">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defRPr>
            </a:lvl8pPr>
            <a:lvl9pPr marL="0" marR="0" indent="0" defTabSz="1005505" fontAlgn="auto">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defRPr>
            </a:lvl9pPr>
          </a:lstStyle>
          <a:p>
            <a:pPr lvl="0"/>
            <a:r>
              <a:rPr lang="en-US"/>
              <a:t>Internal</a:t>
            </a:r>
          </a:p>
        </p:txBody>
      </p:sp>
      <p:sp>
        <p:nvSpPr>
          <p:cNvPr id="8" name="TextBox 7">
            <a:extLst>
              <a:ext uri="{FF2B5EF4-FFF2-40B4-BE49-F238E27FC236}">
                <a16:creationId xmlns:a16="http://schemas.microsoft.com/office/drawing/2014/main" id="{032A1B7F-F72F-E1A4-3DD6-2A26D50C26D4}"/>
              </a:ext>
            </a:extLst>
          </p:cNvPr>
          <p:cNvSpPr txBox="1"/>
          <p:nvPr/>
        </p:nvSpPr>
        <p:spPr>
          <a:xfrm>
            <a:off x="9599930" y="548640"/>
            <a:ext cx="3246120" cy="640080"/>
          </a:xfrm>
          <a:prstGeom prst="rect">
            <a:avLst/>
          </a:prstGeom>
          <a:noFill/>
        </p:spPr>
        <p:txBody>
          <a:bodyPr wrap="square" lIns="0" tIns="0" rIns="0" bIns="0" rtlCol="0">
            <a:noAutofit/>
          </a:bodyPr>
          <a:lstStyle/>
          <a:p>
            <a:pPr algn="l">
              <a:spcBef>
                <a:spcPts val="0"/>
              </a:spcBef>
            </a:pPr>
            <a:r>
              <a:rPr lang="en-US" sz="1100" b="1">
                <a:latin typeface="+mn-lt"/>
              </a:rPr>
              <a:t>UBS Asset Management</a:t>
            </a:r>
            <a:endParaRPr lang="en-US"/>
          </a:p>
          <a:p>
            <a:pPr algn="l">
              <a:spcBef>
                <a:spcPts val="0"/>
              </a:spcBef>
            </a:pPr>
            <a:r>
              <a:rPr lang="en-US" sz="1100">
                <a:latin typeface="+mn-lt"/>
              </a:rPr>
              <a:t>HK and SG edition</a:t>
            </a:r>
            <a:endParaRPr lang="en-US"/>
          </a:p>
          <a:p>
            <a:pPr algn="l">
              <a:spcBef>
                <a:spcPts val="0"/>
              </a:spcBef>
            </a:pPr>
            <a:r>
              <a:rPr lang="en-US" sz="1100">
                <a:latin typeface="+mn-lt"/>
              </a:rPr>
              <a:t>For Institutional/Professional/Accredited Investors only. </a:t>
            </a:r>
            <a:br>
              <a:rPr lang="en-GB" sz="1100">
                <a:latin typeface="+mn-lt"/>
              </a:rPr>
            </a:br>
            <a:r>
              <a:rPr lang="en-US" sz="1100">
                <a:latin typeface="+mn-lt"/>
              </a:rPr>
              <a:t>Not for Retail distribution.</a:t>
            </a:r>
            <a:endParaRPr lang="en-US"/>
          </a:p>
        </p:txBody>
      </p:sp>
      <p:sp>
        <p:nvSpPr>
          <p:cNvPr id="9" name="Keyline Title" descr="{&quot;templafy&quot;:{&quot;id&quot;:&quot;0753eb64-8f95-43f1-b040-f644186eb93b&quot;}}">
            <a:extLst>
              <a:ext uri="{FF2B5EF4-FFF2-40B4-BE49-F238E27FC236}">
                <a16:creationId xmlns:a16="http://schemas.microsoft.com/office/drawing/2014/main" id="{CA4E735A-A558-8652-D88E-C6A2CA7A5A51}"/>
              </a:ext>
            </a:extLst>
          </p:cNvPr>
          <p:cNvSpPr>
            <a:spLocks noGrp="1"/>
          </p:cNvSpPr>
          <p:nvPr>
            <p:ph type="title" hasCustomPrompt="1"/>
          </p:nvPr>
        </p:nvSpPr>
        <p:spPr>
          <a:xfrm>
            <a:off x="584359" y="1463040"/>
            <a:ext cx="10702800" cy="1800000"/>
          </a:xfrm>
          <a:custGeom>
            <a:avLst/>
            <a:gdLst>
              <a:gd name="connsiteX0" fmla="*/ 0 w 12313368"/>
              <a:gd name="connsiteY0" fmla="*/ 0 h 495300"/>
              <a:gd name="connsiteX1" fmla="*/ 12313368 w 12313368"/>
              <a:gd name="connsiteY1" fmla="*/ 0 h 495300"/>
              <a:gd name="connsiteX2" fmla="*/ 12313368 w 12313368"/>
              <a:gd name="connsiteY2" fmla="*/ 495300 h 495300"/>
              <a:gd name="connsiteX3" fmla="*/ 0 w 12313368"/>
              <a:gd name="connsiteY3" fmla="*/ 495300 h 495300"/>
              <a:gd name="connsiteX4" fmla="*/ 0 w 12313368"/>
              <a:gd name="connsiteY4" fmla="*/ 0 h 495300"/>
              <a:gd name="connsiteX0" fmla="*/ 12313368 w 12404808"/>
              <a:gd name="connsiteY0" fmla="*/ 495300 h 495300"/>
              <a:gd name="connsiteX1" fmla="*/ 0 w 12404808"/>
              <a:gd name="connsiteY1" fmla="*/ 495300 h 495300"/>
              <a:gd name="connsiteX2" fmla="*/ 0 w 12404808"/>
              <a:gd name="connsiteY2" fmla="*/ 0 h 495300"/>
              <a:gd name="connsiteX3" fmla="*/ 12404808 w 12404808"/>
              <a:gd name="connsiteY3" fmla="*/ 91440 h 495300"/>
              <a:gd name="connsiteX0" fmla="*/ 12313368 w 12313368"/>
              <a:gd name="connsiteY0" fmla="*/ 495300 h 495300"/>
              <a:gd name="connsiteX1" fmla="*/ 0 w 12313368"/>
              <a:gd name="connsiteY1" fmla="*/ 495300 h 495300"/>
              <a:gd name="connsiteX2" fmla="*/ 0 w 12313368"/>
              <a:gd name="connsiteY2" fmla="*/ 0 h 495300"/>
              <a:gd name="connsiteX0" fmla="*/ 0 w 0"/>
              <a:gd name="connsiteY0" fmla="*/ 495300 h 495300"/>
              <a:gd name="connsiteX1" fmla="*/ 0 w 0"/>
              <a:gd name="connsiteY1" fmla="*/ 0 h 495300"/>
              <a:gd name="connsiteX0" fmla="*/ 0 w 0"/>
              <a:gd name="connsiteY0" fmla="*/ 10000 h 10000"/>
              <a:gd name="connsiteX1" fmla="*/ 0 w 0"/>
              <a:gd name="connsiteY1" fmla="*/ 0 h 10000"/>
              <a:gd name="connsiteX2" fmla="*/ 0 w 0"/>
              <a:gd name="connsiteY2" fmla="*/ 10000 h 10000"/>
            </a:gdLst>
            <a:ahLst/>
            <a:cxnLst>
              <a:cxn ang="0">
                <a:pos x="connsiteX0" y="connsiteY0"/>
              </a:cxn>
              <a:cxn ang="0">
                <a:pos x="connsiteX1" y="connsiteY1"/>
              </a:cxn>
              <a:cxn ang="0">
                <a:pos x="connsiteX2" y="connsiteY2"/>
              </a:cxn>
            </a:cxnLst>
            <a:rect l="l" t="t" r="r" b="b"/>
            <a:pathLst>
              <a:path h="10000">
                <a:moveTo>
                  <a:pt x="0" y="10000"/>
                </a:moveTo>
                <a:lnTo>
                  <a:pt x="0" y="0"/>
                </a:lnTo>
                <a:lnTo>
                  <a:pt x="0" y="10000"/>
                </a:lnTo>
                <a:close/>
              </a:path>
            </a:pathLst>
          </a:custGeom>
          <a:ln w="76200" cap="sq">
            <a:solidFill>
              <a:schemeClr val="tx2"/>
            </a:solidFill>
            <a:miter lim="800000"/>
          </a:ln>
        </p:spPr>
        <p:txBody>
          <a:bodyPr wrap="square" lIns="410400" anchor="t" anchorCtr="0">
            <a:noAutofit/>
          </a:bodyPr>
          <a:lstStyle>
            <a:lvl1pPr>
              <a:lnSpc>
                <a:spcPct val="86000"/>
              </a:lnSpc>
              <a:defRPr sz="4400">
                <a:solidFill>
                  <a:schemeClr val="tx1"/>
                </a:solidFill>
              </a:defRPr>
            </a:lvl1pPr>
          </a:lstStyle>
          <a:p>
            <a:br>
              <a:rPr lang="en-US"/>
            </a:br>
            <a:r>
              <a:rPr lang="en-US"/>
              <a:t>Presentation title</a:t>
            </a:r>
          </a:p>
        </p:txBody>
      </p:sp>
      <p:sp>
        <p:nvSpPr>
          <p:cNvPr id="10" name="Infoline Title" descr="{&quot;templafy&quot;:{&quot;id&quot;:&quot;35ec8446-b7df-4f06-b676-e607576a394d&quot;}}">
            <a:extLst>
              <a:ext uri="{FF2B5EF4-FFF2-40B4-BE49-F238E27FC236}">
                <a16:creationId xmlns:a16="http://schemas.microsoft.com/office/drawing/2014/main" id="{F295AA1D-862A-5AC9-51A1-1A48A1BCE6C1}"/>
              </a:ext>
            </a:extLst>
          </p:cNvPr>
          <p:cNvSpPr>
            <a:spLocks noGrp="1"/>
          </p:cNvSpPr>
          <p:nvPr>
            <p:ph type="body" sz="quarter" idx="29" hasCustomPrompt="1"/>
          </p:nvPr>
        </p:nvSpPr>
        <p:spPr>
          <a:xfrm>
            <a:off x="583200" y="2929538"/>
            <a:ext cx="10631288" cy="334800"/>
          </a:xfrm>
        </p:spPr>
        <p:txBody>
          <a:bodyPr lIns="410400" tIns="0" rIns="0" bIns="0"/>
          <a:lstStyle>
            <a:lvl1pPr marL="0" indent="0">
              <a:spcBef>
                <a:spcPts val="0"/>
              </a:spcBef>
              <a:buFontTx/>
              <a:buNone/>
              <a:defRPr sz="2200"/>
            </a:lvl1pPr>
          </a:lstStyle>
          <a:p>
            <a:pPr lvl="0"/>
            <a:r>
              <a:rPr lang="en-US"/>
              <a:t>&lt;&lt;Infoline&gt;&gt;</a:t>
            </a:r>
          </a:p>
        </p:txBody>
      </p:sp>
      <p:sp>
        <p:nvSpPr>
          <p:cNvPr id="5" name="Text Placeholder 13" descr="{&quot;templafy&quot;:{&quot;id&quot;:&quot;787533bf-a743-4b33-b22a-15a00d38b528&quot;}}">
            <a:extLst>
              <a:ext uri="{FF2B5EF4-FFF2-40B4-BE49-F238E27FC236}">
                <a16:creationId xmlns:a16="http://schemas.microsoft.com/office/drawing/2014/main" id="{D205CA8F-FEDC-F612-392F-B060619B4856}"/>
              </a:ext>
            </a:extLst>
          </p:cNvPr>
          <p:cNvSpPr>
            <a:spLocks noGrp="1"/>
          </p:cNvSpPr>
          <p:nvPr>
            <p:ph type="body" sz="quarter" idx="30" hasCustomPrompt="1"/>
          </p:nvPr>
        </p:nvSpPr>
        <p:spPr>
          <a:xfrm>
            <a:off x="547688" y="4269600"/>
            <a:ext cx="30168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0" name="Text Placeholder 13" descr="{&quot;templafy&quot;:{&quot;id&quot;:&quot;04e241c8-24eb-42d7-9b5a-7caddecde81b&quot;}}">
            <a:extLst>
              <a:ext uri="{FF2B5EF4-FFF2-40B4-BE49-F238E27FC236}">
                <a16:creationId xmlns:a16="http://schemas.microsoft.com/office/drawing/2014/main" id="{D7030526-84C5-66FD-625B-20A2933BC098}"/>
              </a:ext>
            </a:extLst>
          </p:cNvPr>
          <p:cNvSpPr>
            <a:spLocks noGrp="1"/>
          </p:cNvSpPr>
          <p:nvPr>
            <p:ph type="body" sz="quarter" idx="34" hasCustomPrompt="1"/>
          </p:nvPr>
        </p:nvSpPr>
        <p:spPr>
          <a:xfrm>
            <a:off x="548640" y="4521600"/>
            <a:ext cx="30168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19" name="Text Placeholder 13" descr="{&quot;templafy&quot;:{&quot;id&quot;:&quot;502ce798-8d09-4a0d-a4e7-9ae22ddfa173&quot;}}">
            <a:extLst>
              <a:ext uri="{FF2B5EF4-FFF2-40B4-BE49-F238E27FC236}">
                <a16:creationId xmlns:a16="http://schemas.microsoft.com/office/drawing/2014/main" id="{8AB84284-3667-9CF0-E92E-43735A5DE126}"/>
              </a:ext>
            </a:extLst>
          </p:cNvPr>
          <p:cNvSpPr>
            <a:spLocks noGrp="1"/>
          </p:cNvSpPr>
          <p:nvPr>
            <p:ph type="body" sz="quarter" idx="33" hasCustomPrompt="1"/>
          </p:nvPr>
        </p:nvSpPr>
        <p:spPr>
          <a:xfrm>
            <a:off x="3751200" y="4276012"/>
            <a:ext cx="3016800" cy="252000"/>
          </a:xfrm>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ation presenter&gt;&gt;</a:t>
            </a:r>
          </a:p>
        </p:txBody>
      </p:sp>
      <p:sp>
        <p:nvSpPr>
          <p:cNvPr id="21" name="Text Placeholder 13" descr="{&quot;templafy&quot;:{&quot;id&quot;:&quot;770e69f1-3dd9-4639-afed-bdf081408b5c&quot;}}">
            <a:extLst>
              <a:ext uri="{FF2B5EF4-FFF2-40B4-BE49-F238E27FC236}">
                <a16:creationId xmlns:a16="http://schemas.microsoft.com/office/drawing/2014/main" id="{1F4B0ABD-0695-F351-BF69-0FBCC2F32D45}"/>
              </a:ext>
            </a:extLst>
          </p:cNvPr>
          <p:cNvSpPr>
            <a:spLocks noGrp="1"/>
          </p:cNvSpPr>
          <p:nvPr>
            <p:ph type="body" sz="quarter" idx="35" hasCustomPrompt="1"/>
          </p:nvPr>
        </p:nvSpPr>
        <p:spPr>
          <a:xfrm>
            <a:off x="3751200" y="4521600"/>
            <a:ext cx="3016800" cy="252000"/>
          </a:xfrm>
          <a:ln>
            <a:noFill/>
          </a:ln>
        </p:spPr>
        <p:txBody>
          <a:bodyPr lIns="0"/>
          <a:lstStyle>
            <a:lvl1pPr marL="0" indent="0">
              <a:spcBef>
                <a:spcPts val="0"/>
              </a:spcBef>
              <a:buFontTx/>
              <a:buNone/>
              <a:defRPr sz="1400"/>
            </a:lvl1pPr>
            <a:lvl2pPr marL="191520" indent="0">
              <a:buFontTx/>
              <a:buNone/>
              <a:defRPr/>
            </a:lvl2pPr>
            <a:lvl3pPr marL="384048" indent="0">
              <a:buFontTx/>
              <a:buNone/>
              <a:defRPr/>
            </a:lvl3pPr>
            <a:lvl4pPr marL="576389" indent="0">
              <a:buFontTx/>
              <a:buNone/>
              <a:defRPr/>
            </a:lvl4pPr>
            <a:lvl5pPr marL="768413" indent="0">
              <a:buFontTx/>
              <a:buNone/>
              <a:defRPr/>
            </a:lvl5pPr>
          </a:lstStyle>
          <a:p>
            <a:pPr lvl="0"/>
            <a:r>
              <a:rPr lang="en-US"/>
              <a:t>&lt;&lt;Presenter function&gt;&gt;</a:t>
            </a:r>
          </a:p>
        </p:txBody>
      </p:sp>
      <p:sp>
        <p:nvSpPr>
          <p:cNvPr id="7" name="TextBox 6">
            <a:extLst>
              <a:ext uri="{FF2B5EF4-FFF2-40B4-BE49-F238E27FC236}">
                <a16:creationId xmlns:a16="http://schemas.microsoft.com/office/drawing/2014/main" id="{9870FBEE-37FC-F833-5E45-0CE445957D3F}"/>
              </a:ext>
            </a:extLst>
          </p:cNvPr>
          <p:cNvSpPr txBox="1"/>
          <p:nvPr/>
        </p:nvSpPr>
        <p:spPr>
          <a:xfrm>
            <a:off x="547199" y="5076000"/>
            <a:ext cx="7009200" cy="1533600"/>
          </a:xfrm>
          <a:prstGeom prst="rect">
            <a:avLst/>
          </a:prstGeom>
          <a:noFill/>
        </p:spPr>
        <p:txBody>
          <a:bodyPr wrap="square" lIns="0" tIns="0" rIns="0" bIns="0" rtlCol="0">
            <a:noAutofit/>
          </a:bodyPr>
          <a:lstStyle/>
          <a:p>
            <a:pPr>
              <a:spcBef>
                <a:spcPts val="300"/>
              </a:spcBef>
            </a:pPr>
            <a:r>
              <a:rPr lang="en-US" sz="1100" b="1"/>
              <a:t>Hong Kong Investors</a:t>
            </a:r>
            <a:r>
              <a:rPr lang="en-US" sz="1100"/>
              <a:t>: Please note that the UBS (Lux) Equity SICAV – Global High Dividend Sustainable (USD) is not authorized by the Securities and Futures Commission in Hong Kong. The sole purpose of this presentation is purely for information and discussion only. This document has not been reviewed by the Securities and Futures Commission in HK. This document is provided to Professional Investors (as defined in the HK SFO Cap571) for their information only. Distribution of the document to retail investors of HK is strictly prohibited.</a:t>
            </a:r>
            <a:endParaRPr lang="en-US"/>
          </a:p>
          <a:p>
            <a:pPr>
              <a:spcBef>
                <a:spcPts val="300"/>
              </a:spcBef>
            </a:pPr>
            <a:r>
              <a:rPr lang="en-US" sz="1100" b="1"/>
              <a:t>Singapore Investors</a:t>
            </a:r>
            <a:r>
              <a:rPr lang="en-US" sz="1100"/>
              <a:t>: Please note that UBS (Lux) Equity SICAV – Global High Dividend Sustainable (USD) has been entered into the List of Restricted Schemes by Monetary Authority of Singapore (as defined in regulation 2 of the Securities and Futures (Offers of Investments) (Collective Investment Schemes) Regulations 2005) under paragraph 3 or 4 of the Sixth Schedule of the Regulations. This document is not to be distributed to the retail public of Singapore.</a:t>
            </a:r>
            <a:endParaRPr lang="en-US"/>
          </a:p>
          <a:p>
            <a:pPr algn="l"/>
            <a:endParaRPr lang="en-US" sz="1100" err="1">
              <a:latin typeface="+mn-lt"/>
            </a:endParaRPr>
          </a:p>
        </p:txBody>
      </p:sp>
      <p:sp>
        <p:nvSpPr>
          <p:cNvPr id="18" name="Date" descr="{&quot;templafy&quot;:{&quot;id&quot;:&quot;8a6b28d5-e585-4fe7-821c-197630a2e515&quot;}}">
            <a:extLst>
              <a:ext uri="{FF2B5EF4-FFF2-40B4-BE49-F238E27FC236}">
                <a16:creationId xmlns:a16="http://schemas.microsoft.com/office/drawing/2014/main" id="{1D7BB34C-DB2B-A8C0-5CC3-6700FB1C4E86}"/>
              </a:ext>
            </a:extLst>
          </p:cNvPr>
          <p:cNvSpPr>
            <a:spLocks noGrp="1"/>
          </p:cNvSpPr>
          <p:nvPr>
            <p:ph type="body" sz="quarter" idx="13" hasCustomPrompt="1"/>
          </p:nvPr>
        </p:nvSpPr>
        <p:spPr>
          <a:xfrm>
            <a:off x="548640" y="6851015"/>
            <a:ext cx="1371600" cy="137160"/>
          </a:xfrm>
        </p:spPr>
        <p:txBody>
          <a:bodyPr/>
          <a:lstStyle>
            <a:lvl1pPr marL="0" indent="0">
              <a:lnSpc>
                <a:spcPct val="100000"/>
              </a:lnSpc>
              <a:spcBef>
                <a:spcPts val="0"/>
              </a:spcBef>
              <a:buNone/>
              <a:defRPr sz="1100"/>
            </a:lvl1pPr>
          </a:lstStyle>
          <a:p>
            <a:pPr lvl="0"/>
            <a:r>
              <a:rPr lang="en-US"/>
              <a:t>&lt;&lt;Date&gt;&gt;</a:t>
            </a:r>
          </a:p>
        </p:txBody>
      </p:sp>
      <p:sp>
        <p:nvSpPr>
          <p:cNvPr id="2" name="LogoTab">
            <a:extLst>
              <a:ext uri="{FF2B5EF4-FFF2-40B4-BE49-F238E27FC236}">
                <a16:creationId xmlns:a16="http://schemas.microsoft.com/office/drawing/2014/main" id="{41BFB572-2430-7FDA-7B8A-5B4B828243F0}"/>
              </a:ext>
            </a:extLst>
          </p:cNvPr>
          <p:cNvSpPr/>
          <p:nvPr/>
        </p:nvSpPr>
        <p:spPr>
          <a:xfrm>
            <a:off x="10994400" y="6238800"/>
            <a:ext cx="2412000" cy="9288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pic>
        <p:nvPicPr>
          <p:cNvPr id="559362525" name="InsideLogo" descr="{&quot;templafy&quot;:{&quot;id&quot;:&quot;f6805f6c-87a5-4d1a-a8d5-e371997d3f93&quot;}}"/>
          <p:cNvPicPr>
            <a:picLocks noChangeAspect="1"/>
          </p:cNvPicPr>
          <p:nvPr/>
        </p:nvPicPr>
        <p:blipFill>
          <a:blip r:embed="rId7"/>
          <a:stretch>
            <a:fillRect/>
          </a:stretch>
        </p:blipFill>
        <p:spPr>
          <a:xfrm>
            <a:off x="11271600" y="6429600"/>
            <a:ext cx="1569612" cy="558000"/>
          </a:xfrm>
          <a:prstGeom prst="rect">
            <a:avLst/>
          </a:prstGeom>
        </p:spPr>
      </p:pic>
      <p:sp>
        <p:nvSpPr>
          <p:cNvPr id="11" name="LogoFrame" descr="{&quot;templafy&quot;:{&quot;id&quot;:&quot;9448080b-cbec-4764-acf1-380c6c414a81&quot;}}">
            <a:extLst>
              <a:ext uri="{FF2B5EF4-FFF2-40B4-BE49-F238E27FC236}">
                <a16:creationId xmlns:a16="http://schemas.microsoft.com/office/drawing/2014/main" id="{30E0114F-960F-25DF-A48A-720B4E9BADB9}"/>
              </a:ext>
            </a:extLst>
          </p:cNvPr>
          <p:cNvSpPr/>
          <p:nvPr/>
        </p:nvSpPr>
        <p:spPr>
          <a:xfrm>
            <a:off x="7495200" y="6245352"/>
            <a:ext cx="2556000" cy="92354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err="1">
              <a:solidFill>
                <a:schemeClr val="tx1"/>
              </a:solidFill>
            </a:endParaRPr>
          </a:p>
        </p:txBody>
      </p:sp>
      <p:graphicFrame>
        <p:nvGraphicFramePr>
          <p:cNvPr id="14" name="Object 13" hidden="1">
            <a:extLst>
              <a:ext uri="{FF2B5EF4-FFF2-40B4-BE49-F238E27FC236}">
                <a16:creationId xmlns:a16="http://schemas.microsoft.com/office/drawing/2014/main" id="{347246C6-7455-04EF-9505-4DDD85ED7F97}"/>
              </a:ext>
            </a:extLst>
          </p:cNvPr>
          <p:cNvGraphicFramePr>
            <a:graphicFrameLocks noChangeAspect="1"/>
          </p:cNvGraphicFramePr>
          <p:nvPr>
            <p:custDataLst>
              <p:tags r:id="rId3"/>
            </p:custDataLst>
            <p:extLst>
              <p:ext uri="{D42A27DB-BD31-4B8C-83A1-F6EECF244321}">
                <p14:modId xmlns:p14="http://schemas.microsoft.com/office/powerpoint/2010/main" val="169592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4" name="Object 13" hidden="1">
                        <a:extLst>
                          <a:ext uri="{FF2B5EF4-FFF2-40B4-BE49-F238E27FC236}">
                            <a16:creationId xmlns:a16="http://schemas.microsoft.com/office/drawing/2014/main" id="{347246C6-7455-04EF-9505-4DDD85ED7F9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5" name="Object 14" hidden="1">
            <a:extLst>
              <a:ext uri="{FF2B5EF4-FFF2-40B4-BE49-F238E27FC236}">
                <a16:creationId xmlns:a16="http://schemas.microsoft.com/office/drawing/2014/main" id="{8D87D6F1-6BFA-F7D3-00AA-7935CBBB5425}"/>
              </a:ext>
            </a:extLst>
          </p:cNvPr>
          <p:cNvGraphicFramePr>
            <a:graphicFrameLocks noChangeAspect="1"/>
          </p:cNvGraphicFramePr>
          <p:nvPr>
            <p:custDataLst>
              <p:tags r:id="rId4"/>
            </p:custDataLst>
            <p:extLst>
              <p:ext uri="{D42A27DB-BD31-4B8C-83A1-F6EECF244321}">
                <p14:modId xmlns:p14="http://schemas.microsoft.com/office/powerpoint/2010/main" val="2873433539"/>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5" name="Object 14" hidden="1">
                        <a:extLst>
                          <a:ext uri="{FF2B5EF4-FFF2-40B4-BE49-F238E27FC236}">
                            <a16:creationId xmlns:a16="http://schemas.microsoft.com/office/drawing/2014/main" id="{8D87D6F1-6BFA-F7D3-00AA-7935CBBB5425}"/>
                          </a:ext>
                        </a:extLst>
                      </p:cNvPr>
                      <p:cNvPicPr/>
                      <p:nvPr/>
                    </p:nvPicPr>
                    <p:blipFill>
                      <a:blip r:embed="rId9"/>
                      <a:stretch>
                        <a:fillRect/>
                      </a:stretch>
                    </p:blipFill>
                    <p:spPr>
                      <a:xfrm>
                        <a:off x="153988" y="153988"/>
                        <a:ext cx="1588" cy="1588"/>
                      </a:xfrm>
                      <a:prstGeom prst="rect">
                        <a:avLst/>
                      </a:prstGeom>
                    </p:spPr>
                  </p:pic>
                </p:oleObj>
              </mc:Fallback>
            </mc:AlternateContent>
          </a:graphicData>
        </a:graphic>
      </p:graphicFrame>
      <p:graphicFrame>
        <p:nvGraphicFramePr>
          <p:cNvPr id="16" name="Object 15" hidden="1">
            <a:extLst>
              <a:ext uri="{FF2B5EF4-FFF2-40B4-BE49-F238E27FC236}">
                <a16:creationId xmlns:a16="http://schemas.microsoft.com/office/drawing/2014/main" id="{6A873F5A-FB1D-2E6D-08F7-1CBA3311E11A}"/>
              </a:ext>
            </a:extLst>
          </p:cNvPr>
          <p:cNvGraphicFramePr>
            <a:graphicFrameLocks noChangeAspect="1"/>
          </p:cNvGraphicFramePr>
          <p:nvPr>
            <p:custDataLst>
              <p:tags r:id="rId5"/>
            </p:custDataLst>
            <p:extLst>
              <p:ext uri="{D42A27DB-BD31-4B8C-83A1-F6EECF244321}">
                <p14:modId xmlns:p14="http://schemas.microsoft.com/office/powerpoint/2010/main" val="719793120"/>
              </p:ext>
            </p:ext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6" name="Object 15" hidden="1">
                        <a:extLst>
                          <a:ext uri="{FF2B5EF4-FFF2-40B4-BE49-F238E27FC236}">
                            <a16:creationId xmlns:a16="http://schemas.microsoft.com/office/drawing/2014/main" id="{6A873F5A-FB1D-2E6D-08F7-1CBA3311E11A}"/>
                          </a:ext>
                        </a:extLst>
                      </p:cNvPr>
                      <p:cNvPicPr/>
                      <p:nvPr/>
                    </p:nvPicPr>
                    <p:blipFill>
                      <a:blip r:embed="rId9"/>
                      <a:stretch>
                        <a:fillRect/>
                      </a:stretch>
                    </p:blipFill>
                    <p:spPr>
                      <a:xfrm>
                        <a:off x="306388" y="306388"/>
                        <a:ext cx="1588" cy="1588"/>
                      </a:xfrm>
                      <a:prstGeom prst="rect">
                        <a:avLst/>
                      </a:prstGeom>
                    </p:spPr>
                  </p:pic>
                </p:oleObj>
              </mc:Fallback>
            </mc:AlternateContent>
          </a:graphicData>
        </a:graphic>
      </p:graphicFrame>
      <p:sp>
        <p:nvSpPr>
          <p:cNvPr id="17" name="TemplafyBrandVersion" hidden="1">
            <a:extLst>
              <a:ext uri="{FF2B5EF4-FFF2-40B4-BE49-F238E27FC236}">
                <a16:creationId xmlns:a16="http://schemas.microsoft.com/office/drawing/2014/main" id="{4162605B-B231-7A84-8ABF-8FDF501169B1}"/>
              </a:ext>
            </a:extLst>
          </p:cNvPr>
          <p:cNvSpPr/>
          <p:nvPr/>
        </p:nvSpPr>
        <p:spPr>
          <a:xfrm>
            <a:off x="-346528" y="0"/>
            <a:ext cx="180000" cy="21600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
                <a:solidFill>
                  <a:schemeClr val="tx1"/>
                </a:solidFill>
              </a:rPr>
              <a:t>v3</a:t>
            </a:r>
            <a:endParaRPr lang="en-US"/>
          </a:p>
        </p:txBody>
      </p:sp>
    </p:spTree>
    <p:extLst>
      <p:ext uri="{BB962C8B-B14F-4D97-AF65-F5344CB8AC3E}">
        <p14:creationId xmlns:p14="http://schemas.microsoft.com/office/powerpoint/2010/main" val="453624065"/>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86.xml"/><Relationship Id="rId21" Type="http://schemas.openxmlformats.org/officeDocument/2006/relationships/slideLayout" Target="../slideLayouts/slideLayout21.xml"/><Relationship Id="rId42" Type="http://schemas.openxmlformats.org/officeDocument/2006/relationships/tags" Target="../tags/tag11.xml"/><Relationship Id="rId63" Type="http://schemas.openxmlformats.org/officeDocument/2006/relationships/tags" Target="../tags/tag32.xml"/><Relationship Id="rId84" Type="http://schemas.openxmlformats.org/officeDocument/2006/relationships/tags" Target="../tags/tag53.xml"/><Relationship Id="rId138" Type="http://schemas.openxmlformats.org/officeDocument/2006/relationships/tags" Target="../tags/tag107.xml"/><Relationship Id="rId159" Type="http://schemas.openxmlformats.org/officeDocument/2006/relationships/image" Target="../media/image1.emf"/><Relationship Id="rId107" Type="http://schemas.openxmlformats.org/officeDocument/2006/relationships/tags" Target="../tags/tag76.xml"/><Relationship Id="rId11" Type="http://schemas.openxmlformats.org/officeDocument/2006/relationships/slideLayout" Target="../slideLayouts/slideLayout11.xml"/><Relationship Id="rId32" Type="http://schemas.openxmlformats.org/officeDocument/2006/relationships/theme" Target="../theme/theme1.xml"/><Relationship Id="rId53" Type="http://schemas.openxmlformats.org/officeDocument/2006/relationships/tags" Target="../tags/tag22.xml"/><Relationship Id="rId74" Type="http://schemas.openxmlformats.org/officeDocument/2006/relationships/tags" Target="../tags/tag43.xml"/><Relationship Id="rId128" Type="http://schemas.openxmlformats.org/officeDocument/2006/relationships/tags" Target="../tags/tag97.xml"/><Relationship Id="rId149" Type="http://schemas.openxmlformats.org/officeDocument/2006/relationships/tags" Target="../tags/tag118.xml"/><Relationship Id="rId5" Type="http://schemas.openxmlformats.org/officeDocument/2006/relationships/slideLayout" Target="../slideLayouts/slideLayout5.xml"/><Relationship Id="rId95" Type="http://schemas.openxmlformats.org/officeDocument/2006/relationships/tags" Target="../tags/tag64.xml"/><Relationship Id="rId22" Type="http://schemas.openxmlformats.org/officeDocument/2006/relationships/slideLayout" Target="../slideLayouts/slideLayout22.xml"/><Relationship Id="rId43" Type="http://schemas.openxmlformats.org/officeDocument/2006/relationships/tags" Target="../tags/tag12.xml"/><Relationship Id="rId64" Type="http://schemas.openxmlformats.org/officeDocument/2006/relationships/tags" Target="../tags/tag33.xml"/><Relationship Id="rId118" Type="http://schemas.openxmlformats.org/officeDocument/2006/relationships/tags" Target="../tags/tag87.xml"/><Relationship Id="rId139" Type="http://schemas.openxmlformats.org/officeDocument/2006/relationships/tags" Target="../tags/tag108.xml"/><Relationship Id="rId80" Type="http://schemas.openxmlformats.org/officeDocument/2006/relationships/tags" Target="../tags/tag49.xml"/><Relationship Id="rId85" Type="http://schemas.openxmlformats.org/officeDocument/2006/relationships/tags" Target="../tags/tag54.xml"/><Relationship Id="rId150" Type="http://schemas.openxmlformats.org/officeDocument/2006/relationships/tags" Target="../tags/tag119.xml"/><Relationship Id="rId155" Type="http://schemas.openxmlformats.org/officeDocument/2006/relationships/tags" Target="../tags/tag124.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tags" Target="../tags/tag2.xml"/><Relationship Id="rId38" Type="http://schemas.openxmlformats.org/officeDocument/2006/relationships/tags" Target="../tags/tag7.xml"/><Relationship Id="rId59" Type="http://schemas.openxmlformats.org/officeDocument/2006/relationships/tags" Target="../tags/tag28.xml"/><Relationship Id="rId103" Type="http://schemas.openxmlformats.org/officeDocument/2006/relationships/tags" Target="../tags/tag72.xml"/><Relationship Id="rId108" Type="http://schemas.openxmlformats.org/officeDocument/2006/relationships/tags" Target="../tags/tag77.xml"/><Relationship Id="rId124" Type="http://schemas.openxmlformats.org/officeDocument/2006/relationships/tags" Target="../tags/tag93.xml"/><Relationship Id="rId129" Type="http://schemas.openxmlformats.org/officeDocument/2006/relationships/tags" Target="../tags/tag98.xml"/><Relationship Id="rId54" Type="http://schemas.openxmlformats.org/officeDocument/2006/relationships/tags" Target="../tags/tag23.xml"/><Relationship Id="rId70" Type="http://schemas.openxmlformats.org/officeDocument/2006/relationships/tags" Target="../tags/tag39.xml"/><Relationship Id="rId75" Type="http://schemas.openxmlformats.org/officeDocument/2006/relationships/tags" Target="../tags/tag44.xml"/><Relationship Id="rId91" Type="http://schemas.openxmlformats.org/officeDocument/2006/relationships/tags" Target="../tags/tag60.xml"/><Relationship Id="rId96" Type="http://schemas.openxmlformats.org/officeDocument/2006/relationships/tags" Target="../tags/tag65.xml"/><Relationship Id="rId140" Type="http://schemas.openxmlformats.org/officeDocument/2006/relationships/tags" Target="../tags/tag109.xml"/><Relationship Id="rId145" Type="http://schemas.openxmlformats.org/officeDocument/2006/relationships/tags" Target="../tags/tag114.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tags" Target="../tags/tag18.xml"/><Relationship Id="rId114" Type="http://schemas.openxmlformats.org/officeDocument/2006/relationships/tags" Target="../tags/tag83.xml"/><Relationship Id="rId119" Type="http://schemas.openxmlformats.org/officeDocument/2006/relationships/tags" Target="../tags/tag88.xml"/><Relationship Id="rId44" Type="http://schemas.openxmlformats.org/officeDocument/2006/relationships/tags" Target="../tags/tag13.xml"/><Relationship Id="rId60" Type="http://schemas.openxmlformats.org/officeDocument/2006/relationships/tags" Target="../tags/tag29.xml"/><Relationship Id="rId65" Type="http://schemas.openxmlformats.org/officeDocument/2006/relationships/tags" Target="../tags/tag34.xml"/><Relationship Id="rId81" Type="http://schemas.openxmlformats.org/officeDocument/2006/relationships/tags" Target="../tags/tag50.xml"/><Relationship Id="rId86" Type="http://schemas.openxmlformats.org/officeDocument/2006/relationships/tags" Target="../tags/tag55.xml"/><Relationship Id="rId130" Type="http://schemas.openxmlformats.org/officeDocument/2006/relationships/tags" Target="../tags/tag99.xml"/><Relationship Id="rId135" Type="http://schemas.openxmlformats.org/officeDocument/2006/relationships/tags" Target="../tags/tag104.xml"/><Relationship Id="rId151" Type="http://schemas.openxmlformats.org/officeDocument/2006/relationships/tags" Target="../tags/tag120.xml"/><Relationship Id="rId156" Type="http://schemas.openxmlformats.org/officeDocument/2006/relationships/tags" Target="../tags/tag12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8.xml"/><Relationship Id="rId109" Type="http://schemas.openxmlformats.org/officeDocument/2006/relationships/tags" Target="../tags/tag78.xml"/><Relationship Id="rId34" Type="http://schemas.openxmlformats.org/officeDocument/2006/relationships/tags" Target="../tags/tag3.xml"/><Relationship Id="rId50" Type="http://schemas.openxmlformats.org/officeDocument/2006/relationships/tags" Target="../tags/tag19.xml"/><Relationship Id="rId55" Type="http://schemas.openxmlformats.org/officeDocument/2006/relationships/tags" Target="../tags/tag24.xml"/><Relationship Id="rId76" Type="http://schemas.openxmlformats.org/officeDocument/2006/relationships/tags" Target="../tags/tag45.xml"/><Relationship Id="rId97" Type="http://schemas.openxmlformats.org/officeDocument/2006/relationships/tags" Target="../tags/tag66.xml"/><Relationship Id="rId104" Type="http://schemas.openxmlformats.org/officeDocument/2006/relationships/tags" Target="../tags/tag73.xml"/><Relationship Id="rId120" Type="http://schemas.openxmlformats.org/officeDocument/2006/relationships/tags" Target="../tags/tag89.xml"/><Relationship Id="rId125" Type="http://schemas.openxmlformats.org/officeDocument/2006/relationships/tags" Target="../tags/tag94.xml"/><Relationship Id="rId141" Type="http://schemas.openxmlformats.org/officeDocument/2006/relationships/tags" Target="../tags/tag110.xml"/><Relationship Id="rId146" Type="http://schemas.openxmlformats.org/officeDocument/2006/relationships/tags" Target="../tags/tag115.xml"/><Relationship Id="rId7" Type="http://schemas.openxmlformats.org/officeDocument/2006/relationships/slideLayout" Target="../slideLayouts/slideLayout7.xml"/><Relationship Id="rId71" Type="http://schemas.openxmlformats.org/officeDocument/2006/relationships/tags" Target="../tags/tag40.xml"/><Relationship Id="rId92" Type="http://schemas.openxmlformats.org/officeDocument/2006/relationships/tags" Target="../tags/tag6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tags" Target="../tags/tag9.xml"/><Relationship Id="rId45" Type="http://schemas.openxmlformats.org/officeDocument/2006/relationships/tags" Target="../tags/tag14.xml"/><Relationship Id="rId66" Type="http://schemas.openxmlformats.org/officeDocument/2006/relationships/tags" Target="../tags/tag35.xml"/><Relationship Id="rId87" Type="http://schemas.openxmlformats.org/officeDocument/2006/relationships/tags" Target="../tags/tag56.xml"/><Relationship Id="rId110" Type="http://schemas.openxmlformats.org/officeDocument/2006/relationships/tags" Target="../tags/tag79.xml"/><Relationship Id="rId115" Type="http://schemas.openxmlformats.org/officeDocument/2006/relationships/tags" Target="../tags/tag84.xml"/><Relationship Id="rId131" Type="http://schemas.openxmlformats.org/officeDocument/2006/relationships/tags" Target="../tags/tag100.xml"/><Relationship Id="rId136" Type="http://schemas.openxmlformats.org/officeDocument/2006/relationships/tags" Target="../tags/tag105.xml"/><Relationship Id="rId157" Type="http://schemas.openxmlformats.org/officeDocument/2006/relationships/tags" Target="../tags/tag126.xml"/><Relationship Id="rId61" Type="http://schemas.openxmlformats.org/officeDocument/2006/relationships/tags" Target="../tags/tag30.xml"/><Relationship Id="rId82" Type="http://schemas.openxmlformats.org/officeDocument/2006/relationships/tags" Target="../tags/tag51.xml"/><Relationship Id="rId152" Type="http://schemas.openxmlformats.org/officeDocument/2006/relationships/tags" Target="../tags/tag12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tags" Target="../tags/tag4.xml"/><Relationship Id="rId56" Type="http://schemas.openxmlformats.org/officeDocument/2006/relationships/tags" Target="../tags/tag25.xml"/><Relationship Id="rId77" Type="http://schemas.openxmlformats.org/officeDocument/2006/relationships/tags" Target="../tags/tag46.xml"/><Relationship Id="rId100" Type="http://schemas.openxmlformats.org/officeDocument/2006/relationships/tags" Target="../tags/tag69.xml"/><Relationship Id="rId105" Type="http://schemas.openxmlformats.org/officeDocument/2006/relationships/tags" Target="../tags/tag74.xml"/><Relationship Id="rId126" Type="http://schemas.openxmlformats.org/officeDocument/2006/relationships/tags" Target="../tags/tag95.xml"/><Relationship Id="rId147" Type="http://schemas.openxmlformats.org/officeDocument/2006/relationships/tags" Target="../tags/tag116.xml"/><Relationship Id="rId8" Type="http://schemas.openxmlformats.org/officeDocument/2006/relationships/slideLayout" Target="../slideLayouts/slideLayout8.xml"/><Relationship Id="rId51" Type="http://schemas.openxmlformats.org/officeDocument/2006/relationships/tags" Target="../tags/tag20.xml"/><Relationship Id="rId72" Type="http://schemas.openxmlformats.org/officeDocument/2006/relationships/tags" Target="../tags/tag41.xml"/><Relationship Id="rId93" Type="http://schemas.openxmlformats.org/officeDocument/2006/relationships/tags" Target="../tags/tag62.xml"/><Relationship Id="rId98" Type="http://schemas.openxmlformats.org/officeDocument/2006/relationships/tags" Target="../tags/tag67.xml"/><Relationship Id="rId121" Type="http://schemas.openxmlformats.org/officeDocument/2006/relationships/tags" Target="../tags/tag90.xml"/><Relationship Id="rId142" Type="http://schemas.openxmlformats.org/officeDocument/2006/relationships/tags" Target="../tags/tag11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tags" Target="../tags/tag15.xml"/><Relationship Id="rId67" Type="http://schemas.openxmlformats.org/officeDocument/2006/relationships/tags" Target="../tags/tag36.xml"/><Relationship Id="rId116" Type="http://schemas.openxmlformats.org/officeDocument/2006/relationships/tags" Target="../tags/tag85.xml"/><Relationship Id="rId137" Type="http://schemas.openxmlformats.org/officeDocument/2006/relationships/tags" Target="../tags/tag106.xml"/><Relationship Id="rId158"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0.xml"/><Relationship Id="rId62" Type="http://schemas.openxmlformats.org/officeDocument/2006/relationships/tags" Target="../tags/tag31.xml"/><Relationship Id="rId83" Type="http://schemas.openxmlformats.org/officeDocument/2006/relationships/tags" Target="../tags/tag52.xml"/><Relationship Id="rId88" Type="http://schemas.openxmlformats.org/officeDocument/2006/relationships/tags" Target="../tags/tag57.xml"/><Relationship Id="rId111" Type="http://schemas.openxmlformats.org/officeDocument/2006/relationships/tags" Target="../tags/tag80.xml"/><Relationship Id="rId132" Type="http://schemas.openxmlformats.org/officeDocument/2006/relationships/tags" Target="../tags/tag101.xml"/><Relationship Id="rId153" Type="http://schemas.openxmlformats.org/officeDocument/2006/relationships/tags" Target="../tags/tag122.xml"/><Relationship Id="rId15" Type="http://schemas.openxmlformats.org/officeDocument/2006/relationships/slideLayout" Target="../slideLayouts/slideLayout15.xml"/><Relationship Id="rId36" Type="http://schemas.openxmlformats.org/officeDocument/2006/relationships/tags" Target="../tags/tag5.xml"/><Relationship Id="rId57" Type="http://schemas.openxmlformats.org/officeDocument/2006/relationships/tags" Target="../tags/tag26.xml"/><Relationship Id="rId106" Type="http://schemas.openxmlformats.org/officeDocument/2006/relationships/tags" Target="../tags/tag75.xml"/><Relationship Id="rId127" Type="http://schemas.openxmlformats.org/officeDocument/2006/relationships/tags" Target="../tags/tag9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tags" Target="../tags/tag21.xml"/><Relationship Id="rId73" Type="http://schemas.openxmlformats.org/officeDocument/2006/relationships/tags" Target="../tags/tag42.xml"/><Relationship Id="rId78" Type="http://schemas.openxmlformats.org/officeDocument/2006/relationships/tags" Target="../tags/tag47.xml"/><Relationship Id="rId94" Type="http://schemas.openxmlformats.org/officeDocument/2006/relationships/tags" Target="../tags/tag63.xml"/><Relationship Id="rId99" Type="http://schemas.openxmlformats.org/officeDocument/2006/relationships/tags" Target="../tags/tag68.xml"/><Relationship Id="rId101" Type="http://schemas.openxmlformats.org/officeDocument/2006/relationships/tags" Target="../tags/tag70.xml"/><Relationship Id="rId122" Type="http://schemas.openxmlformats.org/officeDocument/2006/relationships/tags" Target="../tags/tag91.xml"/><Relationship Id="rId143" Type="http://schemas.openxmlformats.org/officeDocument/2006/relationships/tags" Target="../tags/tag112.xml"/><Relationship Id="rId148" Type="http://schemas.openxmlformats.org/officeDocument/2006/relationships/tags" Target="../tags/tag117.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tags" Target="../tags/tag16.xml"/><Relationship Id="rId68" Type="http://schemas.openxmlformats.org/officeDocument/2006/relationships/tags" Target="../tags/tag37.xml"/><Relationship Id="rId89" Type="http://schemas.openxmlformats.org/officeDocument/2006/relationships/tags" Target="../tags/tag58.xml"/><Relationship Id="rId112" Type="http://schemas.openxmlformats.org/officeDocument/2006/relationships/tags" Target="../tags/tag81.xml"/><Relationship Id="rId133" Type="http://schemas.openxmlformats.org/officeDocument/2006/relationships/tags" Target="../tags/tag102.xml"/><Relationship Id="rId154" Type="http://schemas.openxmlformats.org/officeDocument/2006/relationships/tags" Target="../tags/tag123.xml"/><Relationship Id="rId16" Type="http://schemas.openxmlformats.org/officeDocument/2006/relationships/slideLayout" Target="../slideLayouts/slideLayout16.xml"/><Relationship Id="rId37" Type="http://schemas.openxmlformats.org/officeDocument/2006/relationships/tags" Target="../tags/tag6.xml"/><Relationship Id="rId58" Type="http://schemas.openxmlformats.org/officeDocument/2006/relationships/tags" Target="../tags/tag27.xml"/><Relationship Id="rId79" Type="http://schemas.openxmlformats.org/officeDocument/2006/relationships/tags" Target="../tags/tag48.xml"/><Relationship Id="rId102" Type="http://schemas.openxmlformats.org/officeDocument/2006/relationships/tags" Target="../tags/tag71.xml"/><Relationship Id="rId123" Type="http://schemas.openxmlformats.org/officeDocument/2006/relationships/tags" Target="../tags/tag92.xml"/><Relationship Id="rId144" Type="http://schemas.openxmlformats.org/officeDocument/2006/relationships/tags" Target="../tags/tag113.xml"/><Relationship Id="rId90" Type="http://schemas.openxmlformats.org/officeDocument/2006/relationships/tags" Target="../tags/tag59.xml"/><Relationship Id="rId27" Type="http://schemas.openxmlformats.org/officeDocument/2006/relationships/slideLayout" Target="../slideLayouts/slideLayout27.xml"/><Relationship Id="rId48" Type="http://schemas.openxmlformats.org/officeDocument/2006/relationships/tags" Target="../tags/tag17.xml"/><Relationship Id="rId69" Type="http://schemas.openxmlformats.org/officeDocument/2006/relationships/tags" Target="../tags/tag38.xml"/><Relationship Id="rId113" Type="http://schemas.openxmlformats.org/officeDocument/2006/relationships/tags" Target="../tags/tag82.xml"/><Relationship Id="rId134" Type="http://schemas.openxmlformats.org/officeDocument/2006/relationships/tags" Target="../tags/tag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Placeholder"/>
          <p:cNvSpPr>
            <a:spLocks noGrp="1"/>
          </p:cNvSpPr>
          <p:nvPr>
            <p:ph type="title"/>
          </p:nvPr>
        </p:nvSpPr>
        <p:spPr>
          <a:xfrm>
            <a:off x="560565" y="0"/>
            <a:ext cx="12247385" cy="944563"/>
          </a:xfrm>
          <a:prstGeom prst="rect">
            <a:avLst/>
          </a:prstGeom>
        </p:spPr>
        <p:txBody>
          <a:bodyPr vert="horz" lIns="0" tIns="0" rIns="0" bIns="0" rtlCol="0" anchor="b" anchorCtr="0">
            <a:noAutofit/>
          </a:bodyPr>
          <a:lstStyle/>
          <a:p>
            <a:r>
              <a:rPr lang="en-US"/>
              <a:t>&lt;&lt;Page heading&gt;&gt;</a:t>
            </a:r>
          </a:p>
        </p:txBody>
      </p:sp>
      <p:sp>
        <p:nvSpPr>
          <p:cNvPr id="7" name="Text Placeholder 6">
            <a:extLst>
              <a:ext uri="{FF2B5EF4-FFF2-40B4-BE49-F238E27FC236}">
                <a16:creationId xmlns:a16="http://schemas.microsoft.com/office/drawing/2014/main" id="{BF159EFB-68C8-409D-A1E7-BB9C38064FE8}"/>
              </a:ext>
            </a:extLst>
          </p:cNvPr>
          <p:cNvSpPr>
            <a:spLocks noGrp="1"/>
          </p:cNvSpPr>
          <p:nvPr>
            <p:ph type="body" idx="1"/>
          </p:nvPr>
        </p:nvSpPr>
        <p:spPr>
          <a:xfrm>
            <a:off x="561334" y="1858964"/>
            <a:ext cx="12246432" cy="47926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11" hidden="1">
            <a:extLst>
              <a:ext uri="{FF2B5EF4-FFF2-40B4-BE49-F238E27FC236}">
                <a16:creationId xmlns:a16="http://schemas.microsoft.com/office/drawing/2014/main" id="{96C2B65A-09A3-4419-A4C5-2BC915D1B473}"/>
              </a:ext>
            </a:extLst>
          </p:cNvPr>
          <p:cNvSpPr txBox="1">
            <a:spLocks/>
          </p:cNvSpPr>
          <p:nvPr/>
        </p:nvSpPr>
        <p:spPr>
          <a:xfrm>
            <a:off x="3593" y="73012"/>
            <a:ext cx="557741" cy="1074300"/>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800"/>
              </a:spcBef>
              <a:spcAft>
                <a:spcPts val="0"/>
              </a:spcAft>
              <a:buClrTx/>
              <a:buSzPct val="75000"/>
              <a:buFont typeface="Wingdings 2" panose="05020102010507070707" pitchFamily="18" charset="2"/>
              <a:buChar char=""/>
              <a:tabLst/>
              <a:defRPr lang="en-US" sz="16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800"/>
              </a:spcBef>
              <a:spcAft>
                <a:spcPts val="0"/>
              </a:spcAft>
              <a:buClrTx/>
              <a:buSzPct val="100000"/>
              <a:buFont typeface="Arial" panose="020B0604020202020204" pitchFamily="34" charset="0"/>
              <a:buChar char="‫"/>
              <a:tabLst/>
              <a:defRPr lang="en-US" sz="1600" kern="0" baseline="0" dirty="0" smtClean="0">
                <a:solidFill>
                  <a:srgbClr val="A43725"/>
                </a:solidFill>
                <a:latin typeface="+mn-lt"/>
                <a:ea typeface="+mn-ea"/>
                <a:cs typeface="+mn-cs"/>
              </a:defRPr>
            </a:lvl9pPr>
          </a:lstStyle>
          <a:p>
            <a:r>
              <a:rPr lang="en-US">
                <a:latin typeface="Frutiger 45 Light" panose="020B0603020202020204" pitchFamily="34" charset="0"/>
                <a:cs typeface="Albany WT" panose="020B0604020202020204" pitchFamily="34" charset="0"/>
              </a:rPr>
              <a:t>Add text</a:t>
            </a:r>
            <a:endParaRPr lang="en-US"/>
          </a:p>
        </p:txBody>
      </p:sp>
      <p:sp>
        <p:nvSpPr>
          <p:cNvPr id="42" name="TextBox 9" hidden="1">
            <a:extLst>
              <a:ext uri="{FF2B5EF4-FFF2-40B4-BE49-F238E27FC236}">
                <a16:creationId xmlns:a16="http://schemas.microsoft.com/office/drawing/2014/main" id="{F25A13A5-9755-4AA3-88FE-5AD947DBF3A4}"/>
              </a:ext>
            </a:extLst>
          </p:cNvPr>
          <p:cNvSpPr txBox="1">
            <a:spLocks/>
          </p:cNvSpPr>
          <p:nvPr/>
        </p:nvSpPr>
        <p:spPr>
          <a:xfrm>
            <a:off x="39344" y="1299450"/>
            <a:ext cx="521222" cy="559514"/>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800"/>
              </a:spcBef>
              <a:spcAft>
                <a:spcPts val="0"/>
              </a:spcAft>
              <a:buClrTx/>
              <a:buSzPct val="75000"/>
              <a:buFont typeface="Wingdings 2" panose="05020102010507070707" pitchFamily="18" charset="2"/>
              <a:buChar char=""/>
              <a:tabLst/>
              <a:defRPr lang="en-US" sz="16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800"/>
              </a:spcBef>
              <a:spcAft>
                <a:spcPts val="0"/>
              </a:spcAft>
              <a:buClrTx/>
              <a:buSzPct val="100000"/>
              <a:buFont typeface="Arial" panose="020B0604020202020204" pitchFamily="34" charset="0"/>
              <a:buChar char="‫"/>
              <a:tabLst/>
              <a:defRPr lang="en-US" sz="1600" kern="0" baseline="0" dirty="0" smtClean="0">
                <a:solidFill>
                  <a:srgbClr val="A43725"/>
                </a:solidFill>
                <a:latin typeface="+mn-lt"/>
                <a:ea typeface="+mn-ea"/>
                <a:cs typeface="+mn-cs"/>
              </a:defRPr>
            </a:lvl9pPr>
          </a:lstStyle>
          <a:p>
            <a:r>
              <a:rPr lang="en-US">
                <a:latin typeface="Frutiger 47 Light CN" panose="020B0503030202020204" pitchFamily="34" charset="0"/>
              </a:rPr>
              <a:t>Add text</a:t>
            </a:r>
            <a:endParaRPr lang="en-US"/>
          </a:p>
        </p:txBody>
      </p:sp>
      <p:sp>
        <p:nvSpPr>
          <p:cNvPr id="43" name="TextBox 10" hidden="1">
            <a:extLst>
              <a:ext uri="{FF2B5EF4-FFF2-40B4-BE49-F238E27FC236}">
                <a16:creationId xmlns:a16="http://schemas.microsoft.com/office/drawing/2014/main" id="{ACA412C3-C86B-48B5-BAF0-0E9E493AFF58}"/>
              </a:ext>
            </a:extLst>
          </p:cNvPr>
          <p:cNvSpPr txBox="1">
            <a:spLocks/>
          </p:cNvSpPr>
          <p:nvPr/>
        </p:nvSpPr>
        <p:spPr>
          <a:xfrm>
            <a:off x="3176" y="320662"/>
            <a:ext cx="252941" cy="845700"/>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800"/>
              </a:spcBef>
              <a:spcAft>
                <a:spcPts val="0"/>
              </a:spcAft>
              <a:buClrTx/>
              <a:buSzPct val="75000"/>
              <a:buFont typeface="Wingdings 2" panose="05020102010507070707" pitchFamily="18" charset="2"/>
              <a:buChar char=""/>
              <a:tabLst/>
              <a:defRPr lang="en-US" sz="16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800"/>
              </a:spcBef>
              <a:spcAft>
                <a:spcPts val="0"/>
              </a:spcAft>
              <a:buClrTx/>
              <a:buSzTx/>
              <a:buFont typeface="Arial" panose="020B0604020202020204" pitchFamily="34" charset="0"/>
              <a:buChar char="–"/>
              <a:tabLst/>
              <a:defRPr lang="en-US" sz="16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800"/>
              </a:spcBef>
              <a:spcAft>
                <a:spcPts val="0"/>
              </a:spcAft>
              <a:buClrTx/>
              <a:buSzPct val="100000"/>
              <a:buFont typeface="Arial" panose="020B0604020202020204" pitchFamily="34" charset="0"/>
              <a:buChar char="‫"/>
              <a:tabLst/>
              <a:defRPr lang="en-US" sz="1600" kern="0" baseline="0" dirty="0" smtClean="0">
                <a:solidFill>
                  <a:srgbClr val="A43725"/>
                </a:solidFill>
                <a:latin typeface="+mn-lt"/>
                <a:ea typeface="+mn-ea"/>
                <a:cs typeface="+mn-cs"/>
              </a:defRPr>
            </a:lvl9pPr>
          </a:lstStyle>
          <a:p>
            <a:r>
              <a:rPr lang="en-US">
                <a:latin typeface="Monotype Sorts" panose="01010601010101010101" pitchFamily="2" charset="2"/>
              </a:rPr>
              <a:t>Add text</a:t>
            </a:r>
            <a:endParaRPr lang="en-US"/>
          </a:p>
        </p:txBody>
      </p:sp>
      <p:graphicFrame>
        <p:nvGraphicFramePr>
          <p:cNvPr id="44" name="Object 43" hidden="1">
            <a:extLst>
              <a:ext uri="{FF2B5EF4-FFF2-40B4-BE49-F238E27FC236}">
                <a16:creationId xmlns:a16="http://schemas.microsoft.com/office/drawing/2014/main" id="{667FF95E-E01D-4F04-90A9-D9069000C04E}"/>
              </a:ext>
            </a:extLst>
          </p:cNvPr>
          <p:cNvGraphicFramePr>
            <a:graphicFrameLocks noChangeAspect="1"/>
          </p:cNvGraphicFramePr>
          <p:nvPr>
            <p:custDataLst>
              <p:tags r:id="rId33"/>
            </p:custDataLst>
            <p:extLst>
              <p:ext uri="{D42A27DB-BD31-4B8C-83A1-F6EECF244321}">
                <p14:modId xmlns:p14="http://schemas.microsoft.com/office/powerpoint/2010/main" val="96703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8" imgW="286" imgH="286" progId="TCLayout.ActiveDocument.1">
                  <p:embed/>
                </p:oleObj>
              </mc:Choice>
              <mc:Fallback>
                <p:oleObj name="think-cell Slide" r:id="rId158" imgW="286" imgH="286" progId="TCLayout.ActiveDocument.1">
                  <p:embed/>
                  <p:pic>
                    <p:nvPicPr>
                      <p:cNvPr id="44" name="Object 43" hidden="1">
                        <a:extLst>
                          <a:ext uri="{FF2B5EF4-FFF2-40B4-BE49-F238E27FC236}">
                            <a16:creationId xmlns:a16="http://schemas.microsoft.com/office/drawing/2014/main" id="{667FF95E-E01D-4F04-90A9-D9069000C04E}"/>
                          </a:ext>
                        </a:extLst>
                      </p:cNvPr>
                      <p:cNvPicPr/>
                      <p:nvPr/>
                    </p:nvPicPr>
                    <p:blipFill>
                      <a:blip r:embed="rId159"/>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2BC5CA40-1CDF-4C75-A3DB-87386198D526}"/>
              </a:ext>
            </a:extLst>
          </p:cNvPr>
          <p:cNvSpPr/>
          <p:nvPr>
            <p:custDataLst>
              <p:tags r:id="rId3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solidFill>
                <a:schemeClr val="tx1"/>
              </a:solidFill>
              <a:latin typeface="Frutiger 45 Light" panose="020B0603020202020204" pitchFamily="34" charset="0"/>
              <a:ea typeface="Arial Unicode MS" panose="020B0604020202020204" pitchFamily="34" charset="-128"/>
              <a:cs typeface="+mj-cs"/>
              <a:sym typeface="Frutiger 45 Light" panose="020B0603020202020204" pitchFamily="34" charset="0"/>
            </a:endParaRPr>
          </a:p>
        </p:txBody>
      </p:sp>
      <p:sp>
        <p:nvSpPr>
          <p:cNvPr id="105" name="Content [Comment]" hidden="1">
            <a:extLst>
              <a:ext uri="{FF2B5EF4-FFF2-40B4-BE49-F238E27FC236}">
                <a16:creationId xmlns:a16="http://schemas.microsoft.com/office/drawing/2014/main" id="{48DEC18E-8176-489E-B2EE-EF7CB590F51D}"/>
              </a:ext>
            </a:extLst>
          </p:cNvPr>
          <p:cNvSpPr/>
          <p:nvPr/>
        </p:nvSpPr>
        <p:spPr>
          <a:xfrm>
            <a:off x="13179425" y="116541"/>
            <a:ext cx="2259105" cy="914400"/>
          </a:xfrm>
          <a:prstGeom prst="wedgeRectCallou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a:solidFill>
                  <a:schemeClr val="bg2"/>
                </a:solidFill>
              </a:rPr>
              <a:t>&lt;initials&gt;, &lt;date&gt;yyyy.MM.dd </a:t>
            </a:r>
            <a:r>
              <a:rPr lang="en-US" sz="1100" err="1">
                <a:solidFill>
                  <a:schemeClr val="bg2"/>
                </a:solidFill>
              </a:rPr>
              <a:t>hh:mm</a:t>
            </a:r>
            <a:r>
              <a:rPr lang="en-US" sz="1100">
                <a:solidFill>
                  <a:schemeClr val="bg2"/>
                </a:solidFill>
              </a:rPr>
              <a:t>&lt;/date&gt;:</a:t>
            </a:r>
            <a:endParaRPr lang="en-US"/>
          </a:p>
        </p:txBody>
      </p:sp>
      <p:sp>
        <p:nvSpPr>
          <p:cNvPr id="106" name="Formatting [Comment]" hidden="1">
            <a:extLst>
              <a:ext uri="{FF2B5EF4-FFF2-40B4-BE49-F238E27FC236}">
                <a16:creationId xmlns:a16="http://schemas.microsoft.com/office/drawing/2014/main" id="{C2C54103-D8F1-4A87-8B81-EDD4F0E74E5D}"/>
              </a:ext>
            </a:extLst>
          </p:cNvPr>
          <p:cNvSpPr/>
          <p:nvPr/>
        </p:nvSpPr>
        <p:spPr>
          <a:xfrm>
            <a:off x="13179425" y="116541"/>
            <a:ext cx="2259105" cy="914400"/>
          </a:xfrm>
          <a:prstGeom prst="wedgeRectCallou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a:solidFill>
                  <a:schemeClr val="bg2"/>
                </a:solidFill>
              </a:rPr>
              <a:t>&lt;initials&gt;, &lt;date&gt;yyyy.MM.dd </a:t>
            </a:r>
            <a:r>
              <a:rPr lang="en-US" sz="1100" err="1">
                <a:solidFill>
                  <a:schemeClr val="bg2"/>
                </a:solidFill>
              </a:rPr>
              <a:t>hh:mm</a:t>
            </a:r>
            <a:r>
              <a:rPr lang="en-US" sz="1100">
                <a:solidFill>
                  <a:schemeClr val="bg2"/>
                </a:solidFill>
              </a:rPr>
              <a:t>&lt;/date&gt;:</a:t>
            </a:r>
            <a:endParaRPr lang="en-US"/>
          </a:p>
        </p:txBody>
      </p:sp>
      <p:sp>
        <p:nvSpPr>
          <p:cNvPr id="107" name="Dummy [Sticker]" hidden="1">
            <a:extLst>
              <a:ext uri="{FF2B5EF4-FFF2-40B4-BE49-F238E27FC236}">
                <a16:creationId xmlns:a16="http://schemas.microsoft.com/office/drawing/2014/main" id="{0CF943AE-F0EE-463D-BA8E-EFA4A84587D4}"/>
              </a:ext>
            </a:extLst>
          </p:cNvPr>
          <p:cNvSpPr/>
          <p:nvPr/>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rPr>
              <a:t>Dummy data</a:t>
            </a:r>
            <a:endParaRPr lang="en-US"/>
          </a:p>
        </p:txBody>
      </p:sp>
      <p:sp>
        <p:nvSpPr>
          <p:cNvPr id="108" name="Update [Sticker]" hidden="1">
            <a:extLst>
              <a:ext uri="{FF2B5EF4-FFF2-40B4-BE49-F238E27FC236}">
                <a16:creationId xmlns:a16="http://schemas.microsoft.com/office/drawing/2014/main" id="{89A67C9D-9D4D-4798-AFE0-B6C02726C360}"/>
              </a:ext>
            </a:extLst>
          </p:cNvPr>
          <p:cNvSpPr>
            <a:spLocks/>
          </p:cNvSpPr>
          <p:nvPr/>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rPr>
              <a:t>Update data</a:t>
            </a:r>
            <a:endParaRPr lang="en-US"/>
          </a:p>
        </p:txBody>
      </p:sp>
      <p:sp>
        <p:nvSpPr>
          <p:cNvPr id="109" name="Responsible [Sticker]" hidden="1">
            <a:extLst>
              <a:ext uri="{FF2B5EF4-FFF2-40B4-BE49-F238E27FC236}">
                <a16:creationId xmlns:a16="http://schemas.microsoft.com/office/drawing/2014/main" id="{E102CFD9-D3B3-4080-A711-34260638B2EF}"/>
              </a:ext>
            </a:extLst>
          </p:cNvPr>
          <p:cNvSpPr>
            <a:spLocks/>
          </p:cNvSpPr>
          <p:nvPr/>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rPr>
              <a:t>Responsible:</a:t>
            </a:r>
            <a:endParaRPr lang="en-US"/>
          </a:p>
          <a:p>
            <a:pPr algn="ctr"/>
            <a:endParaRPr lang="en-US">
              <a:solidFill>
                <a:srgbClr val="FFFFFF"/>
              </a:solidFill>
            </a:endParaRPr>
          </a:p>
        </p:txBody>
      </p:sp>
      <p:sp>
        <p:nvSpPr>
          <p:cNvPr id="110" name="Final [Sticker]" hidden="1">
            <a:extLst>
              <a:ext uri="{FF2B5EF4-FFF2-40B4-BE49-F238E27FC236}">
                <a16:creationId xmlns:a16="http://schemas.microsoft.com/office/drawing/2014/main" id="{6007D6CD-3EBE-48F1-A224-08DB162D0F78}"/>
              </a:ext>
            </a:extLst>
          </p:cNvPr>
          <p:cNvSpPr>
            <a:spLocks/>
          </p:cNvSpPr>
          <p:nvPr/>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rPr>
              <a:t>Final</a:t>
            </a:r>
            <a:endParaRPr lang="en-US"/>
          </a:p>
        </p:txBody>
      </p:sp>
      <p:sp>
        <p:nvSpPr>
          <p:cNvPr id="111" name="Draft [Sticker]" hidden="1">
            <a:extLst>
              <a:ext uri="{FF2B5EF4-FFF2-40B4-BE49-F238E27FC236}">
                <a16:creationId xmlns:a16="http://schemas.microsoft.com/office/drawing/2014/main" id="{F466A5A8-3B9E-4658-9207-248DDAA0CAA9}"/>
              </a:ext>
            </a:extLst>
          </p:cNvPr>
          <p:cNvSpPr>
            <a:spLocks/>
          </p:cNvSpPr>
          <p:nvPr/>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rPr>
              <a:t>Draft</a:t>
            </a:r>
            <a:endParaRPr lang="en-US"/>
          </a:p>
        </p:txBody>
      </p:sp>
      <p:sp>
        <p:nvSpPr>
          <p:cNvPr id="112" name="Discussion [Sticker]" hidden="1">
            <a:extLst>
              <a:ext uri="{FF2B5EF4-FFF2-40B4-BE49-F238E27FC236}">
                <a16:creationId xmlns:a16="http://schemas.microsoft.com/office/drawing/2014/main" id="{1C623066-8E5D-43D9-9803-373DDD084F09}"/>
              </a:ext>
            </a:extLst>
          </p:cNvPr>
          <p:cNvSpPr>
            <a:spLocks/>
          </p:cNvSpPr>
          <p:nvPr/>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rPr>
              <a:t>For discussion</a:t>
            </a:r>
            <a:endParaRPr lang="en-US"/>
          </a:p>
        </p:txBody>
      </p:sp>
      <p:sp>
        <p:nvSpPr>
          <p:cNvPr id="113" name="Internal [Sticker]" hidden="1">
            <a:extLst>
              <a:ext uri="{FF2B5EF4-FFF2-40B4-BE49-F238E27FC236}">
                <a16:creationId xmlns:a16="http://schemas.microsoft.com/office/drawing/2014/main" id="{3F981BBA-50CE-4CDA-A04F-2BF2A3AE2EA5}"/>
              </a:ext>
            </a:extLst>
          </p:cNvPr>
          <p:cNvSpPr>
            <a:spLocks/>
          </p:cNvSpPr>
          <p:nvPr/>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a:solidFill>
                  <a:srgbClr val="FFFFFF"/>
                </a:solidFill>
              </a:rPr>
              <a:t>Internal use </a:t>
            </a:r>
            <a:endParaRPr lang="en-US"/>
          </a:p>
          <a:p>
            <a:pPr algn="ctr">
              <a:spcBef>
                <a:spcPts val="0"/>
              </a:spcBef>
            </a:pPr>
            <a:r>
              <a:rPr lang="en-US">
                <a:solidFill>
                  <a:srgbClr val="FFFFFF"/>
                </a:solidFill>
              </a:rPr>
              <a:t>only</a:t>
            </a:r>
            <a:endParaRPr lang="en-US"/>
          </a:p>
        </p:txBody>
      </p:sp>
      <p:sp>
        <p:nvSpPr>
          <p:cNvPr id="114" name="Backup [Sticker]" hidden="1">
            <a:extLst>
              <a:ext uri="{FF2B5EF4-FFF2-40B4-BE49-F238E27FC236}">
                <a16:creationId xmlns:a16="http://schemas.microsoft.com/office/drawing/2014/main" id="{6C8A9B29-912F-485D-A5EA-2F9D00D915D4}"/>
              </a:ext>
            </a:extLst>
          </p:cNvPr>
          <p:cNvSpPr>
            <a:spLocks/>
          </p:cNvSpPr>
          <p:nvPr/>
        </p:nvSpPr>
        <p:spPr>
          <a:xfrm>
            <a:off x="13587984"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rPr>
              <a:t>Backup</a:t>
            </a:r>
            <a:endParaRPr lang="en-US"/>
          </a:p>
        </p:txBody>
      </p:sp>
      <p:sp>
        <p:nvSpPr>
          <p:cNvPr id="115" name="Footnote [Placeholder]" hidden="1">
            <a:extLst>
              <a:ext uri="{FF2B5EF4-FFF2-40B4-BE49-F238E27FC236}">
                <a16:creationId xmlns:a16="http://schemas.microsoft.com/office/drawing/2014/main" id="{1A430137-AF35-4521-9184-7A0A09394365}"/>
              </a:ext>
            </a:extLst>
          </p:cNvPr>
          <p:cNvSpPr/>
          <p:nvPr/>
        </p:nvSpPr>
        <p:spPr>
          <a:xfrm>
            <a:off x="547200" y="6858000"/>
            <a:ext cx="9748800" cy="118800"/>
          </a:xfrm>
          <a:prstGeom prst="rect">
            <a:avLst/>
          </a:prstGeom>
        </p:spPr>
        <p:txBody>
          <a:bodyPr wrap="square" lIns="0" tIns="0" rIns="0" bIns="0" anchor="b" anchorCtr="0">
            <a:spAutoFit/>
          </a:bodyPr>
          <a:lstStyle/>
          <a:p>
            <a:pPr lvl="0" defTabSz="1005505" eaLnBrk="1" fontAlgn="auto" hangingPunct="1">
              <a:spcBef>
                <a:spcPts val="0"/>
              </a:spcBef>
              <a:spcAft>
                <a:spcPts val="0"/>
              </a:spcAft>
            </a:pPr>
            <a:r>
              <a:rPr lang="en-US" sz="1000">
                <a:solidFill>
                  <a:prstClr val="black"/>
                </a:solidFill>
                <a:latin typeface="+mn-lt"/>
              </a:rPr>
              <a:t>(n)</a:t>
            </a:r>
          </a:p>
        </p:txBody>
      </p:sp>
      <p:grpSp>
        <p:nvGrpSpPr>
          <p:cNvPr id="46" name="Harvey 100" hidden="1">
            <a:extLst>
              <a:ext uri="{FF2B5EF4-FFF2-40B4-BE49-F238E27FC236}">
                <a16:creationId xmlns:a16="http://schemas.microsoft.com/office/drawing/2014/main" id="{445949CF-7A7B-4A60-9547-5554E7BF297A}"/>
              </a:ext>
            </a:extLst>
          </p:cNvPr>
          <p:cNvGrpSpPr/>
          <p:nvPr>
            <p:custDataLst>
              <p:tags r:id="rId35"/>
            </p:custDataLst>
          </p:nvPr>
        </p:nvGrpSpPr>
        <p:grpSpPr>
          <a:xfrm>
            <a:off x="13646621" y="613630"/>
            <a:ext cx="292608" cy="292608"/>
            <a:chOff x="4334905" y="3282696"/>
            <a:chExt cx="292608" cy="292608"/>
          </a:xfrm>
          <a:solidFill>
            <a:schemeClr val="accent3"/>
          </a:solidFill>
        </p:grpSpPr>
        <p:sp>
          <p:nvSpPr>
            <p:cNvPr id="47" name="Harvey 0/100 [0]" hidden="1">
              <a:extLst>
                <a:ext uri="{FF2B5EF4-FFF2-40B4-BE49-F238E27FC236}">
                  <a16:creationId xmlns:a16="http://schemas.microsoft.com/office/drawing/2014/main" id="{A2B52EEF-86BC-4865-A3D1-4284F1B3386D}"/>
                </a:ext>
              </a:extLst>
            </p:cNvPr>
            <p:cNvSpPr>
              <a:spLocks noChangeAspect="1"/>
            </p:cNvSpPr>
            <p:nvPr>
              <p:custDataLst>
                <p:tags r:id="rId5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accent3"/>
              </a:solidFill>
            </a:ln>
          </p:spPr>
          <p:txBody>
            <a:bodyPr/>
            <a:lstStyle/>
            <a:p>
              <a:endParaRPr lang="en-US"/>
            </a:p>
          </p:txBody>
        </p:sp>
        <p:sp>
          <p:nvSpPr>
            <p:cNvPr id="48" name="Harvey 1/100 [1]" hidden="1">
              <a:extLst>
                <a:ext uri="{FF2B5EF4-FFF2-40B4-BE49-F238E27FC236}">
                  <a16:creationId xmlns:a16="http://schemas.microsoft.com/office/drawing/2014/main" id="{22951AA9-AB22-453C-886D-649DED2D4202}"/>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accent3"/>
              </a:solidFill>
            </a:ln>
          </p:spPr>
          <p:txBody>
            <a:bodyPr/>
            <a:lstStyle/>
            <a:p>
              <a:endParaRPr lang="en-US"/>
            </a:p>
          </p:txBody>
        </p:sp>
        <p:sp>
          <p:nvSpPr>
            <p:cNvPr id="49" name="Harvey 2/100 [2]" hidden="1">
              <a:extLst>
                <a:ext uri="{FF2B5EF4-FFF2-40B4-BE49-F238E27FC236}">
                  <a16:creationId xmlns:a16="http://schemas.microsoft.com/office/drawing/2014/main" id="{56AB674A-15BE-44E0-A528-F251B6F7AF1C}"/>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accent3"/>
              </a:solidFill>
            </a:ln>
          </p:spPr>
          <p:txBody>
            <a:bodyPr/>
            <a:lstStyle/>
            <a:p>
              <a:endParaRPr lang="en-US"/>
            </a:p>
          </p:txBody>
        </p:sp>
        <p:sp>
          <p:nvSpPr>
            <p:cNvPr id="51" name="Harvey 3/100 [3]" hidden="1">
              <a:extLst>
                <a:ext uri="{FF2B5EF4-FFF2-40B4-BE49-F238E27FC236}">
                  <a16:creationId xmlns:a16="http://schemas.microsoft.com/office/drawing/2014/main" id="{D4CD5A82-9AB1-43EC-8888-3EA5A617EB77}"/>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accent3"/>
              </a:solidFill>
            </a:ln>
          </p:spPr>
          <p:txBody>
            <a:bodyPr/>
            <a:lstStyle/>
            <a:p>
              <a:endParaRPr lang="en-US"/>
            </a:p>
          </p:txBody>
        </p:sp>
        <p:sp>
          <p:nvSpPr>
            <p:cNvPr id="52" name="Harvey 4/100 [4]" hidden="1">
              <a:extLst>
                <a:ext uri="{FF2B5EF4-FFF2-40B4-BE49-F238E27FC236}">
                  <a16:creationId xmlns:a16="http://schemas.microsoft.com/office/drawing/2014/main" id="{47375DBF-3602-4CE5-853C-ADEBCDEA3293}"/>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accent3"/>
              </a:solidFill>
            </a:ln>
          </p:spPr>
          <p:txBody>
            <a:bodyPr/>
            <a:lstStyle/>
            <a:p>
              <a:endParaRPr lang="en-US"/>
            </a:p>
          </p:txBody>
        </p:sp>
        <p:sp>
          <p:nvSpPr>
            <p:cNvPr id="53" name="Harvey 5/100 [5]" hidden="1">
              <a:extLst>
                <a:ext uri="{FF2B5EF4-FFF2-40B4-BE49-F238E27FC236}">
                  <a16:creationId xmlns:a16="http://schemas.microsoft.com/office/drawing/2014/main" id="{D3022984-E61F-4F5E-A5B2-5180EC7E4CCE}"/>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accent3"/>
              </a:solidFill>
            </a:ln>
          </p:spPr>
          <p:txBody>
            <a:bodyPr/>
            <a:lstStyle/>
            <a:p>
              <a:endParaRPr lang="en-US"/>
            </a:p>
          </p:txBody>
        </p:sp>
        <p:sp>
          <p:nvSpPr>
            <p:cNvPr id="54" name="Harvey 6/100 [6]" hidden="1">
              <a:extLst>
                <a:ext uri="{FF2B5EF4-FFF2-40B4-BE49-F238E27FC236}">
                  <a16:creationId xmlns:a16="http://schemas.microsoft.com/office/drawing/2014/main" id="{513F3F21-3FBC-4CAC-AF45-4351822F2684}"/>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accent3"/>
              </a:solidFill>
            </a:ln>
          </p:spPr>
          <p:txBody>
            <a:bodyPr/>
            <a:lstStyle/>
            <a:p>
              <a:endParaRPr lang="en-US"/>
            </a:p>
          </p:txBody>
        </p:sp>
        <p:sp>
          <p:nvSpPr>
            <p:cNvPr id="55" name="Harvey 7/100 [7]" hidden="1">
              <a:extLst>
                <a:ext uri="{FF2B5EF4-FFF2-40B4-BE49-F238E27FC236}">
                  <a16:creationId xmlns:a16="http://schemas.microsoft.com/office/drawing/2014/main" id="{BBF1DF99-2A1A-49AF-9B1D-6634C3080EF8}"/>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accent3"/>
              </a:solidFill>
            </a:ln>
          </p:spPr>
          <p:txBody>
            <a:bodyPr/>
            <a:lstStyle/>
            <a:p>
              <a:endParaRPr lang="en-US"/>
            </a:p>
          </p:txBody>
        </p:sp>
        <p:sp>
          <p:nvSpPr>
            <p:cNvPr id="56" name="Harvey 8/100 [8]" hidden="1">
              <a:extLst>
                <a:ext uri="{FF2B5EF4-FFF2-40B4-BE49-F238E27FC236}">
                  <a16:creationId xmlns:a16="http://schemas.microsoft.com/office/drawing/2014/main" id="{7D6B1D19-B894-4C8E-ACFF-806B88998C83}"/>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accent3"/>
              </a:solidFill>
            </a:ln>
          </p:spPr>
          <p:txBody>
            <a:bodyPr/>
            <a:lstStyle/>
            <a:p>
              <a:endParaRPr lang="en-US"/>
            </a:p>
          </p:txBody>
        </p:sp>
        <p:sp>
          <p:nvSpPr>
            <p:cNvPr id="57" name="Harvey 9/100 [9]" hidden="1">
              <a:extLst>
                <a:ext uri="{FF2B5EF4-FFF2-40B4-BE49-F238E27FC236}">
                  <a16:creationId xmlns:a16="http://schemas.microsoft.com/office/drawing/2014/main" id="{7227D680-E8B7-4024-B704-E5D9EC882BD1}"/>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accent3"/>
              </a:solidFill>
            </a:ln>
          </p:spPr>
          <p:txBody>
            <a:bodyPr/>
            <a:lstStyle/>
            <a:p>
              <a:endParaRPr lang="en-US"/>
            </a:p>
          </p:txBody>
        </p:sp>
        <p:sp>
          <p:nvSpPr>
            <p:cNvPr id="58" name="Harvey 10/100 [10]" hidden="1">
              <a:extLst>
                <a:ext uri="{FF2B5EF4-FFF2-40B4-BE49-F238E27FC236}">
                  <a16:creationId xmlns:a16="http://schemas.microsoft.com/office/drawing/2014/main" id="{AAEBB0E4-2093-4248-B3B7-E01DD6123A7A}"/>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accent3"/>
              </a:solidFill>
            </a:ln>
          </p:spPr>
          <p:txBody>
            <a:bodyPr/>
            <a:lstStyle/>
            <a:p>
              <a:endParaRPr lang="en-US"/>
            </a:p>
          </p:txBody>
        </p:sp>
        <p:sp>
          <p:nvSpPr>
            <p:cNvPr id="59" name="Harvey 11/100 [11]" hidden="1">
              <a:extLst>
                <a:ext uri="{FF2B5EF4-FFF2-40B4-BE49-F238E27FC236}">
                  <a16:creationId xmlns:a16="http://schemas.microsoft.com/office/drawing/2014/main" id="{1E2A5773-0519-4F05-B115-AE0FB5C15D6F}"/>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accent3"/>
              </a:solidFill>
            </a:ln>
          </p:spPr>
          <p:txBody>
            <a:bodyPr/>
            <a:lstStyle/>
            <a:p>
              <a:endParaRPr lang="en-US"/>
            </a:p>
          </p:txBody>
        </p:sp>
        <p:sp>
          <p:nvSpPr>
            <p:cNvPr id="60" name="Harvey 12/100 [12]" hidden="1">
              <a:extLst>
                <a:ext uri="{FF2B5EF4-FFF2-40B4-BE49-F238E27FC236}">
                  <a16:creationId xmlns:a16="http://schemas.microsoft.com/office/drawing/2014/main" id="{24D96BC1-49B7-4603-BB89-371710717907}"/>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accent3"/>
              </a:solidFill>
            </a:ln>
          </p:spPr>
          <p:txBody>
            <a:bodyPr/>
            <a:lstStyle/>
            <a:p>
              <a:endParaRPr lang="en-US"/>
            </a:p>
          </p:txBody>
        </p:sp>
        <p:sp>
          <p:nvSpPr>
            <p:cNvPr id="61" name="Harvey 13/100 [13]" hidden="1">
              <a:extLst>
                <a:ext uri="{FF2B5EF4-FFF2-40B4-BE49-F238E27FC236}">
                  <a16:creationId xmlns:a16="http://schemas.microsoft.com/office/drawing/2014/main" id="{54440111-3E2D-4959-8099-AEE380F84E0D}"/>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accent3"/>
              </a:solidFill>
            </a:ln>
          </p:spPr>
          <p:txBody>
            <a:bodyPr/>
            <a:lstStyle/>
            <a:p>
              <a:endParaRPr lang="en-US"/>
            </a:p>
          </p:txBody>
        </p:sp>
        <p:sp>
          <p:nvSpPr>
            <p:cNvPr id="62" name="Harvey 14/100 [14]" hidden="1">
              <a:extLst>
                <a:ext uri="{FF2B5EF4-FFF2-40B4-BE49-F238E27FC236}">
                  <a16:creationId xmlns:a16="http://schemas.microsoft.com/office/drawing/2014/main" id="{E63B0076-A4B1-44F8-BA3F-127881C772D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accent3"/>
              </a:solidFill>
            </a:ln>
          </p:spPr>
          <p:txBody>
            <a:bodyPr/>
            <a:lstStyle/>
            <a:p>
              <a:endParaRPr lang="en-US"/>
            </a:p>
          </p:txBody>
        </p:sp>
        <p:sp>
          <p:nvSpPr>
            <p:cNvPr id="63" name="Harvey 15/100 [15]" hidden="1">
              <a:extLst>
                <a:ext uri="{FF2B5EF4-FFF2-40B4-BE49-F238E27FC236}">
                  <a16:creationId xmlns:a16="http://schemas.microsoft.com/office/drawing/2014/main" id="{0A270A24-CF41-476C-8128-9999B85383A7}"/>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accent3"/>
              </a:solidFill>
            </a:ln>
          </p:spPr>
          <p:txBody>
            <a:bodyPr/>
            <a:lstStyle/>
            <a:p>
              <a:endParaRPr lang="en-US"/>
            </a:p>
          </p:txBody>
        </p:sp>
        <p:sp>
          <p:nvSpPr>
            <p:cNvPr id="64" name="Harvey 16/100 [16]" hidden="1">
              <a:extLst>
                <a:ext uri="{FF2B5EF4-FFF2-40B4-BE49-F238E27FC236}">
                  <a16:creationId xmlns:a16="http://schemas.microsoft.com/office/drawing/2014/main" id="{4F504997-049F-43DC-8BE9-01328D95BC6C}"/>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accent3"/>
              </a:solidFill>
            </a:ln>
          </p:spPr>
          <p:txBody>
            <a:bodyPr/>
            <a:lstStyle/>
            <a:p>
              <a:endParaRPr lang="en-US"/>
            </a:p>
          </p:txBody>
        </p:sp>
        <p:sp>
          <p:nvSpPr>
            <p:cNvPr id="65" name="Harvey 17/100 [17]" hidden="1">
              <a:extLst>
                <a:ext uri="{FF2B5EF4-FFF2-40B4-BE49-F238E27FC236}">
                  <a16:creationId xmlns:a16="http://schemas.microsoft.com/office/drawing/2014/main" id="{F9DF4FD4-8B79-4458-8361-BAFD4A252C5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accent3"/>
              </a:solidFill>
            </a:ln>
          </p:spPr>
          <p:txBody>
            <a:bodyPr/>
            <a:lstStyle/>
            <a:p>
              <a:endParaRPr lang="en-US"/>
            </a:p>
          </p:txBody>
        </p:sp>
        <p:sp>
          <p:nvSpPr>
            <p:cNvPr id="66" name="Harvey 18/100 [18]" hidden="1">
              <a:extLst>
                <a:ext uri="{FF2B5EF4-FFF2-40B4-BE49-F238E27FC236}">
                  <a16:creationId xmlns:a16="http://schemas.microsoft.com/office/drawing/2014/main" id="{04230567-FF82-421E-AE72-F72545C9F731}"/>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accent3"/>
              </a:solidFill>
            </a:ln>
          </p:spPr>
          <p:txBody>
            <a:bodyPr/>
            <a:lstStyle/>
            <a:p>
              <a:endParaRPr lang="en-US"/>
            </a:p>
          </p:txBody>
        </p:sp>
        <p:sp>
          <p:nvSpPr>
            <p:cNvPr id="67" name="Harvey 19/100 [19]" hidden="1">
              <a:extLst>
                <a:ext uri="{FF2B5EF4-FFF2-40B4-BE49-F238E27FC236}">
                  <a16:creationId xmlns:a16="http://schemas.microsoft.com/office/drawing/2014/main" id="{BA4F6359-C80F-421D-806D-50A4EEFA64AB}"/>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accent3"/>
              </a:solidFill>
            </a:ln>
          </p:spPr>
          <p:txBody>
            <a:bodyPr/>
            <a:lstStyle/>
            <a:p>
              <a:endParaRPr lang="en-US"/>
            </a:p>
          </p:txBody>
        </p:sp>
        <p:sp>
          <p:nvSpPr>
            <p:cNvPr id="68" name="Harvey 20/100 [20]" hidden="1">
              <a:extLst>
                <a:ext uri="{FF2B5EF4-FFF2-40B4-BE49-F238E27FC236}">
                  <a16:creationId xmlns:a16="http://schemas.microsoft.com/office/drawing/2014/main" id="{AC7B61A9-4C58-431B-90FD-9FC1D32482FD}"/>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accent3"/>
              </a:solidFill>
            </a:ln>
          </p:spPr>
          <p:txBody>
            <a:bodyPr/>
            <a:lstStyle/>
            <a:p>
              <a:endParaRPr lang="en-US"/>
            </a:p>
          </p:txBody>
        </p:sp>
        <p:sp>
          <p:nvSpPr>
            <p:cNvPr id="69" name="Harvey 21/100 [21]" hidden="1">
              <a:extLst>
                <a:ext uri="{FF2B5EF4-FFF2-40B4-BE49-F238E27FC236}">
                  <a16:creationId xmlns:a16="http://schemas.microsoft.com/office/drawing/2014/main" id="{F99CF3B6-7729-4B95-B191-F0CABAE08F72}"/>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accent3"/>
              </a:solidFill>
            </a:ln>
          </p:spPr>
          <p:txBody>
            <a:bodyPr/>
            <a:lstStyle/>
            <a:p>
              <a:endParaRPr lang="en-US"/>
            </a:p>
          </p:txBody>
        </p:sp>
        <p:sp>
          <p:nvSpPr>
            <p:cNvPr id="70" name="Harvey 22/100 [22]" hidden="1">
              <a:extLst>
                <a:ext uri="{FF2B5EF4-FFF2-40B4-BE49-F238E27FC236}">
                  <a16:creationId xmlns:a16="http://schemas.microsoft.com/office/drawing/2014/main" id="{66FA871E-6D9A-4FAE-819B-F63DBEE19837}"/>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accent3"/>
              </a:solidFill>
            </a:ln>
          </p:spPr>
          <p:txBody>
            <a:bodyPr/>
            <a:lstStyle/>
            <a:p>
              <a:endParaRPr lang="en-US"/>
            </a:p>
          </p:txBody>
        </p:sp>
        <p:sp>
          <p:nvSpPr>
            <p:cNvPr id="71" name="Harvey 23/100 [23]" hidden="1">
              <a:extLst>
                <a:ext uri="{FF2B5EF4-FFF2-40B4-BE49-F238E27FC236}">
                  <a16:creationId xmlns:a16="http://schemas.microsoft.com/office/drawing/2014/main" id="{EDC7F398-A42A-4866-82DC-28157E73A266}"/>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accent3"/>
              </a:solidFill>
            </a:ln>
          </p:spPr>
          <p:txBody>
            <a:bodyPr/>
            <a:lstStyle/>
            <a:p>
              <a:endParaRPr lang="en-US"/>
            </a:p>
          </p:txBody>
        </p:sp>
        <p:sp>
          <p:nvSpPr>
            <p:cNvPr id="72" name="Harvey 24/100 [24]" hidden="1">
              <a:extLst>
                <a:ext uri="{FF2B5EF4-FFF2-40B4-BE49-F238E27FC236}">
                  <a16:creationId xmlns:a16="http://schemas.microsoft.com/office/drawing/2014/main" id="{49E6D07E-2E9F-4ADD-AE41-2F088C13FC75}"/>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accent3"/>
              </a:solidFill>
            </a:ln>
          </p:spPr>
          <p:txBody>
            <a:bodyPr/>
            <a:lstStyle/>
            <a:p>
              <a:endParaRPr lang="en-US"/>
            </a:p>
          </p:txBody>
        </p:sp>
        <p:sp>
          <p:nvSpPr>
            <p:cNvPr id="73" name="Harvey 25/100 [25]" hidden="1">
              <a:extLst>
                <a:ext uri="{FF2B5EF4-FFF2-40B4-BE49-F238E27FC236}">
                  <a16:creationId xmlns:a16="http://schemas.microsoft.com/office/drawing/2014/main" id="{3AF7D28F-7A2C-4FF1-A002-FA551E2A3629}"/>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accent3"/>
              </a:solidFill>
            </a:ln>
          </p:spPr>
          <p:txBody>
            <a:bodyPr/>
            <a:lstStyle/>
            <a:p>
              <a:endParaRPr lang="en-US"/>
            </a:p>
          </p:txBody>
        </p:sp>
        <p:sp>
          <p:nvSpPr>
            <p:cNvPr id="74" name="Harvey 26/100 [26]" hidden="1">
              <a:extLst>
                <a:ext uri="{FF2B5EF4-FFF2-40B4-BE49-F238E27FC236}">
                  <a16:creationId xmlns:a16="http://schemas.microsoft.com/office/drawing/2014/main" id="{FE0943DF-8852-491F-A1E4-EE978F6AE556}"/>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accent3"/>
              </a:solidFill>
            </a:ln>
          </p:spPr>
          <p:txBody>
            <a:bodyPr/>
            <a:lstStyle/>
            <a:p>
              <a:endParaRPr lang="en-US"/>
            </a:p>
          </p:txBody>
        </p:sp>
        <p:sp>
          <p:nvSpPr>
            <p:cNvPr id="75" name="Harvey 27/100 [27]" hidden="1">
              <a:extLst>
                <a:ext uri="{FF2B5EF4-FFF2-40B4-BE49-F238E27FC236}">
                  <a16:creationId xmlns:a16="http://schemas.microsoft.com/office/drawing/2014/main" id="{73919976-F3CB-40D5-84D8-3E31CC5FCE52}"/>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accent3"/>
              </a:solidFill>
            </a:ln>
          </p:spPr>
          <p:txBody>
            <a:bodyPr/>
            <a:lstStyle/>
            <a:p>
              <a:endParaRPr lang="en-US"/>
            </a:p>
          </p:txBody>
        </p:sp>
        <p:sp>
          <p:nvSpPr>
            <p:cNvPr id="76" name="Harvey 28/100 [28]" hidden="1">
              <a:extLst>
                <a:ext uri="{FF2B5EF4-FFF2-40B4-BE49-F238E27FC236}">
                  <a16:creationId xmlns:a16="http://schemas.microsoft.com/office/drawing/2014/main" id="{55DCA64F-634A-49BF-AA5D-6A411CE81A62}"/>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accent3"/>
              </a:solidFill>
            </a:ln>
          </p:spPr>
          <p:txBody>
            <a:bodyPr/>
            <a:lstStyle/>
            <a:p>
              <a:endParaRPr lang="en-US"/>
            </a:p>
          </p:txBody>
        </p:sp>
        <p:sp>
          <p:nvSpPr>
            <p:cNvPr id="77" name="Harvey 29/100 [29]" hidden="1">
              <a:extLst>
                <a:ext uri="{FF2B5EF4-FFF2-40B4-BE49-F238E27FC236}">
                  <a16:creationId xmlns:a16="http://schemas.microsoft.com/office/drawing/2014/main" id="{35C31C79-4AED-4E45-AFD3-D34C21AACE24}"/>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accent3"/>
              </a:solidFill>
            </a:ln>
          </p:spPr>
          <p:txBody>
            <a:bodyPr/>
            <a:lstStyle/>
            <a:p>
              <a:endParaRPr lang="en-US"/>
            </a:p>
          </p:txBody>
        </p:sp>
        <p:sp>
          <p:nvSpPr>
            <p:cNvPr id="78" name="Harvey 30/100 [30]" hidden="1">
              <a:extLst>
                <a:ext uri="{FF2B5EF4-FFF2-40B4-BE49-F238E27FC236}">
                  <a16:creationId xmlns:a16="http://schemas.microsoft.com/office/drawing/2014/main" id="{82AE1777-539C-4080-A3E2-CBCEBE1F7357}"/>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accent3"/>
              </a:solidFill>
            </a:ln>
          </p:spPr>
          <p:txBody>
            <a:bodyPr/>
            <a:lstStyle/>
            <a:p>
              <a:endParaRPr lang="en-US"/>
            </a:p>
          </p:txBody>
        </p:sp>
        <p:sp>
          <p:nvSpPr>
            <p:cNvPr id="79" name="Harvey 31/100 [31]" hidden="1">
              <a:extLst>
                <a:ext uri="{FF2B5EF4-FFF2-40B4-BE49-F238E27FC236}">
                  <a16:creationId xmlns:a16="http://schemas.microsoft.com/office/drawing/2014/main" id="{AA2706BF-3DF2-419D-9EFD-9321D69BFC6D}"/>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accent3"/>
              </a:solidFill>
            </a:ln>
          </p:spPr>
          <p:txBody>
            <a:bodyPr/>
            <a:lstStyle/>
            <a:p>
              <a:endParaRPr lang="en-US"/>
            </a:p>
          </p:txBody>
        </p:sp>
        <p:sp>
          <p:nvSpPr>
            <p:cNvPr id="80" name="Harvey 32/100 [32]" hidden="1">
              <a:extLst>
                <a:ext uri="{FF2B5EF4-FFF2-40B4-BE49-F238E27FC236}">
                  <a16:creationId xmlns:a16="http://schemas.microsoft.com/office/drawing/2014/main" id="{3CAB7225-0BA2-401E-AA53-3430575D4778}"/>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accent3"/>
              </a:solidFill>
            </a:ln>
          </p:spPr>
          <p:txBody>
            <a:bodyPr/>
            <a:lstStyle/>
            <a:p>
              <a:endParaRPr lang="en-US"/>
            </a:p>
          </p:txBody>
        </p:sp>
        <p:sp>
          <p:nvSpPr>
            <p:cNvPr id="81" name="Harvey 33/100 [33]" hidden="1">
              <a:extLst>
                <a:ext uri="{FF2B5EF4-FFF2-40B4-BE49-F238E27FC236}">
                  <a16:creationId xmlns:a16="http://schemas.microsoft.com/office/drawing/2014/main" id="{3EDBA967-F245-4D56-8398-F76670182A6C}"/>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accent3"/>
              </a:solidFill>
            </a:ln>
          </p:spPr>
          <p:txBody>
            <a:bodyPr/>
            <a:lstStyle/>
            <a:p>
              <a:endParaRPr lang="en-US"/>
            </a:p>
          </p:txBody>
        </p:sp>
        <p:sp>
          <p:nvSpPr>
            <p:cNvPr id="82" name="Harvey 34/100 [34]" hidden="1">
              <a:extLst>
                <a:ext uri="{FF2B5EF4-FFF2-40B4-BE49-F238E27FC236}">
                  <a16:creationId xmlns:a16="http://schemas.microsoft.com/office/drawing/2014/main" id="{C65F5D7E-4814-4DA9-AFF4-8E31CBD48EC1}"/>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accent3"/>
              </a:solidFill>
            </a:ln>
          </p:spPr>
          <p:txBody>
            <a:bodyPr/>
            <a:lstStyle/>
            <a:p>
              <a:endParaRPr lang="en-US"/>
            </a:p>
          </p:txBody>
        </p:sp>
        <p:sp>
          <p:nvSpPr>
            <p:cNvPr id="83" name="Harvey 35/100 [35]" hidden="1">
              <a:extLst>
                <a:ext uri="{FF2B5EF4-FFF2-40B4-BE49-F238E27FC236}">
                  <a16:creationId xmlns:a16="http://schemas.microsoft.com/office/drawing/2014/main" id="{2D649DC7-285C-439D-B0E1-3068FA827B81}"/>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accent3"/>
              </a:solidFill>
            </a:ln>
          </p:spPr>
          <p:txBody>
            <a:bodyPr/>
            <a:lstStyle/>
            <a:p>
              <a:endParaRPr lang="en-US"/>
            </a:p>
          </p:txBody>
        </p:sp>
        <p:sp>
          <p:nvSpPr>
            <p:cNvPr id="84" name="Harvey 36/100 [36]" hidden="1">
              <a:extLst>
                <a:ext uri="{FF2B5EF4-FFF2-40B4-BE49-F238E27FC236}">
                  <a16:creationId xmlns:a16="http://schemas.microsoft.com/office/drawing/2014/main" id="{8E5D8956-27F6-4F5E-9EC0-BC52D51C9E76}"/>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accent3"/>
              </a:solidFill>
            </a:ln>
          </p:spPr>
          <p:txBody>
            <a:bodyPr/>
            <a:lstStyle/>
            <a:p>
              <a:endParaRPr lang="en-US"/>
            </a:p>
          </p:txBody>
        </p:sp>
        <p:sp>
          <p:nvSpPr>
            <p:cNvPr id="85" name="Harvey 37/100 [37]" hidden="1">
              <a:extLst>
                <a:ext uri="{FF2B5EF4-FFF2-40B4-BE49-F238E27FC236}">
                  <a16:creationId xmlns:a16="http://schemas.microsoft.com/office/drawing/2014/main" id="{53F18C10-DD37-47B3-A6F8-629C5E7E9DBE}"/>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accent3"/>
              </a:solidFill>
            </a:ln>
          </p:spPr>
          <p:txBody>
            <a:bodyPr/>
            <a:lstStyle/>
            <a:p>
              <a:endParaRPr lang="en-US"/>
            </a:p>
          </p:txBody>
        </p:sp>
        <p:sp>
          <p:nvSpPr>
            <p:cNvPr id="94" name="Harvey 38/100 [38]" hidden="1">
              <a:extLst>
                <a:ext uri="{FF2B5EF4-FFF2-40B4-BE49-F238E27FC236}">
                  <a16:creationId xmlns:a16="http://schemas.microsoft.com/office/drawing/2014/main" id="{25598FAF-CF69-4275-8696-EEBC809CA050}"/>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accent3"/>
              </a:solidFill>
            </a:ln>
          </p:spPr>
          <p:txBody>
            <a:bodyPr/>
            <a:lstStyle/>
            <a:p>
              <a:endParaRPr lang="en-US"/>
            </a:p>
          </p:txBody>
        </p:sp>
        <p:sp>
          <p:nvSpPr>
            <p:cNvPr id="100" name="Harvey 39/100 [39]" hidden="1">
              <a:extLst>
                <a:ext uri="{FF2B5EF4-FFF2-40B4-BE49-F238E27FC236}">
                  <a16:creationId xmlns:a16="http://schemas.microsoft.com/office/drawing/2014/main" id="{1FEB3F11-A63D-4654-9DEA-1FC2403DD9D6}"/>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accent3"/>
              </a:solidFill>
            </a:ln>
          </p:spPr>
          <p:txBody>
            <a:bodyPr/>
            <a:lstStyle/>
            <a:p>
              <a:endParaRPr lang="en-US"/>
            </a:p>
          </p:txBody>
        </p:sp>
        <p:sp>
          <p:nvSpPr>
            <p:cNvPr id="116" name="Harvey 40/100 [40]" hidden="1">
              <a:extLst>
                <a:ext uri="{FF2B5EF4-FFF2-40B4-BE49-F238E27FC236}">
                  <a16:creationId xmlns:a16="http://schemas.microsoft.com/office/drawing/2014/main" id="{AD87E9D0-DEEC-44C7-99FF-92ED6ED10133}"/>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accent3"/>
              </a:solidFill>
            </a:ln>
          </p:spPr>
          <p:txBody>
            <a:bodyPr/>
            <a:lstStyle/>
            <a:p>
              <a:endParaRPr lang="en-US"/>
            </a:p>
          </p:txBody>
        </p:sp>
        <p:sp>
          <p:nvSpPr>
            <p:cNvPr id="117" name="Harvey 41/100 [41]" hidden="1">
              <a:extLst>
                <a:ext uri="{FF2B5EF4-FFF2-40B4-BE49-F238E27FC236}">
                  <a16:creationId xmlns:a16="http://schemas.microsoft.com/office/drawing/2014/main" id="{13E21235-57E6-4084-8480-2332A654780F}"/>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accent3"/>
              </a:solidFill>
            </a:ln>
          </p:spPr>
          <p:txBody>
            <a:bodyPr/>
            <a:lstStyle/>
            <a:p>
              <a:endParaRPr lang="en-US"/>
            </a:p>
          </p:txBody>
        </p:sp>
        <p:sp>
          <p:nvSpPr>
            <p:cNvPr id="118" name="Harvey 42/100 [42]" hidden="1">
              <a:extLst>
                <a:ext uri="{FF2B5EF4-FFF2-40B4-BE49-F238E27FC236}">
                  <a16:creationId xmlns:a16="http://schemas.microsoft.com/office/drawing/2014/main" id="{056AECBB-8646-4239-BE73-4364EBEE9F61}"/>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accent3"/>
              </a:solidFill>
            </a:ln>
          </p:spPr>
          <p:txBody>
            <a:bodyPr/>
            <a:lstStyle/>
            <a:p>
              <a:endParaRPr lang="en-US"/>
            </a:p>
          </p:txBody>
        </p:sp>
        <p:sp>
          <p:nvSpPr>
            <p:cNvPr id="119" name="Harvey 43/100 [43]" hidden="1">
              <a:extLst>
                <a:ext uri="{FF2B5EF4-FFF2-40B4-BE49-F238E27FC236}">
                  <a16:creationId xmlns:a16="http://schemas.microsoft.com/office/drawing/2014/main" id="{AC13F340-1404-4A35-A3F4-8B861CC7EF2A}"/>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accent3"/>
              </a:solidFill>
            </a:ln>
          </p:spPr>
          <p:txBody>
            <a:bodyPr/>
            <a:lstStyle/>
            <a:p>
              <a:endParaRPr lang="en-US"/>
            </a:p>
          </p:txBody>
        </p:sp>
        <p:sp>
          <p:nvSpPr>
            <p:cNvPr id="120" name="Harvey 44/100 [44]" hidden="1">
              <a:extLst>
                <a:ext uri="{FF2B5EF4-FFF2-40B4-BE49-F238E27FC236}">
                  <a16:creationId xmlns:a16="http://schemas.microsoft.com/office/drawing/2014/main" id="{086DF9E6-AE0F-4987-90F0-EC52A77DF83F}"/>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accent3"/>
              </a:solidFill>
            </a:ln>
          </p:spPr>
          <p:txBody>
            <a:bodyPr/>
            <a:lstStyle/>
            <a:p>
              <a:endParaRPr lang="en-US"/>
            </a:p>
          </p:txBody>
        </p:sp>
        <p:sp>
          <p:nvSpPr>
            <p:cNvPr id="121" name="Harvey 45/100 [45]" hidden="1">
              <a:extLst>
                <a:ext uri="{FF2B5EF4-FFF2-40B4-BE49-F238E27FC236}">
                  <a16:creationId xmlns:a16="http://schemas.microsoft.com/office/drawing/2014/main" id="{5D14C198-F093-4E0C-88B2-AB224867980B}"/>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accent3"/>
              </a:solidFill>
            </a:ln>
          </p:spPr>
          <p:txBody>
            <a:bodyPr/>
            <a:lstStyle/>
            <a:p>
              <a:endParaRPr lang="en-US"/>
            </a:p>
          </p:txBody>
        </p:sp>
        <p:sp>
          <p:nvSpPr>
            <p:cNvPr id="122" name="Harvey 46/100 [46]" hidden="1">
              <a:extLst>
                <a:ext uri="{FF2B5EF4-FFF2-40B4-BE49-F238E27FC236}">
                  <a16:creationId xmlns:a16="http://schemas.microsoft.com/office/drawing/2014/main" id="{B9276871-956E-411E-88BE-D4BA66FC92DF}"/>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accent3"/>
              </a:solidFill>
            </a:ln>
          </p:spPr>
          <p:txBody>
            <a:bodyPr/>
            <a:lstStyle/>
            <a:p>
              <a:endParaRPr lang="en-US"/>
            </a:p>
          </p:txBody>
        </p:sp>
        <p:sp>
          <p:nvSpPr>
            <p:cNvPr id="123" name="Harvey 47/100 [47]" hidden="1">
              <a:extLst>
                <a:ext uri="{FF2B5EF4-FFF2-40B4-BE49-F238E27FC236}">
                  <a16:creationId xmlns:a16="http://schemas.microsoft.com/office/drawing/2014/main" id="{8B8B1AD7-0455-445C-8F8C-4AD3C16C5C5F}"/>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accent3"/>
              </a:solidFill>
            </a:ln>
          </p:spPr>
          <p:txBody>
            <a:bodyPr/>
            <a:lstStyle/>
            <a:p>
              <a:endParaRPr lang="en-US"/>
            </a:p>
          </p:txBody>
        </p:sp>
        <p:sp>
          <p:nvSpPr>
            <p:cNvPr id="124" name="Harvey 48/100 [48]" hidden="1">
              <a:extLst>
                <a:ext uri="{FF2B5EF4-FFF2-40B4-BE49-F238E27FC236}">
                  <a16:creationId xmlns:a16="http://schemas.microsoft.com/office/drawing/2014/main" id="{56206750-1A41-4374-945E-800C3540889E}"/>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accent3"/>
              </a:solidFill>
            </a:ln>
          </p:spPr>
          <p:txBody>
            <a:bodyPr/>
            <a:lstStyle/>
            <a:p>
              <a:endParaRPr lang="en-US"/>
            </a:p>
          </p:txBody>
        </p:sp>
        <p:sp>
          <p:nvSpPr>
            <p:cNvPr id="125" name="Harvey 49/100 [49]" hidden="1">
              <a:extLst>
                <a:ext uri="{FF2B5EF4-FFF2-40B4-BE49-F238E27FC236}">
                  <a16:creationId xmlns:a16="http://schemas.microsoft.com/office/drawing/2014/main" id="{90F1609D-91EE-4138-8EC5-A0D2DC356009}"/>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accent3"/>
              </a:solidFill>
            </a:ln>
          </p:spPr>
          <p:txBody>
            <a:bodyPr/>
            <a:lstStyle/>
            <a:p>
              <a:endParaRPr lang="en-US"/>
            </a:p>
          </p:txBody>
        </p:sp>
        <p:sp>
          <p:nvSpPr>
            <p:cNvPr id="126" name="Harvey 50/100 [50]" hidden="1">
              <a:extLst>
                <a:ext uri="{FF2B5EF4-FFF2-40B4-BE49-F238E27FC236}">
                  <a16:creationId xmlns:a16="http://schemas.microsoft.com/office/drawing/2014/main" id="{DFE7854D-5D42-42A5-8CE1-C8EF71EC0597}"/>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accent3"/>
              </a:solidFill>
            </a:ln>
          </p:spPr>
          <p:txBody>
            <a:bodyPr/>
            <a:lstStyle/>
            <a:p>
              <a:endParaRPr lang="en-US"/>
            </a:p>
          </p:txBody>
        </p:sp>
        <p:sp>
          <p:nvSpPr>
            <p:cNvPr id="127" name="Harvey 51/100 [51]" hidden="1">
              <a:extLst>
                <a:ext uri="{FF2B5EF4-FFF2-40B4-BE49-F238E27FC236}">
                  <a16:creationId xmlns:a16="http://schemas.microsoft.com/office/drawing/2014/main" id="{5DEFDEFB-6C66-46F5-A389-D2BBB7FD2C6D}"/>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accent3"/>
              </a:solidFill>
            </a:ln>
          </p:spPr>
          <p:txBody>
            <a:bodyPr/>
            <a:lstStyle/>
            <a:p>
              <a:endParaRPr lang="en-US"/>
            </a:p>
          </p:txBody>
        </p:sp>
        <p:sp>
          <p:nvSpPr>
            <p:cNvPr id="128" name="Harvey 52/100 [52]" hidden="1">
              <a:extLst>
                <a:ext uri="{FF2B5EF4-FFF2-40B4-BE49-F238E27FC236}">
                  <a16:creationId xmlns:a16="http://schemas.microsoft.com/office/drawing/2014/main" id="{1A64055B-E965-46DC-A3F2-08F5CAE5DBB8}"/>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accent3"/>
              </a:solidFill>
            </a:ln>
          </p:spPr>
          <p:txBody>
            <a:bodyPr/>
            <a:lstStyle/>
            <a:p>
              <a:endParaRPr lang="en-US"/>
            </a:p>
          </p:txBody>
        </p:sp>
        <p:sp>
          <p:nvSpPr>
            <p:cNvPr id="129" name="Harvey 53/100 [53]" hidden="1">
              <a:extLst>
                <a:ext uri="{FF2B5EF4-FFF2-40B4-BE49-F238E27FC236}">
                  <a16:creationId xmlns:a16="http://schemas.microsoft.com/office/drawing/2014/main" id="{AD8FC917-7080-4C5D-A0F0-D91E4AD03206}"/>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accent3"/>
              </a:solidFill>
            </a:ln>
          </p:spPr>
          <p:txBody>
            <a:bodyPr/>
            <a:lstStyle/>
            <a:p>
              <a:endParaRPr lang="en-US"/>
            </a:p>
          </p:txBody>
        </p:sp>
        <p:sp>
          <p:nvSpPr>
            <p:cNvPr id="130" name="Harvey 54/100 [54]" hidden="1">
              <a:extLst>
                <a:ext uri="{FF2B5EF4-FFF2-40B4-BE49-F238E27FC236}">
                  <a16:creationId xmlns:a16="http://schemas.microsoft.com/office/drawing/2014/main" id="{D4545490-6EDF-4602-ABF6-56C06BBD16E5}"/>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accent3"/>
              </a:solidFill>
            </a:ln>
          </p:spPr>
          <p:txBody>
            <a:bodyPr/>
            <a:lstStyle/>
            <a:p>
              <a:endParaRPr lang="en-US"/>
            </a:p>
          </p:txBody>
        </p:sp>
        <p:sp>
          <p:nvSpPr>
            <p:cNvPr id="131" name="Harvey 55/100 [55]" hidden="1">
              <a:extLst>
                <a:ext uri="{FF2B5EF4-FFF2-40B4-BE49-F238E27FC236}">
                  <a16:creationId xmlns:a16="http://schemas.microsoft.com/office/drawing/2014/main" id="{2EE8E92B-9345-4A05-93BE-BF9669E980EB}"/>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accent3"/>
              </a:solidFill>
            </a:ln>
          </p:spPr>
          <p:txBody>
            <a:bodyPr/>
            <a:lstStyle/>
            <a:p>
              <a:endParaRPr lang="en-US"/>
            </a:p>
          </p:txBody>
        </p:sp>
        <p:sp>
          <p:nvSpPr>
            <p:cNvPr id="132" name="Harvey 56/100 [56]" hidden="1">
              <a:extLst>
                <a:ext uri="{FF2B5EF4-FFF2-40B4-BE49-F238E27FC236}">
                  <a16:creationId xmlns:a16="http://schemas.microsoft.com/office/drawing/2014/main" id="{FD344009-4AE5-49AC-88A4-B8D4B88CADDA}"/>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accent3"/>
              </a:solidFill>
            </a:ln>
          </p:spPr>
          <p:txBody>
            <a:bodyPr/>
            <a:lstStyle/>
            <a:p>
              <a:endParaRPr lang="en-US"/>
            </a:p>
          </p:txBody>
        </p:sp>
        <p:sp>
          <p:nvSpPr>
            <p:cNvPr id="133" name="Harvey 57/100 [57]" hidden="1">
              <a:extLst>
                <a:ext uri="{FF2B5EF4-FFF2-40B4-BE49-F238E27FC236}">
                  <a16:creationId xmlns:a16="http://schemas.microsoft.com/office/drawing/2014/main" id="{9544E229-D132-434C-9756-7335E323765E}"/>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accent3"/>
              </a:solidFill>
            </a:ln>
          </p:spPr>
          <p:txBody>
            <a:bodyPr/>
            <a:lstStyle/>
            <a:p>
              <a:endParaRPr lang="en-US"/>
            </a:p>
          </p:txBody>
        </p:sp>
        <p:sp>
          <p:nvSpPr>
            <p:cNvPr id="134" name="Harvey 58/100 [58]" hidden="1">
              <a:extLst>
                <a:ext uri="{FF2B5EF4-FFF2-40B4-BE49-F238E27FC236}">
                  <a16:creationId xmlns:a16="http://schemas.microsoft.com/office/drawing/2014/main" id="{03562273-A32C-49EE-A2C0-3B6459B5426B}"/>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accent3"/>
              </a:solidFill>
            </a:ln>
          </p:spPr>
          <p:txBody>
            <a:bodyPr/>
            <a:lstStyle/>
            <a:p>
              <a:endParaRPr lang="en-US"/>
            </a:p>
          </p:txBody>
        </p:sp>
        <p:sp>
          <p:nvSpPr>
            <p:cNvPr id="135" name="Harvey 59/100 [59]" hidden="1">
              <a:extLst>
                <a:ext uri="{FF2B5EF4-FFF2-40B4-BE49-F238E27FC236}">
                  <a16:creationId xmlns:a16="http://schemas.microsoft.com/office/drawing/2014/main" id="{4CB04383-EADF-4BC3-A9F7-7C2957DA2305}"/>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accent3"/>
              </a:solidFill>
            </a:ln>
          </p:spPr>
          <p:txBody>
            <a:bodyPr/>
            <a:lstStyle/>
            <a:p>
              <a:endParaRPr lang="en-US"/>
            </a:p>
          </p:txBody>
        </p:sp>
        <p:sp>
          <p:nvSpPr>
            <p:cNvPr id="136" name="Harvey 60/100 [60]" hidden="1">
              <a:extLst>
                <a:ext uri="{FF2B5EF4-FFF2-40B4-BE49-F238E27FC236}">
                  <a16:creationId xmlns:a16="http://schemas.microsoft.com/office/drawing/2014/main" id="{969BD7DC-2A37-4774-B11E-0E9BF268802F}"/>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accent3"/>
              </a:solidFill>
            </a:ln>
          </p:spPr>
          <p:txBody>
            <a:bodyPr/>
            <a:lstStyle/>
            <a:p>
              <a:endParaRPr lang="en-US"/>
            </a:p>
          </p:txBody>
        </p:sp>
        <p:sp>
          <p:nvSpPr>
            <p:cNvPr id="137" name="Harvey 61/100 [61]" hidden="1">
              <a:extLst>
                <a:ext uri="{FF2B5EF4-FFF2-40B4-BE49-F238E27FC236}">
                  <a16:creationId xmlns:a16="http://schemas.microsoft.com/office/drawing/2014/main" id="{C99C0F99-8860-4F4D-8EDA-2EE8ED75002F}"/>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accent3"/>
              </a:solidFill>
            </a:ln>
          </p:spPr>
          <p:txBody>
            <a:bodyPr/>
            <a:lstStyle/>
            <a:p>
              <a:endParaRPr lang="en-US"/>
            </a:p>
          </p:txBody>
        </p:sp>
        <p:sp>
          <p:nvSpPr>
            <p:cNvPr id="138" name="Harvey 62/100 [62]" hidden="1">
              <a:extLst>
                <a:ext uri="{FF2B5EF4-FFF2-40B4-BE49-F238E27FC236}">
                  <a16:creationId xmlns:a16="http://schemas.microsoft.com/office/drawing/2014/main" id="{31C73FA2-5DBB-4092-8CE3-74DC1253C564}"/>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accent3"/>
              </a:solidFill>
            </a:ln>
          </p:spPr>
          <p:txBody>
            <a:bodyPr/>
            <a:lstStyle/>
            <a:p>
              <a:endParaRPr lang="en-US"/>
            </a:p>
          </p:txBody>
        </p:sp>
        <p:sp>
          <p:nvSpPr>
            <p:cNvPr id="139" name="Harvey 63/100 [63]" hidden="1">
              <a:extLst>
                <a:ext uri="{FF2B5EF4-FFF2-40B4-BE49-F238E27FC236}">
                  <a16:creationId xmlns:a16="http://schemas.microsoft.com/office/drawing/2014/main" id="{1E211888-7C9A-4CFA-8135-F2E731F0F454}"/>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accent3"/>
              </a:solidFill>
            </a:ln>
          </p:spPr>
          <p:txBody>
            <a:bodyPr/>
            <a:lstStyle/>
            <a:p>
              <a:endParaRPr lang="en-US"/>
            </a:p>
          </p:txBody>
        </p:sp>
        <p:sp>
          <p:nvSpPr>
            <p:cNvPr id="140" name="Harvey 64/100 [64]" hidden="1">
              <a:extLst>
                <a:ext uri="{FF2B5EF4-FFF2-40B4-BE49-F238E27FC236}">
                  <a16:creationId xmlns:a16="http://schemas.microsoft.com/office/drawing/2014/main" id="{7AB0B0CD-FCC3-4059-8577-BAE45C71716A}"/>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accent3"/>
              </a:solidFill>
            </a:ln>
          </p:spPr>
          <p:txBody>
            <a:bodyPr/>
            <a:lstStyle/>
            <a:p>
              <a:endParaRPr lang="en-US"/>
            </a:p>
          </p:txBody>
        </p:sp>
        <p:sp>
          <p:nvSpPr>
            <p:cNvPr id="141" name="Harvey 65/100 [65]" hidden="1">
              <a:extLst>
                <a:ext uri="{FF2B5EF4-FFF2-40B4-BE49-F238E27FC236}">
                  <a16:creationId xmlns:a16="http://schemas.microsoft.com/office/drawing/2014/main" id="{29B7D251-CB6D-4518-B006-2F095234FC0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accent3"/>
              </a:solidFill>
            </a:ln>
          </p:spPr>
          <p:txBody>
            <a:bodyPr/>
            <a:lstStyle/>
            <a:p>
              <a:endParaRPr lang="en-US"/>
            </a:p>
          </p:txBody>
        </p:sp>
        <p:sp>
          <p:nvSpPr>
            <p:cNvPr id="142" name="Harvey 66/100 [66]" hidden="1">
              <a:extLst>
                <a:ext uri="{FF2B5EF4-FFF2-40B4-BE49-F238E27FC236}">
                  <a16:creationId xmlns:a16="http://schemas.microsoft.com/office/drawing/2014/main" id="{B8E3C546-275E-46B3-8BF6-19EBBF0F8B3C}"/>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accent3"/>
              </a:solidFill>
            </a:ln>
          </p:spPr>
          <p:txBody>
            <a:bodyPr/>
            <a:lstStyle/>
            <a:p>
              <a:endParaRPr lang="en-US"/>
            </a:p>
          </p:txBody>
        </p:sp>
        <p:sp>
          <p:nvSpPr>
            <p:cNvPr id="143" name="Harvey 67/100 [67]" hidden="1">
              <a:extLst>
                <a:ext uri="{FF2B5EF4-FFF2-40B4-BE49-F238E27FC236}">
                  <a16:creationId xmlns:a16="http://schemas.microsoft.com/office/drawing/2014/main" id="{5785B3BE-26B1-4CC8-B7E5-7D109CD233CD}"/>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accent3"/>
              </a:solidFill>
            </a:ln>
          </p:spPr>
          <p:txBody>
            <a:bodyPr/>
            <a:lstStyle/>
            <a:p>
              <a:endParaRPr lang="en-US"/>
            </a:p>
          </p:txBody>
        </p:sp>
        <p:sp>
          <p:nvSpPr>
            <p:cNvPr id="144" name="Harvey 68/100 [68]" hidden="1">
              <a:extLst>
                <a:ext uri="{FF2B5EF4-FFF2-40B4-BE49-F238E27FC236}">
                  <a16:creationId xmlns:a16="http://schemas.microsoft.com/office/drawing/2014/main" id="{248900BA-3E59-4DD0-97F7-64257EEA30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accent3"/>
              </a:solidFill>
            </a:ln>
          </p:spPr>
          <p:txBody>
            <a:bodyPr/>
            <a:lstStyle/>
            <a:p>
              <a:endParaRPr lang="en-US"/>
            </a:p>
          </p:txBody>
        </p:sp>
        <p:sp>
          <p:nvSpPr>
            <p:cNvPr id="145" name="Harvey 69/100 [69]" hidden="1">
              <a:extLst>
                <a:ext uri="{FF2B5EF4-FFF2-40B4-BE49-F238E27FC236}">
                  <a16:creationId xmlns:a16="http://schemas.microsoft.com/office/drawing/2014/main" id="{3E0B8B08-AC77-4F04-9B3A-4EDAC5D91167}"/>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accent3"/>
              </a:solidFill>
            </a:ln>
          </p:spPr>
          <p:txBody>
            <a:bodyPr/>
            <a:lstStyle/>
            <a:p>
              <a:endParaRPr lang="en-US"/>
            </a:p>
          </p:txBody>
        </p:sp>
        <p:sp>
          <p:nvSpPr>
            <p:cNvPr id="146" name="Harvey 70/100 [70]" hidden="1">
              <a:extLst>
                <a:ext uri="{FF2B5EF4-FFF2-40B4-BE49-F238E27FC236}">
                  <a16:creationId xmlns:a16="http://schemas.microsoft.com/office/drawing/2014/main" id="{734737F6-C54B-4A9D-8075-34697FE273B3}"/>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accent3"/>
              </a:solidFill>
            </a:ln>
          </p:spPr>
          <p:txBody>
            <a:bodyPr/>
            <a:lstStyle/>
            <a:p>
              <a:endParaRPr lang="en-US"/>
            </a:p>
          </p:txBody>
        </p:sp>
        <p:sp>
          <p:nvSpPr>
            <p:cNvPr id="147" name="Harvey 71/100 [71]" hidden="1">
              <a:extLst>
                <a:ext uri="{FF2B5EF4-FFF2-40B4-BE49-F238E27FC236}">
                  <a16:creationId xmlns:a16="http://schemas.microsoft.com/office/drawing/2014/main" id="{74550550-94A8-4718-B124-67C0961153CC}"/>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accent3"/>
              </a:solidFill>
            </a:ln>
          </p:spPr>
          <p:txBody>
            <a:bodyPr/>
            <a:lstStyle/>
            <a:p>
              <a:endParaRPr lang="en-US"/>
            </a:p>
          </p:txBody>
        </p:sp>
        <p:sp>
          <p:nvSpPr>
            <p:cNvPr id="148" name="Harvey 72/100 [72]" hidden="1">
              <a:extLst>
                <a:ext uri="{FF2B5EF4-FFF2-40B4-BE49-F238E27FC236}">
                  <a16:creationId xmlns:a16="http://schemas.microsoft.com/office/drawing/2014/main" id="{5139AB20-BA1D-4755-A461-939DE0F06EC3}"/>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accent3"/>
              </a:solidFill>
            </a:ln>
          </p:spPr>
          <p:txBody>
            <a:bodyPr/>
            <a:lstStyle/>
            <a:p>
              <a:endParaRPr lang="en-US"/>
            </a:p>
          </p:txBody>
        </p:sp>
        <p:sp>
          <p:nvSpPr>
            <p:cNvPr id="149" name="Harvey 73/100 [73]" hidden="1">
              <a:extLst>
                <a:ext uri="{FF2B5EF4-FFF2-40B4-BE49-F238E27FC236}">
                  <a16:creationId xmlns:a16="http://schemas.microsoft.com/office/drawing/2014/main" id="{7992E197-3D2D-440E-B9C0-16D9AFB0FBA6}"/>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accent3"/>
              </a:solidFill>
            </a:ln>
          </p:spPr>
          <p:txBody>
            <a:bodyPr/>
            <a:lstStyle/>
            <a:p>
              <a:endParaRPr lang="en-US"/>
            </a:p>
          </p:txBody>
        </p:sp>
        <p:sp>
          <p:nvSpPr>
            <p:cNvPr id="150" name="Harvey 74/100 [74]" hidden="1">
              <a:extLst>
                <a:ext uri="{FF2B5EF4-FFF2-40B4-BE49-F238E27FC236}">
                  <a16:creationId xmlns:a16="http://schemas.microsoft.com/office/drawing/2014/main" id="{197CCF6C-EBD3-4E93-B0F2-3E36A370671A}"/>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accent3"/>
              </a:solidFill>
            </a:ln>
          </p:spPr>
          <p:txBody>
            <a:bodyPr/>
            <a:lstStyle/>
            <a:p>
              <a:endParaRPr lang="en-US"/>
            </a:p>
          </p:txBody>
        </p:sp>
        <p:sp>
          <p:nvSpPr>
            <p:cNvPr id="151" name="Harvey 75/100 [75]" hidden="1">
              <a:extLst>
                <a:ext uri="{FF2B5EF4-FFF2-40B4-BE49-F238E27FC236}">
                  <a16:creationId xmlns:a16="http://schemas.microsoft.com/office/drawing/2014/main" id="{A6F08B2B-8949-45BC-805D-2B408B85BDED}"/>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accent3"/>
              </a:solidFill>
            </a:ln>
          </p:spPr>
          <p:txBody>
            <a:bodyPr/>
            <a:lstStyle/>
            <a:p>
              <a:endParaRPr lang="en-US"/>
            </a:p>
          </p:txBody>
        </p:sp>
        <p:sp>
          <p:nvSpPr>
            <p:cNvPr id="152" name="Harvey 76/100 [76]" hidden="1">
              <a:extLst>
                <a:ext uri="{FF2B5EF4-FFF2-40B4-BE49-F238E27FC236}">
                  <a16:creationId xmlns:a16="http://schemas.microsoft.com/office/drawing/2014/main" id="{84B0A022-7B1D-467E-AB96-7387264F3EC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accent3"/>
              </a:solidFill>
            </a:ln>
          </p:spPr>
          <p:txBody>
            <a:bodyPr/>
            <a:lstStyle/>
            <a:p>
              <a:endParaRPr lang="en-US"/>
            </a:p>
          </p:txBody>
        </p:sp>
        <p:sp>
          <p:nvSpPr>
            <p:cNvPr id="153" name="Harvey 77/100 [77]" hidden="1">
              <a:extLst>
                <a:ext uri="{FF2B5EF4-FFF2-40B4-BE49-F238E27FC236}">
                  <a16:creationId xmlns:a16="http://schemas.microsoft.com/office/drawing/2014/main" id="{B366C0E8-FC58-4B19-A789-FC5EA079A50F}"/>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accent3"/>
              </a:solidFill>
            </a:ln>
          </p:spPr>
          <p:txBody>
            <a:bodyPr/>
            <a:lstStyle/>
            <a:p>
              <a:endParaRPr lang="en-US"/>
            </a:p>
          </p:txBody>
        </p:sp>
        <p:sp>
          <p:nvSpPr>
            <p:cNvPr id="154" name="Harvey 78/100 [78]" hidden="1">
              <a:extLst>
                <a:ext uri="{FF2B5EF4-FFF2-40B4-BE49-F238E27FC236}">
                  <a16:creationId xmlns:a16="http://schemas.microsoft.com/office/drawing/2014/main" id="{3FCBE66E-11B4-4FAC-8A64-DC7659C0B6DE}"/>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accent3"/>
              </a:solidFill>
            </a:ln>
          </p:spPr>
          <p:txBody>
            <a:bodyPr/>
            <a:lstStyle/>
            <a:p>
              <a:endParaRPr lang="en-US"/>
            </a:p>
          </p:txBody>
        </p:sp>
        <p:sp>
          <p:nvSpPr>
            <p:cNvPr id="155" name="Harvey 79/100 [79]" hidden="1">
              <a:extLst>
                <a:ext uri="{FF2B5EF4-FFF2-40B4-BE49-F238E27FC236}">
                  <a16:creationId xmlns:a16="http://schemas.microsoft.com/office/drawing/2014/main" id="{3CF926B5-1F01-44AF-9774-3E5A4CD1BCAF}"/>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accent3"/>
              </a:solidFill>
            </a:ln>
          </p:spPr>
          <p:txBody>
            <a:bodyPr/>
            <a:lstStyle/>
            <a:p>
              <a:endParaRPr lang="en-US"/>
            </a:p>
          </p:txBody>
        </p:sp>
        <p:sp>
          <p:nvSpPr>
            <p:cNvPr id="156" name="Harvey 80/100 [80]" hidden="1">
              <a:extLst>
                <a:ext uri="{FF2B5EF4-FFF2-40B4-BE49-F238E27FC236}">
                  <a16:creationId xmlns:a16="http://schemas.microsoft.com/office/drawing/2014/main" id="{628C4D07-FCE6-4AF7-BC04-447306A1EADA}"/>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accent3"/>
              </a:solidFill>
            </a:ln>
          </p:spPr>
          <p:txBody>
            <a:bodyPr/>
            <a:lstStyle/>
            <a:p>
              <a:endParaRPr lang="en-US"/>
            </a:p>
          </p:txBody>
        </p:sp>
        <p:sp>
          <p:nvSpPr>
            <p:cNvPr id="157" name="Harvey 81/100 [81]" hidden="1">
              <a:extLst>
                <a:ext uri="{FF2B5EF4-FFF2-40B4-BE49-F238E27FC236}">
                  <a16:creationId xmlns:a16="http://schemas.microsoft.com/office/drawing/2014/main" id="{B2AAA4C1-2A70-49B4-BAD0-C6B44190577D}"/>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accent3"/>
              </a:solidFill>
            </a:ln>
          </p:spPr>
          <p:txBody>
            <a:bodyPr/>
            <a:lstStyle/>
            <a:p>
              <a:endParaRPr lang="en-US"/>
            </a:p>
          </p:txBody>
        </p:sp>
        <p:sp>
          <p:nvSpPr>
            <p:cNvPr id="158" name="Harvey 82/100 [82]" hidden="1">
              <a:extLst>
                <a:ext uri="{FF2B5EF4-FFF2-40B4-BE49-F238E27FC236}">
                  <a16:creationId xmlns:a16="http://schemas.microsoft.com/office/drawing/2014/main" id="{BE68E486-31DF-4317-A64A-ABCB2F493167}"/>
                </a:ext>
              </a:extLst>
            </p:cNvPr>
            <p:cNvSpPr>
              <a:spLocks noChangeAspect="1"/>
            </p:cNvSpPr>
            <p:nvPr>
              <p:custDataLst>
                <p:tags r:id="rId13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accent3"/>
              </a:solidFill>
            </a:ln>
          </p:spPr>
          <p:txBody>
            <a:bodyPr/>
            <a:lstStyle/>
            <a:p>
              <a:endParaRPr lang="en-US"/>
            </a:p>
          </p:txBody>
        </p:sp>
        <p:sp>
          <p:nvSpPr>
            <p:cNvPr id="159" name="Harvey 83/100 [83]" hidden="1">
              <a:extLst>
                <a:ext uri="{FF2B5EF4-FFF2-40B4-BE49-F238E27FC236}">
                  <a16:creationId xmlns:a16="http://schemas.microsoft.com/office/drawing/2014/main" id="{C2187EEC-B020-41E3-9565-F697E1BC43D9}"/>
                </a:ext>
              </a:extLst>
            </p:cNvPr>
            <p:cNvSpPr>
              <a:spLocks noChangeAspect="1"/>
            </p:cNvSpPr>
            <p:nvPr>
              <p:custDataLst>
                <p:tags r:id="rId14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accent3"/>
              </a:solidFill>
            </a:ln>
          </p:spPr>
          <p:txBody>
            <a:bodyPr/>
            <a:lstStyle/>
            <a:p>
              <a:endParaRPr lang="en-US"/>
            </a:p>
          </p:txBody>
        </p:sp>
        <p:sp>
          <p:nvSpPr>
            <p:cNvPr id="160" name="Harvey 84/100 [84]" hidden="1">
              <a:extLst>
                <a:ext uri="{FF2B5EF4-FFF2-40B4-BE49-F238E27FC236}">
                  <a16:creationId xmlns:a16="http://schemas.microsoft.com/office/drawing/2014/main" id="{32080B78-AC45-497D-80EC-94F2F5FF8713}"/>
                </a:ext>
              </a:extLst>
            </p:cNvPr>
            <p:cNvSpPr>
              <a:spLocks noChangeAspect="1"/>
            </p:cNvSpPr>
            <p:nvPr>
              <p:custDataLst>
                <p:tags r:id="rId14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accent3"/>
              </a:solidFill>
            </a:ln>
          </p:spPr>
          <p:txBody>
            <a:bodyPr/>
            <a:lstStyle/>
            <a:p>
              <a:endParaRPr lang="en-US"/>
            </a:p>
          </p:txBody>
        </p:sp>
        <p:sp>
          <p:nvSpPr>
            <p:cNvPr id="161" name="Harvey 85/100 [85]" hidden="1">
              <a:extLst>
                <a:ext uri="{FF2B5EF4-FFF2-40B4-BE49-F238E27FC236}">
                  <a16:creationId xmlns:a16="http://schemas.microsoft.com/office/drawing/2014/main" id="{4A53887D-EA30-4C36-A129-223EA12A0323}"/>
                </a:ext>
              </a:extLst>
            </p:cNvPr>
            <p:cNvSpPr>
              <a:spLocks noChangeAspect="1"/>
            </p:cNvSpPr>
            <p:nvPr>
              <p:custDataLst>
                <p:tags r:id="rId14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accent3"/>
              </a:solidFill>
            </a:ln>
          </p:spPr>
          <p:txBody>
            <a:bodyPr/>
            <a:lstStyle/>
            <a:p>
              <a:endParaRPr lang="en-US"/>
            </a:p>
          </p:txBody>
        </p:sp>
        <p:sp>
          <p:nvSpPr>
            <p:cNvPr id="162" name="Harvey 86/100 [86]" hidden="1">
              <a:extLst>
                <a:ext uri="{FF2B5EF4-FFF2-40B4-BE49-F238E27FC236}">
                  <a16:creationId xmlns:a16="http://schemas.microsoft.com/office/drawing/2014/main" id="{39C8143E-78FD-47D9-B3AE-04C5B04D1B2A}"/>
                </a:ext>
              </a:extLst>
            </p:cNvPr>
            <p:cNvSpPr>
              <a:spLocks noChangeAspect="1"/>
            </p:cNvSpPr>
            <p:nvPr>
              <p:custDataLst>
                <p:tags r:id="rId14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accent3"/>
              </a:solidFill>
            </a:ln>
          </p:spPr>
          <p:txBody>
            <a:bodyPr/>
            <a:lstStyle/>
            <a:p>
              <a:endParaRPr lang="en-US"/>
            </a:p>
          </p:txBody>
        </p:sp>
        <p:sp>
          <p:nvSpPr>
            <p:cNvPr id="163" name="Harvey 87/100 [87]" hidden="1">
              <a:extLst>
                <a:ext uri="{FF2B5EF4-FFF2-40B4-BE49-F238E27FC236}">
                  <a16:creationId xmlns:a16="http://schemas.microsoft.com/office/drawing/2014/main" id="{C40C63E8-633B-408C-A231-0BA3012A0ADC}"/>
                </a:ext>
              </a:extLst>
            </p:cNvPr>
            <p:cNvSpPr>
              <a:spLocks noChangeAspect="1"/>
            </p:cNvSpPr>
            <p:nvPr>
              <p:custDataLst>
                <p:tags r:id="rId14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accent3"/>
              </a:solidFill>
            </a:ln>
          </p:spPr>
          <p:txBody>
            <a:bodyPr/>
            <a:lstStyle/>
            <a:p>
              <a:endParaRPr lang="en-US"/>
            </a:p>
          </p:txBody>
        </p:sp>
        <p:sp>
          <p:nvSpPr>
            <p:cNvPr id="164" name="Harvey 88/100 [88]" hidden="1">
              <a:extLst>
                <a:ext uri="{FF2B5EF4-FFF2-40B4-BE49-F238E27FC236}">
                  <a16:creationId xmlns:a16="http://schemas.microsoft.com/office/drawing/2014/main" id="{A5D1E4C2-4E0E-4F28-A0C0-B3C28AF9916E}"/>
                </a:ext>
              </a:extLst>
            </p:cNvPr>
            <p:cNvSpPr>
              <a:spLocks noChangeAspect="1"/>
            </p:cNvSpPr>
            <p:nvPr>
              <p:custDataLst>
                <p:tags r:id="rId14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accent3"/>
              </a:solidFill>
            </a:ln>
          </p:spPr>
          <p:txBody>
            <a:bodyPr/>
            <a:lstStyle/>
            <a:p>
              <a:endParaRPr lang="en-US"/>
            </a:p>
          </p:txBody>
        </p:sp>
        <p:sp>
          <p:nvSpPr>
            <p:cNvPr id="165" name="Harvey 89/100 [89]" hidden="1">
              <a:extLst>
                <a:ext uri="{FF2B5EF4-FFF2-40B4-BE49-F238E27FC236}">
                  <a16:creationId xmlns:a16="http://schemas.microsoft.com/office/drawing/2014/main" id="{F947DFA2-51E1-4FA6-9699-12261B5EC35B}"/>
                </a:ext>
              </a:extLst>
            </p:cNvPr>
            <p:cNvSpPr>
              <a:spLocks noChangeAspect="1"/>
            </p:cNvSpPr>
            <p:nvPr>
              <p:custDataLst>
                <p:tags r:id="rId14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accent3"/>
              </a:solidFill>
            </a:ln>
          </p:spPr>
          <p:txBody>
            <a:bodyPr/>
            <a:lstStyle/>
            <a:p>
              <a:endParaRPr lang="en-US"/>
            </a:p>
          </p:txBody>
        </p:sp>
        <p:sp>
          <p:nvSpPr>
            <p:cNvPr id="166" name="Harvey 90/100 [90]" hidden="1">
              <a:extLst>
                <a:ext uri="{FF2B5EF4-FFF2-40B4-BE49-F238E27FC236}">
                  <a16:creationId xmlns:a16="http://schemas.microsoft.com/office/drawing/2014/main" id="{ED3C31C0-52C1-415E-B6AC-A03C7F7ABC6E}"/>
                </a:ext>
              </a:extLst>
            </p:cNvPr>
            <p:cNvSpPr>
              <a:spLocks noChangeAspect="1"/>
            </p:cNvSpPr>
            <p:nvPr>
              <p:custDataLst>
                <p:tags r:id="rId14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accent3"/>
              </a:solidFill>
            </a:ln>
          </p:spPr>
          <p:txBody>
            <a:bodyPr/>
            <a:lstStyle/>
            <a:p>
              <a:endParaRPr lang="en-US"/>
            </a:p>
          </p:txBody>
        </p:sp>
        <p:sp>
          <p:nvSpPr>
            <p:cNvPr id="167" name="Harvey 91/100 [91]" hidden="1">
              <a:extLst>
                <a:ext uri="{FF2B5EF4-FFF2-40B4-BE49-F238E27FC236}">
                  <a16:creationId xmlns:a16="http://schemas.microsoft.com/office/drawing/2014/main" id="{1CE7F1F1-DF99-4820-A09E-AB261DB63CEF}"/>
                </a:ext>
              </a:extLst>
            </p:cNvPr>
            <p:cNvSpPr>
              <a:spLocks noChangeAspect="1"/>
            </p:cNvSpPr>
            <p:nvPr>
              <p:custDataLst>
                <p:tags r:id="rId14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accent3"/>
              </a:solidFill>
            </a:ln>
          </p:spPr>
          <p:txBody>
            <a:bodyPr/>
            <a:lstStyle/>
            <a:p>
              <a:endParaRPr lang="en-US"/>
            </a:p>
          </p:txBody>
        </p:sp>
        <p:sp>
          <p:nvSpPr>
            <p:cNvPr id="168" name="Harvey 92/100 [92]" hidden="1">
              <a:extLst>
                <a:ext uri="{FF2B5EF4-FFF2-40B4-BE49-F238E27FC236}">
                  <a16:creationId xmlns:a16="http://schemas.microsoft.com/office/drawing/2014/main" id="{3FBA01C8-B48F-4A10-A078-BB6664764AD9}"/>
                </a:ext>
              </a:extLst>
            </p:cNvPr>
            <p:cNvSpPr>
              <a:spLocks noChangeAspect="1"/>
            </p:cNvSpPr>
            <p:nvPr>
              <p:custDataLst>
                <p:tags r:id="rId14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accent3"/>
              </a:solidFill>
            </a:ln>
          </p:spPr>
          <p:txBody>
            <a:bodyPr/>
            <a:lstStyle/>
            <a:p>
              <a:endParaRPr lang="en-US"/>
            </a:p>
          </p:txBody>
        </p:sp>
        <p:sp>
          <p:nvSpPr>
            <p:cNvPr id="169" name="Harvey 93/100 [93]" hidden="1">
              <a:extLst>
                <a:ext uri="{FF2B5EF4-FFF2-40B4-BE49-F238E27FC236}">
                  <a16:creationId xmlns:a16="http://schemas.microsoft.com/office/drawing/2014/main" id="{009367DE-79C4-4C64-B387-5925BC62AAAB}"/>
                </a:ext>
              </a:extLst>
            </p:cNvPr>
            <p:cNvSpPr>
              <a:spLocks noChangeAspect="1"/>
            </p:cNvSpPr>
            <p:nvPr>
              <p:custDataLst>
                <p:tags r:id="rId15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accent3"/>
              </a:solidFill>
            </a:ln>
          </p:spPr>
          <p:txBody>
            <a:bodyPr/>
            <a:lstStyle/>
            <a:p>
              <a:endParaRPr lang="en-US"/>
            </a:p>
          </p:txBody>
        </p:sp>
        <p:sp>
          <p:nvSpPr>
            <p:cNvPr id="170" name="Harvey 94/100 [94]" hidden="1">
              <a:extLst>
                <a:ext uri="{FF2B5EF4-FFF2-40B4-BE49-F238E27FC236}">
                  <a16:creationId xmlns:a16="http://schemas.microsoft.com/office/drawing/2014/main" id="{87E161D2-C609-44D1-84B1-3D7660562842}"/>
                </a:ext>
              </a:extLst>
            </p:cNvPr>
            <p:cNvSpPr>
              <a:spLocks noChangeAspect="1"/>
            </p:cNvSpPr>
            <p:nvPr>
              <p:custDataLst>
                <p:tags r:id="rId15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accent3"/>
              </a:solidFill>
            </a:ln>
          </p:spPr>
          <p:txBody>
            <a:bodyPr/>
            <a:lstStyle/>
            <a:p>
              <a:endParaRPr lang="en-US"/>
            </a:p>
          </p:txBody>
        </p:sp>
        <p:sp>
          <p:nvSpPr>
            <p:cNvPr id="171" name="Harvey 95/100 [95]" hidden="1">
              <a:extLst>
                <a:ext uri="{FF2B5EF4-FFF2-40B4-BE49-F238E27FC236}">
                  <a16:creationId xmlns:a16="http://schemas.microsoft.com/office/drawing/2014/main" id="{7B2F5F77-4C4F-41D2-874A-9F9AFB235C37}"/>
                </a:ext>
              </a:extLst>
            </p:cNvPr>
            <p:cNvSpPr>
              <a:spLocks noChangeAspect="1"/>
            </p:cNvSpPr>
            <p:nvPr>
              <p:custDataLst>
                <p:tags r:id="rId15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accent3"/>
              </a:solidFill>
            </a:ln>
          </p:spPr>
          <p:txBody>
            <a:bodyPr/>
            <a:lstStyle/>
            <a:p>
              <a:endParaRPr lang="en-US"/>
            </a:p>
          </p:txBody>
        </p:sp>
        <p:sp>
          <p:nvSpPr>
            <p:cNvPr id="172" name="Harvey 96/100 [96]" hidden="1">
              <a:extLst>
                <a:ext uri="{FF2B5EF4-FFF2-40B4-BE49-F238E27FC236}">
                  <a16:creationId xmlns:a16="http://schemas.microsoft.com/office/drawing/2014/main" id="{5C8A7A57-C83A-41D5-A322-CE34498990FC}"/>
                </a:ext>
              </a:extLst>
            </p:cNvPr>
            <p:cNvSpPr>
              <a:spLocks noChangeAspect="1"/>
            </p:cNvSpPr>
            <p:nvPr>
              <p:custDataLst>
                <p:tags r:id="rId15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accent3"/>
              </a:solidFill>
            </a:ln>
          </p:spPr>
          <p:txBody>
            <a:bodyPr/>
            <a:lstStyle/>
            <a:p>
              <a:endParaRPr lang="en-US"/>
            </a:p>
          </p:txBody>
        </p:sp>
        <p:sp>
          <p:nvSpPr>
            <p:cNvPr id="173" name="Harvey 97/100 [97]" hidden="1">
              <a:extLst>
                <a:ext uri="{FF2B5EF4-FFF2-40B4-BE49-F238E27FC236}">
                  <a16:creationId xmlns:a16="http://schemas.microsoft.com/office/drawing/2014/main" id="{4F748122-6580-442A-9546-7CE52A56AF15}"/>
                </a:ext>
              </a:extLst>
            </p:cNvPr>
            <p:cNvSpPr>
              <a:spLocks noChangeAspect="1"/>
            </p:cNvSpPr>
            <p:nvPr>
              <p:custDataLst>
                <p:tags r:id="rId15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accent3"/>
              </a:solidFill>
            </a:ln>
          </p:spPr>
          <p:txBody>
            <a:bodyPr/>
            <a:lstStyle/>
            <a:p>
              <a:endParaRPr lang="en-US"/>
            </a:p>
          </p:txBody>
        </p:sp>
        <p:sp>
          <p:nvSpPr>
            <p:cNvPr id="174" name="Harvey 98/100 [98]" hidden="1">
              <a:extLst>
                <a:ext uri="{FF2B5EF4-FFF2-40B4-BE49-F238E27FC236}">
                  <a16:creationId xmlns:a16="http://schemas.microsoft.com/office/drawing/2014/main" id="{FB5701AE-396A-4FFA-86C3-1103086D2CE4}"/>
                </a:ext>
              </a:extLst>
            </p:cNvPr>
            <p:cNvSpPr>
              <a:spLocks noChangeAspect="1"/>
            </p:cNvSpPr>
            <p:nvPr>
              <p:custDataLst>
                <p:tags r:id="rId15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accent3"/>
              </a:solidFill>
            </a:ln>
          </p:spPr>
          <p:txBody>
            <a:bodyPr/>
            <a:lstStyle/>
            <a:p>
              <a:endParaRPr lang="en-US"/>
            </a:p>
          </p:txBody>
        </p:sp>
        <p:sp>
          <p:nvSpPr>
            <p:cNvPr id="175" name="Harvey 99/100 [99]" hidden="1">
              <a:extLst>
                <a:ext uri="{FF2B5EF4-FFF2-40B4-BE49-F238E27FC236}">
                  <a16:creationId xmlns:a16="http://schemas.microsoft.com/office/drawing/2014/main" id="{4E32BBA9-FD7D-4AC1-8346-D1C63ECCBAC6}"/>
                </a:ext>
              </a:extLst>
            </p:cNvPr>
            <p:cNvSpPr>
              <a:spLocks noChangeAspect="1"/>
            </p:cNvSpPr>
            <p:nvPr>
              <p:custDataLst>
                <p:tags r:id="rId15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accent3"/>
              </a:solidFill>
            </a:ln>
          </p:spPr>
          <p:txBody>
            <a:bodyPr/>
            <a:lstStyle/>
            <a:p>
              <a:endParaRPr lang="en-US"/>
            </a:p>
          </p:txBody>
        </p:sp>
        <p:sp>
          <p:nvSpPr>
            <p:cNvPr id="176" name="Harvey 100/100 [100]" hidden="1">
              <a:extLst>
                <a:ext uri="{FF2B5EF4-FFF2-40B4-BE49-F238E27FC236}">
                  <a16:creationId xmlns:a16="http://schemas.microsoft.com/office/drawing/2014/main" id="{616FDAC2-68A3-48A4-938A-A6DFD547F1F0}"/>
                </a:ext>
              </a:extLst>
            </p:cNvPr>
            <p:cNvSpPr>
              <a:spLocks noChangeAspect="1"/>
            </p:cNvSpPr>
            <p:nvPr>
              <p:custDataLst>
                <p:tags r:id="rId15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accent3"/>
              </a:solidFill>
            </a:ln>
          </p:spPr>
          <p:txBody>
            <a:bodyPr/>
            <a:lstStyle/>
            <a:p>
              <a:endParaRPr lang="en-US"/>
            </a:p>
          </p:txBody>
        </p:sp>
      </p:grpSp>
      <p:grpSp>
        <p:nvGrpSpPr>
          <p:cNvPr id="177" name="Harvey 3" hidden="1">
            <a:extLst>
              <a:ext uri="{FF2B5EF4-FFF2-40B4-BE49-F238E27FC236}">
                <a16:creationId xmlns:a16="http://schemas.microsoft.com/office/drawing/2014/main" id="{F2FCDA54-3CE2-4191-91FA-FEA3C1AE2030}"/>
              </a:ext>
            </a:extLst>
          </p:cNvPr>
          <p:cNvGrpSpPr>
            <a:grpSpLocks/>
          </p:cNvGrpSpPr>
          <p:nvPr>
            <p:custDataLst>
              <p:tags r:id="rId36"/>
            </p:custDataLst>
          </p:nvPr>
        </p:nvGrpSpPr>
        <p:grpSpPr>
          <a:xfrm>
            <a:off x="13610617" y="956169"/>
            <a:ext cx="292608" cy="292608"/>
            <a:chOff x="0" y="0"/>
            <a:chExt cx="914400" cy="914400"/>
          </a:xfrm>
          <a:solidFill>
            <a:schemeClr val="accent3"/>
          </a:solidFill>
        </p:grpSpPr>
        <p:sp>
          <p:nvSpPr>
            <p:cNvPr id="178" name="Harvey 0/3 [0]" hidden="1">
              <a:extLst>
                <a:ext uri="{FF2B5EF4-FFF2-40B4-BE49-F238E27FC236}">
                  <a16:creationId xmlns:a16="http://schemas.microsoft.com/office/drawing/2014/main" id="{15F92158-5995-4A2B-811F-19C27FCBFC97}"/>
                </a:ext>
              </a:extLst>
            </p:cNvPr>
            <p:cNvSpPr>
              <a:spLocks noChangeAspect="1"/>
            </p:cNvSpPr>
            <p:nvPr>
              <p:custDataLst>
                <p:tags r:id="rId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9" name="Harvey 1/3 [1]" hidden="1">
              <a:extLst>
                <a:ext uri="{FF2B5EF4-FFF2-40B4-BE49-F238E27FC236}">
                  <a16:creationId xmlns:a16="http://schemas.microsoft.com/office/drawing/2014/main" id="{18DAD562-29D8-4171-8329-E0C8DAF62343}"/>
                </a:ext>
              </a:extLst>
            </p:cNvPr>
            <p:cNvSpPr>
              <a:spLocks noChangeAspect="1"/>
            </p:cNvSpPr>
            <p:nvPr>
              <p:custDataLst>
                <p:tags r:id="rId5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0" name="Harvey 2/3 [2]" hidden="1">
              <a:extLst>
                <a:ext uri="{FF2B5EF4-FFF2-40B4-BE49-F238E27FC236}">
                  <a16:creationId xmlns:a16="http://schemas.microsoft.com/office/drawing/2014/main" id="{5ACB416F-550C-4509-8EE0-430CE72BC9BA}"/>
                </a:ext>
              </a:extLst>
            </p:cNvPr>
            <p:cNvSpPr>
              <a:spLocks noChangeAspect="1"/>
            </p:cNvSpPr>
            <p:nvPr>
              <p:custDataLst>
                <p:tags r:id="rId5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1" name="Harvey 3/3 [3]" hidden="1">
              <a:extLst>
                <a:ext uri="{FF2B5EF4-FFF2-40B4-BE49-F238E27FC236}">
                  <a16:creationId xmlns:a16="http://schemas.microsoft.com/office/drawing/2014/main" id="{5EB2FEC5-DBEA-4ABF-9008-C1BC930F2A9C}"/>
                </a:ext>
              </a:extLst>
            </p:cNvPr>
            <p:cNvSpPr>
              <a:spLocks noChangeAspect="1"/>
            </p:cNvSpPr>
            <p:nvPr>
              <p:custDataLst>
                <p:tags r:id="rId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2" name="Harvey 4" hidden="1">
            <a:extLst>
              <a:ext uri="{FF2B5EF4-FFF2-40B4-BE49-F238E27FC236}">
                <a16:creationId xmlns:a16="http://schemas.microsoft.com/office/drawing/2014/main" id="{7170E67B-B754-41E6-9A17-E50CAF7961F4}"/>
              </a:ext>
            </a:extLst>
          </p:cNvPr>
          <p:cNvGrpSpPr>
            <a:grpSpLocks/>
          </p:cNvGrpSpPr>
          <p:nvPr>
            <p:custDataLst>
              <p:tags r:id="rId37"/>
            </p:custDataLst>
          </p:nvPr>
        </p:nvGrpSpPr>
        <p:grpSpPr>
          <a:xfrm>
            <a:off x="13610617" y="1546701"/>
            <a:ext cx="292608" cy="292608"/>
            <a:chOff x="0" y="0"/>
            <a:chExt cx="914400" cy="914400"/>
          </a:xfrm>
          <a:solidFill>
            <a:schemeClr val="tx1"/>
          </a:solidFill>
        </p:grpSpPr>
        <p:sp>
          <p:nvSpPr>
            <p:cNvPr id="183" name="Harvey 0/4 [0]" hidden="1">
              <a:extLst>
                <a:ext uri="{FF2B5EF4-FFF2-40B4-BE49-F238E27FC236}">
                  <a16:creationId xmlns:a16="http://schemas.microsoft.com/office/drawing/2014/main" id="{2191B3AE-C8E3-474E-B81C-CA1091209F08}"/>
                </a:ext>
              </a:extLst>
            </p:cNvPr>
            <p:cNvSpPr>
              <a:spLocks noChangeAspect="1"/>
            </p:cNvSpPr>
            <p:nvPr>
              <p:custDataLst>
                <p:tags r:id="rId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4" name="Harvey 1/4 [1]" hidden="1">
              <a:extLst>
                <a:ext uri="{FF2B5EF4-FFF2-40B4-BE49-F238E27FC236}">
                  <a16:creationId xmlns:a16="http://schemas.microsoft.com/office/drawing/2014/main" id="{A708BCDB-DD2D-480C-ABBA-23D97629657D}"/>
                </a:ext>
              </a:extLst>
            </p:cNvPr>
            <p:cNvSpPr>
              <a:spLocks noChangeAspect="1"/>
            </p:cNvSpPr>
            <p:nvPr>
              <p:custDataLst>
                <p:tags r:id="rId4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5" name="Harvey 2/4 [2]" hidden="1">
              <a:extLst>
                <a:ext uri="{FF2B5EF4-FFF2-40B4-BE49-F238E27FC236}">
                  <a16:creationId xmlns:a16="http://schemas.microsoft.com/office/drawing/2014/main" id="{0EC26EC2-83BA-48A9-98F7-BB5A2154AACE}"/>
                </a:ext>
              </a:extLst>
            </p:cNvPr>
            <p:cNvSpPr>
              <a:spLocks noChangeAspect="1"/>
            </p:cNvSpPr>
            <p:nvPr>
              <p:custDataLst>
                <p:tags r:id="rId5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6" name="Harvey 3/4 [3]" hidden="1">
              <a:extLst>
                <a:ext uri="{FF2B5EF4-FFF2-40B4-BE49-F238E27FC236}">
                  <a16:creationId xmlns:a16="http://schemas.microsoft.com/office/drawing/2014/main" id="{4B50A309-8C2E-47CB-935C-372DE6B5032B}"/>
                </a:ext>
              </a:extLst>
            </p:cNvPr>
            <p:cNvSpPr>
              <a:spLocks noChangeAspect="1"/>
            </p:cNvSpPr>
            <p:nvPr>
              <p:custDataLst>
                <p:tags r:id="rId5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7" name="Harvey 4/4 [4]" hidden="1">
              <a:extLst>
                <a:ext uri="{FF2B5EF4-FFF2-40B4-BE49-F238E27FC236}">
                  <a16:creationId xmlns:a16="http://schemas.microsoft.com/office/drawing/2014/main" id="{3E4CE4AA-ACC7-435A-81A5-E8411629D818}"/>
                </a:ext>
              </a:extLst>
            </p:cNvPr>
            <p:cNvSpPr>
              <a:spLocks noChangeAspect="1"/>
            </p:cNvSpPr>
            <p:nvPr>
              <p:custDataLst>
                <p:tags r:id="rId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accent3"/>
            </a:solid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8" name="Harvey 8" hidden="1">
            <a:extLst>
              <a:ext uri="{FF2B5EF4-FFF2-40B4-BE49-F238E27FC236}">
                <a16:creationId xmlns:a16="http://schemas.microsoft.com/office/drawing/2014/main" id="{A3CCA266-548E-40B5-BDD0-8797B8330CC8}"/>
              </a:ext>
            </a:extLst>
          </p:cNvPr>
          <p:cNvGrpSpPr>
            <a:grpSpLocks/>
          </p:cNvGrpSpPr>
          <p:nvPr>
            <p:custDataLst>
              <p:tags r:id="rId38"/>
            </p:custDataLst>
          </p:nvPr>
        </p:nvGrpSpPr>
        <p:grpSpPr>
          <a:xfrm>
            <a:off x="13610617" y="1192309"/>
            <a:ext cx="292608" cy="292608"/>
            <a:chOff x="0" y="0"/>
            <a:chExt cx="914400" cy="914400"/>
          </a:xfrm>
          <a:solidFill>
            <a:schemeClr val="accent3"/>
          </a:solidFill>
        </p:grpSpPr>
        <p:sp>
          <p:nvSpPr>
            <p:cNvPr id="189" name="Harvey 0/8 [0]" hidden="1">
              <a:extLst>
                <a:ext uri="{FF2B5EF4-FFF2-40B4-BE49-F238E27FC236}">
                  <a16:creationId xmlns:a16="http://schemas.microsoft.com/office/drawing/2014/main" id="{C9215DEE-7F32-4EEC-B144-FC55203C4902}"/>
                </a:ext>
              </a:extLst>
            </p:cNvPr>
            <p:cNvSpPr>
              <a:spLocks noChangeAspect="1"/>
            </p:cNvSpPr>
            <p:nvPr>
              <p:custDataLst>
                <p:tags r:id="rId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0" name="Harvey 1/8 [1]" hidden="1">
              <a:extLst>
                <a:ext uri="{FF2B5EF4-FFF2-40B4-BE49-F238E27FC236}">
                  <a16:creationId xmlns:a16="http://schemas.microsoft.com/office/drawing/2014/main" id="{821D8941-759A-4C03-B3B3-A54F82EF46AB}"/>
                </a:ext>
              </a:extLst>
            </p:cNvPr>
            <p:cNvSpPr>
              <a:spLocks noChangeAspect="1"/>
            </p:cNvSpPr>
            <p:nvPr>
              <p:custDataLst>
                <p:tags r:id="rId4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1" name="Harvey 2/8 [2]" hidden="1">
              <a:extLst>
                <a:ext uri="{FF2B5EF4-FFF2-40B4-BE49-F238E27FC236}">
                  <a16:creationId xmlns:a16="http://schemas.microsoft.com/office/drawing/2014/main" id="{54FE8F70-C5FD-4398-BA80-98F4EB35D8AC}"/>
                </a:ext>
              </a:extLst>
            </p:cNvPr>
            <p:cNvSpPr>
              <a:spLocks noChangeAspect="1"/>
            </p:cNvSpPr>
            <p:nvPr>
              <p:custDataLst>
                <p:tags r:id="rId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2" name="Harvey 3/8 [3]" hidden="1">
              <a:extLst>
                <a:ext uri="{FF2B5EF4-FFF2-40B4-BE49-F238E27FC236}">
                  <a16:creationId xmlns:a16="http://schemas.microsoft.com/office/drawing/2014/main" id="{586D95AD-2B00-4AC4-9CC9-5C9E614CB82B}"/>
                </a:ext>
              </a:extLst>
            </p:cNvPr>
            <p:cNvSpPr>
              <a:spLocks noChangeAspect="1"/>
            </p:cNvSpPr>
            <p:nvPr>
              <p:custDataLst>
                <p:tags r:id="rId4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3" name="Harvey 4/8 [4]" hidden="1">
              <a:extLst>
                <a:ext uri="{FF2B5EF4-FFF2-40B4-BE49-F238E27FC236}">
                  <a16:creationId xmlns:a16="http://schemas.microsoft.com/office/drawing/2014/main" id="{4EDBCC16-44E4-4086-9F81-290CB47529AE}"/>
                </a:ext>
              </a:extLst>
            </p:cNvPr>
            <p:cNvSpPr>
              <a:spLocks noChangeAspect="1"/>
            </p:cNvSpPr>
            <p:nvPr>
              <p:custDataLst>
                <p:tags r:id="rId4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4" name="Harvey 5/8 [5]" hidden="1">
              <a:extLst>
                <a:ext uri="{FF2B5EF4-FFF2-40B4-BE49-F238E27FC236}">
                  <a16:creationId xmlns:a16="http://schemas.microsoft.com/office/drawing/2014/main" id="{1375336E-393D-4BB8-AECD-D32E285CB3FE}"/>
                </a:ext>
              </a:extLst>
            </p:cNvPr>
            <p:cNvSpPr>
              <a:spLocks noChangeAspect="1"/>
            </p:cNvSpPr>
            <p:nvPr>
              <p:custDataLst>
                <p:tags r:id="rId4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5" name="Harvey 6/8 [6]" hidden="1">
              <a:extLst>
                <a:ext uri="{FF2B5EF4-FFF2-40B4-BE49-F238E27FC236}">
                  <a16:creationId xmlns:a16="http://schemas.microsoft.com/office/drawing/2014/main" id="{F01FD478-F62D-456B-AE0B-93A60DA6B1FF}"/>
                </a:ext>
              </a:extLst>
            </p:cNvPr>
            <p:cNvSpPr>
              <a:spLocks noChangeAspect="1"/>
            </p:cNvSpPr>
            <p:nvPr>
              <p:custDataLst>
                <p:tags r:id="rId4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6" name="Harvey 7/8 [7]" hidden="1">
              <a:extLst>
                <a:ext uri="{FF2B5EF4-FFF2-40B4-BE49-F238E27FC236}">
                  <a16:creationId xmlns:a16="http://schemas.microsoft.com/office/drawing/2014/main" id="{9C49FE5F-6264-407A-9542-84509BDF380B}"/>
                </a:ext>
              </a:extLst>
            </p:cNvPr>
            <p:cNvSpPr>
              <a:spLocks noChangeAspect="1"/>
            </p:cNvSpPr>
            <p:nvPr>
              <p:custDataLst>
                <p:tags r:id="rId4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7" name="Harvey 8/8 [8]" hidden="1">
              <a:extLst>
                <a:ext uri="{FF2B5EF4-FFF2-40B4-BE49-F238E27FC236}">
                  <a16:creationId xmlns:a16="http://schemas.microsoft.com/office/drawing/2014/main" id="{7012898F-FF76-4915-93D8-9A6812EA706C}"/>
                </a:ext>
              </a:extLst>
            </p:cNvPr>
            <p:cNvSpPr>
              <a:spLocks noChangeAspect="1"/>
            </p:cNvSpPr>
            <p:nvPr>
              <p:custDataLst>
                <p:tags r:id="rId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C44C33B8-C8F7-B780-3EDF-40F3AE4B4EA1}"/>
              </a:ext>
            </a:extLst>
          </p:cNvPr>
          <p:cNvSpPr txBox="1"/>
          <p:nvPr userDrawn="1"/>
        </p:nvSpPr>
        <p:spPr>
          <a:xfrm>
            <a:off x="565200" y="7153200"/>
            <a:ext cx="273600" cy="118800"/>
          </a:xfrm>
          <a:prstGeom prst="rect">
            <a:avLst/>
          </a:prstGeom>
          <a:noFill/>
        </p:spPr>
        <p:txBody>
          <a:bodyPr wrap="square" lIns="0" tIns="0" rIns="0" bIns="0" rtlCol="0" anchor="b" anchorCtr="0">
            <a:noAutofit/>
          </a:bodyPr>
          <a:lstStyle/>
          <a:p>
            <a:pPr algn="l"/>
            <a:fld id="{8A23ABA4-7C5F-4A82-88F7-CAC0346A6918}" type="slidenum">
              <a:rPr lang="en-US" sz="800" smtClean="0">
                <a:latin typeface="+mn-lt"/>
              </a:rPr>
              <a:pPr algn="l"/>
              <a:t>‹#›</a:t>
            </a:fld>
            <a:endParaRPr lang="en-US" sz="800">
              <a:latin typeface="+mn-lt"/>
            </a:endParaRPr>
          </a:p>
        </p:txBody>
      </p:sp>
    </p:spTree>
    <p:extLst>
      <p:ext uri="{BB962C8B-B14F-4D97-AF65-F5344CB8AC3E}">
        <p14:creationId xmlns:p14="http://schemas.microsoft.com/office/powerpoint/2010/main" val="1770645084"/>
      </p:ext>
    </p:extLst>
  </p:cSld>
  <p:clrMap bg1="lt1" tx1="dk1" bg2="lt2" tx2="dk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 id="2147484303" r:id="rId12"/>
    <p:sldLayoutId id="2147484304" r:id="rId13"/>
    <p:sldLayoutId id="2147484305" r:id="rId14"/>
    <p:sldLayoutId id="2147484306" r:id="rId15"/>
    <p:sldLayoutId id="2147484307" r:id="rId16"/>
    <p:sldLayoutId id="2147484308" r:id="rId17"/>
    <p:sldLayoutId id="2147484309" r:id="rId18"/>
    <p:sldLayoutId id="2147484310" r:id="rId19"/>
    <p:sldLayoutId id="2147484311" r:id="rId20"/>
    <p:sldLayoutId id="2147484312" r:id="rId21"/>
    <p:sldLayoutId id="2147484313" r:id="rId22"/>
    <p:sldLayoutId id="2147484314" r:id="rId23"/>
    <p:sldLayoutId id="2147484315" r:id="rId24"/>
    <p:sldLayoutId id="2147484316" r:id="rId25"/>
    <p:sldLayoutId id="2147484317" r:id="rId26"/>
    <p:sldLayoutId id="2147484319" r:id="rId27"/>
    <p:sldLayoutId id="2147484328" r:id="rId28"/>
    <p:sldLayoutId id="2147484329" r:id="rId29"/>
    <p:sldLayoutId id="2147484330" r:id="rId30"/>
    <p:sldLayoutId id="2147484331" r:id="rId31"/>
  </p:sldLayoutIdLst>
  <p:hf hdr="0" dt="0"/>
  <p:txStyles>
    <p:titleStyle>
      <a:lvl1pPr algn="l" defTabSz="1005505" rtl="0" eaLnBrk="1" latinLnBrk="0" hangingPunct="1">
        <a:spcBef>
          <a:spcPct val="0"/>
        </a:spcBef>
        <a:buNone/>
        <a:defRPr lang="en-US" sz="2800" b="0" kern="1200" baseline="0" dirty="0">
          <a:solidFill>
            <a:schemeClr val="tx1"/>
          </a:solidFill>
          <a:latin typeface="+mn-lt"/>
          <a:ea typeface="+mn-ea"/>
          <a:cs typeface="+mj-cs"/>
        </a:defRPr>
      </a:lvl1pPr>
    </p:titleStyle>
    <p:bodyStyle>
      <a:lvl1pPr marL="182880" marR="0" indent="-182880" algn="l" defTabSz="1005505" rtl="0" eaLnBrk="1" fontAlgn="auto" latinLnBrk="0" hangingPunct="1">
        <a:lnSpc>
          <a:spcPct val="100000"/>
        </a:lnSpc>
        <a:spcBef>
          <a:spcPts val="800"/>
        </a:spcBef>
        <a:spcAft>
          <a:spcPts val="0"/>
        </a:spcAft>
        <a:buClr>
          <a:schemeClr val="tx1"/>
        </a:buClr>
        <a:buSzPct val="75000"/>
        <a:buFont typeface="Wingdings 2" panose="05020102010507070707" pitchFamily="18" charset="2"/>
        <a:buChar char=""/>
        <a:tabLst/>
        <a:defRPr lang="en-US" sz="16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ea typeface="+mn-ea"/>
          <a:cs typeface="+mn-cs"/>
        </a:defRPr>
      </a:lvl9pPr>
    </p:bodyStyle>
    <p:otherStyle>
      <a:defPPr>
        <a:defRPr lang="en-US"/>
      </a:defPPr>
      <a:lvl1pPr marL="0" algn="l" defTabSz="1005505" rtl="0" eaLnBrk="1" latinLnBrk="0" hangingPunct="1">
        <a:defRPr sz="2000" kern="1200">
          <a:solidFill>
            <a:schemeClr val="tx1"/>
          </a:solidFill>
          <a:latin typeface="+mn-lt"/>
          <a:ea typeface="+mn-ea"/>
          <a:cs typeface="+mn-cs"/>
        </a:defRPr>
      </a:lvl1pPr>
      <a:lvl2pPr marL="502753" algn="l" defTabSz="1005505" rtl="0" eaLnBrk="1" latinLnBrk="0" hangingPunct="1">
        <a:defRPr sz="2000" kern="1200">
          <a:solidFill>
            <a:schemeClr val="tx1"/>
          </a:solidFill>
          <a:latin typeface="+mn-lt"/>
          <a:ea typeface="+mn-ea"/>
          <a:cs typeface="+mn-cs"/>
        </a:defRPr>
      </a:lvl2pPr>
      <a:lvl3pPr marL="1005505" algn="l" defTabSz="1005505" rtl="0" eaLnBrk="1" latinLnBrk="0" hangingPunct="1">
        <a:defRPr sz="2000" kern="1200">
          <a:solidFill>
            <a:schemeClr val="tx1"/>
          </a:solidFill>
          <a:latin typeface="+mn-lt"/>
          <a:ea typeface="+mn-ea"/>
          <a:cs typeface="+mn-cs"/>
        </a:defRPr>
      </a:lvl3pPr>
      <a:lvl4pPr marL="1508257" algn="l" defTabSz="1005505" rtl="0" eaLnBrk="1" latinLnBrk="0" hangingPunct="1">
        <a:defRPr sz="2000" kern="1200">
          <a:solidFill>
            <a:schemeClr val="tx1"/>
          </a:solidFill>
          <a:latin typeface="+mn-lt"/>
          <a:ea typeface="+mn-ea"/>
          <a:cs typeface="+mn-cs"/>
        </a:defRPr>
      </a:lvl4pPr>
      <a:lvl5pPr marL="2011009" algn="l" defTabSz="1005505" rtl="0" eaLnBrk="1" latinLnBrk="0" hangingPunct="1">
        <a:defRPr sz="2000" kern="1200">
          <a:solidFill>
            <a:schemeClr val="tx1"/>
          </a:solidFill>
          <a:latin typeface="+mn-lt"/>
          <a:ea typeface="+mn-ea"/>
          <a:cs typeface="+mn-cs"/>
        </a:defRPr>
      </a:lvl5pPr>
      <a:lvl6pPr marL="2513761" algn="l" defTabSz="1005505" rtl="0" eaLnBrk="1" latinLnBrk="0" hangingPunct="1">
        <a:defRPr sz="2000" kern="1200">
          <a:solidFill>
            <a:schemeClr val="tx1"/>
          </a:solidFill>
          <a:latin typeface="+mn-lt"/>
          <a:ea typeface="+mn-ea"/>
          <a:cs typeface="+mn-cs"/>
        </a:defRPr>
      </a:lvl6pPr>
      <a:lvl7pPr marL="3016512" algn="l" defTabSz="1005505" rtl="0" eaLnBrk="1" latinLnBrk="0" hangingPunct="1">
        <a:defRPr sz="2000" kern="1200">
          <a:solidFill>
            <a:schemeClr val="tx1"/>
          </a:solidFill>
          <a:latin typeface="+mn-lt"/>
          <a:ea typeface="+mn-ea"/>
          <a:cs typeface="+mn-cs"/>
        </a:defRPr>
      </a:lvl7pPr>
      <a:lvl8pPr marL="3519265" algn="l" defTabSz="1005505" rtl="0" eaLnBrk="1" latinLnBrk="0" hangingPunct="1">
        <a:defRPr sz="2000" kern="1200">
          <a:solidFill>
            <a:schemeClr val="tx1"/>
          </a:solidFill>
          <a:latin typeface="+mn-lt"/>
          <a:ea typeface="+mn-ea"/>
          <a:cs typeface="+mn-cs"/>
        </a:defRPr>
      </a:lvl8pPr>
      <a:lvl9pPr marL="4022016" algn="l" defTabSz="1005505"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8100" userDrawn="1">
          <p15:clr>
            <a:srgbClr val="F26B43"/>
          </p15:clr>
        </p15:guide>
        <p15:guide id="4" pos="34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customXml" Target="../../customXml/item29.xml"/><Relationship Id="rId1" Type="http://schemas.openxmlformats.org/officeDocument/2006/relationships/customXml" Target="../../customXml/item11.xml"/><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oleObject" Target="../embeddings/oleObject6.bin"/><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chart" Target="../charts/chart20.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chart" Target="../charts/chart19.xml"/><Relationship Id="rId5" Type="http://schemas.openxmlformats.org/officeDocument/2006/relationships/tags" Target="../tags/tag304.xml"/><Relationship Id="rId10" Type="http://schemas.openxmlformats.org/officeDocument/2006/relationships/chart" Target="../charts/chart18.xml"/><Relationship Id="rId4" Type="http://schemas.openxmlformats.org/officeDocument/2006/relationships/tags" Target="../tags/tag303.xml"/><Relationship Id="rId9" Type="http://schemas.openxmlformats.org/officeDocument/2006/relationships/notesSlide" Target="../notesSlides/notesSlide8.xml"/><Relationship Id="rId14" Type="http://schemas.openxmlformats.org/officeDocument/2006/relationships/image" Target="../media/image8.emf"/></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chart" Target="../charts/chart22.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chart" Target="../charts/chart21.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image" Target="../media/image8.emf"/><Relationship Id="rId5" Type="http://schemas.openxmlformats.org/officeDocument/2006/relationships/tags" Target="../tags/tag311.xml"/><Relationship Id="rId10" Type="http://schemas.openxmlformats.org/officeDocument/2006/relationships/oleObject" Target="../embeddings/oleObject5.bin"/><Relationship Id="rId4" Type="http://schemas.openxmlformats.org/officeDocument/2006/relationships/tags" Target="../tags/tag310.xml"/><Relationship Id="rId9" Type="http://schemas.openxmlformats.org/officeDocument/2006/relationships/notesSlide" Target="../notesSlides/notesSlide9.xml"/><Relationship Id="rId14" Type="http://schemas.openxmlformats.org/officeDocument/2006/relationships/chart" Target="../charts/chart23.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chart" Target="../charts/chart25.xml"/><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chart" Target="../charts/chart24.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image" Target="../media/image8.emf"/><Relationship Id="rId5" Type="http://schemas.openxmlformats.org/officeDocument/2006/relationships/tags" Target="../tags/tag318.xml"/><Relationship Id="rId10" Type="http://schemas.openxmlformats.org/officeDocument/2006/relationships/oleObject" Target="../embeddings/oleObject5.bin"/><Relationship Id="rId4" Type="http://schemas.openxmlformats.org/officeDocument/2006/relationships/tags" Target="../tags/tag317.xml"/><Relationship Id="rId9" Type="http://schemas.openxmlformats.org/officeDocument/2006/relationships/notesSlide" Target="../notesSlides/notesSlide10.xml"/><Relationship Id="rId14" Type="http://schemas.openxmlformats.org/officeDocument/2006/relationships/chart" Target="../charts/chart26.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chart" Target="../charts/chart28.xml"/><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chart" Target="../charts/chart27.xml"/><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image" Target="../media/image8.emf"/><Relationship Id="rId5" Type="http://schemas.openxmlformats.org/officeDocument/2006/relationships/tags" Target="../tags/tag325.xml"/><Relationship Id="rId10" Type="http://schemas.openxmlformats.org/officeDocument/2006/relationships/oleObject" Target="../embeddings/oleObject5.bin"/><Relationship Id="rId4" Type="http://schemas.openxmlformats.org/officeDocument/2006/relationships/tags" Target="../tags/tag324.xml"/><Relationship Id="rId9" Type="http://schemas.openxmlformats.org/officeDocument/2006/relationships/notesSlide" Target="../notesSlides/notesSlide11.xml"/><Relationship Id="rId14" Type="http://schemas.openxmlformats.org/officeDocument/2006/relationships/chart" Target="../charts/chart29.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330.xml"/><Relationship Id="rId7" Type="http://schemas.openxmlformats.org/officeDocument/2006/relationships/slideLayout" Target="../slideLayouts/slideLayout28.xml"/><Relationship Id="rId12" Type="http://schemas.openxmlformats.org/officeDocument/2006/relationships/image" Target="../media/image8.emf"/><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11" Type="http://schemas.openxmlformats.org/officeDocument/2006/relationships/oleObject" Target="../embeddings/oleObject6.bin"/><Relationship Id="rId5" Type="http://schemas.openxmlformats.org/officeDocument/2006/relationships/tags" Target="../tags/tag332.xml"/><Relationship Id="rId10" Type="http://schemas.openxmlformats.org/officeDocument/2006/relationships/chart" Target="../charts/chart31.xml"/><Relationship Id="rId4" Type="http://schemas.openxmlformats.org/officeDocument/2006/relationships/tags" Target="../tags/tag331.xml"/><Relationship Id="rId9" Type="http://schemas.openxmlformats.org/officeDocument/2006/relationships/chart" Target="../charts/chart30.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336.xml"/><Relationship Id="rId7" Type="http://schemas.openxmlformats.org/officeDocument/2006/relationships/slideLayout" Target="../slideLayouts/slideLayout28.xml"/><Relationship Id="rId12" Type="http://schemas.openxmlformats.org/officeDocument/2006/relationships/chart" Target="../charts/chart33.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tags" Target="../tags/tag339.xml"/><Relationship Id="rId11" Type="http://schemas.openxmlformats.org/officeDocument/2006/relationships/chart" Target="../charts/chart32.xml"/><Relationship Id="rId5" Type="http://schemas.openxmlformats.org/officeDocument/2006/relationships/tags" Target="../tags/tag338.xml"/><Relationship Id="rId10" Type="http://schemas.openxmlformats.org/officeDocument/2006/relationships/image" Target="../media/image8.emf"/><Relationship Id="rId4" Type="http://schemas.openxmlformats.org/officeDocument/2006/relationships/tags" Target="../tags/tag337.xml"/><Relationship Id="rId9"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342.xml"/><Relationship Id="rId7" Type="http://schemas.openxmlformats.org/officeDocument/2006/relationships/slideLayout" Target="../slideLayouts/slideLayout28.xml"/><Relationship Id="rId12" Type="http://schemas.openxmlformats.org/officeDocument/2006/relationships/chart" Target="../charts/chart37.xml"/><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tags" Target="../tags/tag345.xml"/><Relationship Id="rId11" Type="http://schemas.openxmlformats.org/officeDocument/2006/relationships/chart" Target="../charts/chart36.xml"/><Relationship Id="rId5" Type="http://schemas.openxmlformats.org/officeDocument/2006/relationships/tags" Target="../tags/tag344.xml"/><Relationship Id="rId10" Type="http://schemas.openxmlformats.org/officeDocument/2006/relationships/image" Target="../media/image8.emf"/><Relationship Id="rId4" Type="http://schemas.openxmlformats.org/officeDocument/2006/relationships/tags" Target="../tags/tag343.xml"/><Relationship Id="rId9"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348.xml"/><Relationship Id="rId7" Type="http://schemas.openxmlformats.org/officeDocument/2006/relationships/slideLayout" Target="../slideLayouts/slideLayout28.xml"/><Relationship Id="rId12" Type="http://schemas.openxmlformats.org/officeDocument/2006/relationships/chart" Target="../charts/chart39.xml"/><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chart" Target="../charts/chart38.xml"/><Relationship Id="rId5" Type="http://schemas.openxmlformats.org/officeDocument/2006/relationships/tags" Target="../tags/tag350.xml"/><Relationship Id="rId10" Type="http://schemas.openxmlformats.org/officeDocument/2006/relationships/image" Target="../media/image8.emf"/><Relationship Id="rId4" Type="http://schemas.openxmlformats.org/officeDocument/2006/relationships/tags" Target="../tags/tag349.xml"/><Relationship Id="rId9" Type="http://schemas.openxmlformats.org/officeDocument/2006/relationships/oleObject" Target="../embeddings/oleObject7.bin"/></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354.xml"/><Relationship Id="rId7" Type="http://schemas.openxmlformats.org/officeDocument/2006/relationships/slideLayout" Target="../slideLayouts/slideLayout28.xml"/><Relationship Id="rId12" Type="http://schemas.openxmlformats.org/officeDocument/2006/relationships/image" Target="../media/image8.emf"/><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tags" Target="../tags/tag357.xml"/><Relationship Id="rId11" Type="http://schemas.openxmlformats.org/officeDocument/2006/relationships/oleObject" Target="../embeddings/oleObject6.bin"/><Relationship Id="rId5" Type="http://schemas.openxmlformats.org/officeDocument/2006/relationships/tags" Target="../tags/tag356.xml"/><Relationship Id="rId10" Type="http://schemas.openxmlformats.org/officeDocument/2006/relationships/chart" Target="../charts/chart41.xml"/><Relationship Id="rId4" Type="http://schemas.openxmlformats.org/officeDocument/2006/relationships/tags" Target="../tags/tag355.xml"/><Relationship Id="rId9" Type="http://schemas.openxmlformats.org/officeDocument/2006/relationships/chart" Target="../charts/chart4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256.xml"/><Relationship Id="rId1" Type="http://schemas.openxmlformats.org/officeDocument/2006/relationships/tags" Target="../tags/tag255.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59.xml"/><Relationship Id="rId1" Type="http://schemas.openxmlformats.org/officeDocument/2006/relationships/tags" Target="../tags/tag358.xml"/><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hyperlink" Target="https://www.ubs.com/global/en/wealth-management/chief-investment-office/country-disclaimer-gr.html" TargetMode="External"/><Relationship Id="rId5" Type="http://schemas.openxmlformats.org/officeDocument/2006/relationships/hyperlink" Target="https://www.ubs.com/global/en/wealthmanagement/chief-investment-office/our-investment-philosophy.html#methodology" TargetMode="External"/><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259.xml"/><Relationship Id="rId7" Type="http://schemas.openxmlformats.org/officeDocument/2006/relationships/slideLayout" Target="../slideLayouts/slideLayout28.xml"/><Relationship Id="rId12" Type="http://schemas.openxmlformats.org/officeDocument/2006/relationships/image" Target="../media/image8.emf"/><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tags" Target="../tags/tag262.xml"/><Relationship Id="rId11" Type="http://schemas.openxmlformats.org/officeDocument/2006/relationships/oleObject" Target="../embeddings/oleObject5.bin"/><Relationship Id="rId5" Type="http://schemas.openxmlformats.org/officeDocument/2006/relationships/tags" Target="../tags/tag261.xml"/><Relationship Id="rId10" Type="http://schemas.openxmlformats.org/officeDocument/2006/relationships/chart" Target="../charts/chart2.xml"/><Relationship Id="rId4" Type="http://schemas.openxmlformats.org/officeDocument/2006/relationships/tags" Target="../tags/tag260.xml"/><Relationship Id="rId9" Type="http://schemas.openxmlformats.org/officeDocument/2006/relationships/chart" Target="../charts/chart1.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chart" Target="../charts/chart4.xml"/><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chart" Target="../charts/chart3.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image" Target="../media/image8.emf"/><Relationship Id="rId5" Type="http://schemas.openxmlformats.org/officeDocument/2006/relationships/tags" Target="../tags/tag267.xml"/><Relationship Id="rId10" Type="http://schemas.openxmlformats.org/officeDocument/2006/relationships/oleObject" Target="../embeddings/oleObject6.bin"/><Relationship Id="rId4" Type="http://schemas.openxmlformats.org/officeDocument/2006/relationships/tags" Target="../tags/tag266.xml"/><Relationship Id="rId9" Type="http://schemas.openxmlformats.org/officeDocument/2006/relationships/notesSlide" Target="../notesSlides/notesSlide3.xml"/><Relationship Id="rId14" Type="http://schemas.openxmlformats.org/officeDocument/2006/relationships/chart" Target="../charts/chart5.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272.xml"/><Relationship Id="rId7" Type="http://schemas.openxmlformats.org/officeDocument/2006/relationships/slideLayout" Target="../slideLayouts/slideLayout28.xml"/><Relationship Id="rId12" Type="http://schemas.openxmlformats.org/officeDocument/2006/relationships/chart" Target="../charts/chart7.xml"/><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chart" Target="../charts/chart6.xml"/><Relationship Id="rId5" Type="http://schemas.openxmlformats.org/officeDocument/2006/relationships/tags" Target="../tags/tag274.xml"/><Relationship Id="rId10" Type="http://schemas.openxmlformats.org/officeDocument/2006/relationships/image" Target="../media/image8.emf"/><Relationship Id="rId4" Type="http://schemas.openxmlformats.org/officeDocument/2006/relationships/tags" Target="../tags/tag273.xml"/><Relationship Id="rId9"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oleObject" Target="../embeddings/oleObject6.bin"/><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chart" Target="../charts/chart10.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chart" Target="../charts/chart9.xml"/><Relationship Id="rId5" Type="http://schemas.openxmlformats.org/officeDocument/2006/relationships/tags" Target="../tags/tag280.xml"/><Relationship Id="rId10" Type="http://schemas.openxmlformats.org/officeDocument/2006/relationships/chart" Target="../charts/chart8.xml"/><Relationship Id="rId4" Type="http://schemas.openxmlformats.org/officeDocument/2006/relationships/tags" Target="../tags/tag279.xml"/><Relationship Id="rId9" Type="http://schemas.openxmlformats.org/officeDocument/2006/relationships/notesSlide" Target="../notesSlides/notesSlide5.xml"/><Relationship Id="rId14" Type="http://schemas.openxmlformats.org/officeDocument/2006/relationships/image" Target="../media/image8.emf"/></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83.xml"/><Relationship Id="rId7" Type="http://schemas.openxmlformats.org/officeDocument/2006/relationships/image" Target="../media/image9.png"/><Relationship Id="rId2" Type="http://schemas.openxmlformats.org/officeDocument/2006/relationships/customXml" Target="../../customXml/item24.xml"/><Relationship Id="rId1" Type="http://schemas.openxmlformats.org/officeDocument/2006/relationships/customXml" Target="../../customXml/item32.xml"/><Relationship Id="rId6" Type="http://schemas.openxmlformats.org/officeDocument/2006/relationships/slideLayout" Target="../slideLayouts/slideLayout29.xml"/><Relationship Id="rId5" Type="http://schemas.openxmlformats.org/officeDocument/2006/relationships/tags" Target="../tags/tag285.xml"/><Relationship Id="rId4" Type="http://schemas.openxmlformats.org/officeDocument/2006/relationships/tags" Target="../tags/tag284.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chart" Target="../charts/chart12.xml"/><Relationship Id="rId3" Type="http://schemas.openxmlformats.org/officeDocument/2006/relationships/tags" Target="../tags/tag288.xml"/><Relationship Id="rId7" Type="http://schemas.openxmlformats.org/officeDocument/2006/relationships/tags" Target="../tags/tag292.xml"/><Relationship Id="rId12" Type="http://schemas.openxmlformats.org/officeDocument/2006/relationships/chart" Target="../charts/chart11.xml"/><Relationship Id="rId2" Type="http://schemas.openxmlformats.org/officeDocument/2006/relationships/tags" Target="../tags/tag287.xml"/><Relationship Id="rId16" Type="http://schemas.openxmlformats.org/officeDocument/2006/relationships/chart" Target="../charts/chart14.xml"/><Relationship Id="rId1" Type="http://schemas.openxmlformats.org/officeDocument/2006/relationships/tags" Target="../tags/tag286.xml"/><Relationship Id="rId6" Type="http://schemas.openxmlformats.org/officeDocument/2006/relationships/tags" Target="../tags/tag291.xml"/><Relationship Id="rId11" Type="http://schemas.openxmlformats.org/officeDocument/2006/relationships/image" Target="../media/image8.emf"/><Relationship Id="rId5" Type="http://schemas.openxmlformats.org/officeDocument/2006/relationships/tags" Target="../tags/tag290.xml"/><Relationship Id="rId15" Type="http://schemas.openxmlformats.org/officeDocument/2006/relationships/chart" Target="../charts/chart13.xml"/><Relationship Id="rId10" Type="http://schemas.openxmlformats.org/officeDocument/2006/relationships/oleObject" Target="../embeddings/oleObject5.bin"/><Relationship Id="rId4" Type="http://schemas.openxmlformats.org/officeDocument/2006/relationships/tags" Target="../tags/tag289.xml"/><Relationship Id="rId9" Type="http://schemas.openxmlformats.org/officeDocument/2006/relationships/notesSlide" Target="../notesSlides/notesSlide6.xml"/><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chart" Target="../charts/chart16.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chart" Target="../charts/chart15.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image" Target="../media/image8.emf"/><Relationship Id="rId5" Type="http://schemas.openxmlformats.org/officeDocument/2006/relationships/tags" Target="../tags/tag297.xml"/><Relationship Id="rId10" Type="http://schemas.openxmlformats.org/officeDocument/2006/relationships/oleObject" Target="../embeddings/oleObject5.bin"/><Relationship Id="rId4" Type="http://schemas.openxmlformats.org/officeDocument/2006/relationships/tags" Target="../tags/tag296.xml"/><Relationship Id="rId9" Type="http://schemas.openxmlformats.org/officeDocument/2006/relationships/notesSlide" Target="../notesSlides/notesSlide7.xml"/><Relationship Id="rId14" Type="http://schemas.openxmlformats.org/officeDocument/2006/relationships/chart" Target="../charts/char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Keyline Title" descr="{&quot;Name&quot;:&quot;Keyline Title&quot;,&quot;Top&quot;:115.199921,&quot;Left&quot;:46.01252,&quot;Height&quot;:142.740479}">
            <a:extLst>
              <a:ext uri="{FF2B5EF4-FFF2-40B4-BE49-F238E27FC236}">
                <a16:creationId xmlns:a16="http://schemas.microsoft.com/office/drawing/2014/main" id="{C85C90CC-45FC-5A35-2B24-5031D510FDA8}"/>
              </a:ext>
            </a:extLst>
          </p:cNvPr>
          <p:cNvSpPr>
            <a:spLocks noGrp="1"/>
          </p:cNvSpPr>
          <p:nvPr>
            <p:ph type="title"/>
          </p:nvPr>
        </p:nvSpPr>
        <p:spPr>
          <a:xfrm>
            <a:off x="584359" y="1463038"/>
            <a:ext cx="6487200" cy="1812804"/>
          </a:xfrm>
        </p:spPr>
        <p:txBody>
          <a:bodyPr wrap="square" anchor="t">
            <a:noAutofit/>
          </a:bodyPr>
          <a:lstStyle/>
          <a:p>
            <a:r>
              <a:rPr lang="en-US" sz="4000"/>
              <a:t>February House View Update</a:t>
            </a:r>
            <a:endParaRPr lang="en-US" sz="4000" dirty="0"/>
          </a:p>
        </p:txBody>
      </p:sp>
      <p:sp>
        <p:nvSpPr>
          <p:cNvPr id="14" name="Infoline Title" descr="{&quot;Name&quot;:&quot;Infoline Title&quot;,&quot;Top&quot;:230.297241,&quot;Left&quot;:45.92126,&quot;Height&quot;:26.64567}">
            <a:extLst>
              <a:ext uri="{FF2B5EF4-FFF2-40B4-BE49-F238E27FC236}">
                <a16:creationId xmlns:a16="http://schemas.microsoft.com/office/drawing/2014/main" id="{3818950D-A464-C3FF-F008-CCC768204B57}"/>
              </a:ext>
            </a:extLst>
          </p:cNvPr>
          <p:cNvSpPr>
            <a:spLocks noGrp="1"/>
          </p:cNvSpPr>
          <p:nvPr>
            <p:ph type="body" sz="quarter" idx="29"/>
          </p:nvPr>
        </p:nvSpPr>
        <p:spPr>
          <a:xfrm>
            <a:off x="583200" y="2521789"/>
            <a:ext cx="6416640" cy="754053"/>
          </a:xfrm>
        </p:spPr>
        <p:txBody>
          <a:bodyPr>
            <a:noAutofit/>
          </a:bodyPr>
          <a:lstStyle/>
          <a:p>
            <a:pPr>
              <a:spcAft>
                <a:spcPts val="600"/>
              </a:spcAft>
            </a:pPr>
            <a:r>
              <a:rPr lang="en-US"/>
              <a:t>
Global Equities</a:t>
            </a:r>
          </a:p>
        </p:txBody>
      </p:sp>
      <p:sp>
        <p:nvSpPr>
          <p:cNvPr id="23" name="Text Placeholder 22">
            <a:extLst>
              <a:ext uri="{FF2B5EF4-FFF2-40B4-BE49-F238E27FC236}">
                <a16:creationId xmlns:a16="http://schemas.microsoft.com/office/drawing/2014/main" id="{C1DE2D62-4D61-D61E-E179-F4317E0A0F98}"/>
              </a:ext>
            </a:extLst>
          </p:cNvPr>
          <p:cNvSpPr>
            <a:spLocks noGrp="1"/>
          </p:cNvSpPr>
          <p:nvPr>
            <p:ph type="body" sz="quarter" idx="30"/>
          </p:nvPr>
        </p:nvSpPr>
        <p:spPr>
          <a:xfrm>
            <a:off x="547688" y="4280828"/>
            <a:ext cx="3851275" cy="252000"/>
          </a:xfrm>
        </p:spPr>
        <p:txBody>
          <a:bodyPr>
            <a:normAutofit lnSpcReduction="10000"/>
          </a:bodyPr>
          <a:lstStyle/>
          <a:p>
            <a:pPr>
              <a:lnSpc>
                <a:spcPct val="90000"/>
              </a:lnSpc>
              <a:spcAft>
                <a:spcPts val="600"/>
              </a:spcAft>
            </a:pPr>
            <a:r>
              <a:rPr lang="en-US"/>
              <a:t>Ulrike Hoffmann-Burchardi</a:t>
            </a:r>
            <a:endParaRPr lang="en-US" dirty="0"/>
          </a:p>
          <a:p>
            <a:pPr>
              <a:lnSpc>
                <a:spcPct val="90000"/>
              </a:lnSpc>
              <a:spcAft>
                <a:spcPts val="600"/>
              </a:spcAft>
            </a:pPr>
            <a:endParaRPr lang="en-US" sz="1200" dirty="0"/>
          </a:p>
        </p:txBody>
      </p:sp>
      <p:sp>
        <p:nvSpPr>
          <p:cNvPr id="32" name="Text Placeholder 31">
            <a:extLst>
              <a:ext uri="{FF2B5EF4-FFF2-40B4-BE49-F238E27FC236}">
                <a16:creationId xmlns:a16="http://schemas.microsoft.com/office/drawing/2014/main" id="{FDDBC814-5F47-2DAB-7DE3-14B2E92DDBE0}"/>
              </a:ext>
            </a:extLst>
          </p:cNvPr>
          <p:cNvSpPr>
            <a:spLocks noGrp="1"/>
          </p:cNvSpPr>
          <p:nvPr>
            <p:ph type="body" sz="quarter" idx="33"/>
          </p:nvPr>
        </p:nvSpPr>
        <p:spPr>
          <a:xfrm>
            <a:off x="547200" y="4532828"/>
            <a:ext cx="3851275" cy="252000"/>
          </a:xfrm>
        </p:spPr>
        <p:txBody>
          <a:bodyPr/>
          <a:lstStyle/>
          <a:p>
            <a:r>
              <a:rPr lang="en-US" sz="1400"/>
              <a:t>CIO Americas and Global Head of Equities</a:t>
            </a:r>
          </a:p>
          <a:p>
            <a:endParaRPr lang="en-US" dirty="0"/>
          </a:p>
        </p:txBody>
      </p:sp>
      <p:sp>
        <p:nvSpPr>
          <p:cNvPr id="13" name="Text Placeholder 12">
            <a:extLst>
              <a:ext uri="{FF2B5EF4-FFF2-40B4-BE49-F238E27FC236}">
                <a16:creationId xmlns:a16="http://schemas.microsoft.com/office/drawing/2014/main" id="{D3948341-50E3-A07E-1FC3-0B09285762CE}"/>
              </a:ext>
            </a:extLst>
          </p:cNvPr>
          <p:cNvSpPr>
            <a:spLocks noGrp="1"/>
          </p:cNvSpPr>
          <p:nvPr>
            <p:ph type="body" sz="quarter" idx="26"/>
          </p:nvPr>
        </p:nvSpPr>
        <p:spPr>
          <a:xfrm>
            <a:off x="548640" y="5036828"/>
            <a:ext cx="1371600" cy="137160"/>
          </a:xfrm>
        </p:spPr>
        <p:txBody>
          <a:bodyPr vert="horz" lIns="0" tIns="0" rIns="0" bIns="0" rtlCol="0" anchor="t">
            <a:noAutofit/>
          </a:bodyPr>
          <a:lstStyle/>
          <a:p>
            <a:pPr>
              <a:lnSpc>
                <a:spcPct val="90000"/>
              </a:lnSpc>
              <a:spcAft>
                <a:spcPts val="600"/>
              </a:spcAft>
            </a:pPr>
            <a:r>
              <a:rPr lang="en-US" sz="1400" dirty="0">
                <a:latin typeface="Frutiger 45 Light" panose="020B0603020202020204" pitchFamily="34" charset="0"/>
              </a:rPr>
              <a:t>2026 Outlook</a:t>
            </a:r>
          </a:p>
        </p:txBody>
      </p:sp>
      <p:sp>
        <p:nvSpPr>
          <p:cNvPr id="38" name="Text Placeholder 12">
            <a:extLst>
              <a:ext uri="{FF2B5EF4-FFF2-40B4-BE49-F238E27FC236}">
                <a16:creationId xmlns:a16="http://schemas.microsoft.com/office/drawing/2014/main" id="{84DEA5BA-54D6-B124-CA0D-07DAEF72E22C}"/>
              </a:ext>
            </a:extLst>
          </p:cNvPr>
          <p:cNvSpPr txBox="1">
            <a:spLocks/>
          </p:cNvSpPr>
          <p:nvPr/>
        </p:nvSpPr>
        <p:spPr>
          <a:xfrm>
            <a:off x="548639" y="6616216"/>
            <a:ext cx="4533606" cy="488299"/>
          </a:xfrm>
          <a:prstGeom prst="rect">
            <a:avLst/>
          </a:prstGeom>
        </p:spPr>
        <p:txBody>
          <a:bodyPr vert="horz" lIns="0" tIns="0" rIns="0" bIns="0" rtlCol="0">
            <a:noAutofit/>
          </a:bodyPr>
          <a:lstStyle>
            <a:lvl1pPr marL="0" marR="0" indent="0" algn="l" defTabSz="1005505" rtl="0" eaLnBrk="1" fontAlgn="auto" latinLnBrk="0" hangingPunct="1">
              <a:lnSpc>
                <a:spcPct val="100000"/>
              </a:lnSpc>
              <a:spcBef>
                <a:spcPts val="0"/>
              </a:spcBef>
              <a:spcAft>
                <a:spcPts val="0"/>
              </a:spcAft>
              <a:buClr>
                <a:schemeClr val="tx1"/>
              </a:buClr>
              <a:buSzPct val="75000"/>
              <a:buFont typeface="Wingdings 2" panose="05020102010507070707" pitchFamily="18" charset="2"/>
              <a:buNone/>
              <a:tabLst/>
              <a:defRPr lang="en-US" sz="1100" b="0" kern="0" baseline="0">
                <a:solidFill>
                  <a:schemeClr val="tx1"/>
                </a:solidFill>
                <a:latin typeface="+mn-lt"/>
                <a:ea typeface="+mn-ea"/>
                <a:cs typeface="+mn-cs"/>
              </a:defRPr>
            </a:lvl1pPr>
            <a:lvl2pPr marL="191520" marR="0" indent="0" algn="l" defTabSz="1005505" rtl="0" eaLnBrk="1" fontAlgn="auto" latinLnBrk="0" hangingPunct="1">
              <a:lnSpc>
                <a:spcPct val="100000"/>
              </a:lnSpc>
              <a:spcBef>
                <a:spcPts val="800"/>
              </a:spcBef>
              <a:spcAft>
                <a:spcPts val="0"/>
              </a:spcAft>
              <a:buClr>
                <a:schemeClr val="tx1"/>
              </a:buClr>
              <a:buSzTx/>
              <a:buFont typeface="Arial" panose="020B0604020202020204" pitchFamily="34" charset="0"/>
              <a:buNone/>
              <a:tabLst/>
              <a:defRPr lang="en-US" sz="1600" kern="0" baseline="0">
                <a:solidFill>
                  <a:schemeClr val="tx1"/>
                </a:solidFill>
                <a:latin typeface="+mn-lt"/>
                <a:ea typeface="+mn-ea"/>
                <a:cs typeface="+mn-cs"/>
              </a:defRPr>
            </a:lvl2pPr>
            <a:lvl3pPr marL="384048" marR="0" indent="0" algn="l" defTabSz="1005505" rtl="0" eaLnBrk="1" fontAlgn="auto" latinLnBrk="0" hangingPunct="1">
              <a:lnSpc>
                <a:spcPct val="100000"/>
              </a:lnSpc>
              <a:spcBef>
                <a:spcPts val="800"/>
              </a:spcBef>
              <a:spcAft>
                <a:spcPts val="0"/>
              </a:spcAft>
              <a:buClr>
                <a:schemeClr val="tx1"/>
              </a:buClr>
              <a:buSzTx/>
              <a:buFont typeface="Arial" panose="020B0604020202020204" pitchFamily="34" charset="0"/>
              <a:buNone/>
              <a:tabLst/>
              <a:defRPr lang="en-US" sz="1600" kern="0" baseline="0">
                <a:solidFill>
                  <a:schemeClr val="tx1"/>
                </a:solidFill>
                <a:latin typeface="+mn-lt"/>
                <a:ea typeface="+mn-ea"/>
                <a:cs typeface="+mn-cs"/>
              </a:defRPr>
            </a:lvl3pPr>
            <a:lvl4pPr marL="576389"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None/>
              <a:tabLst/>
              <a:defRPr lang="en-US" sz="1600" kern="0" baseline="0">
                <a:solidFill>
                  <a:schemeClr val="tx1"/>
                </a:solidFill>
                <a:latin typeface="+mn-lt"/>
                <a:ea typeface="+mn-ea"/>
                <a:cs typeface="+mn-cs"/>
              </a:defRPr>
            </a:lvl4pPr>
            <a:lvl5pPr marL="768413"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None/>
              <a:tabLst/>
              <a:defRPr lang="en-US" sz="1600" kern="0" baseline="0">
                <a:solidFill>
                  <a:schemeClr val="tx1"/>
                </a:solidFill>
                <a:latin typeface="+mn-lt"/>
                <a:ea typeface="+mn-ea"/>
                <a:cs typeface="+mn-cs"/>
              </a:defRPr>
            </a:lvl5pPr>
            <a:lvl6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ea typeface="+mn-ea"/>
                <a:cs typeface="+mn-cs"/>
              </a:defRPr>
            </a:lvl9pPr>
          </a:lstStyle>
          <a:p>
            <a:pPr marL="0" marR="0" lvl="0" indent="0" algn="l" defTabSz="1005505" rtl="0" eaLnBrk="1" fontAlgn="auto" latinLnBrk="0" hangingPunct="1">
              <a:lnSpc>
                <a:spcPct val="90000"/>
              </a:lnSpc>
              <a:spcBef>
                <a:spcPts val="0"/>
              </a:spcBef>
              <a:spcAft>
                <a:spcPts val="600"/>
              </a:spcAft>
              <a:buClr>
                <a:prstClr val="black"/>
              </a:buClr>
              <a:buSzPct val="75000"/>
              <a:buFont typeface="Wingdings 2" panose="05020102010507070707" pitchFamily="18" charset="2"/>
              <a:buNone/>
              <a:tabLst/>
              <a:defRPr/>
            </a:pPr>
            <a:r>
              <a:rPr kumimoji="0" lang="en-US" sz="1200" b="0" i="0" u="none" strike="noStrike" kern="0" cap="none" spc="0" normalizeH="0" baseline="0" noProof="0">
                <a:ln>
                  <a:noFill/>
                </a:ln>
                <a:solidFill>
                  <a:prstClr val="black"/>
                </a:solidFill>
                <a:effectLst/>
                <a:uLnTx/>
                <a:uFillTx/>
                <a:latin typeface="Frutiger 45 Light"/>
                <a:ea typeface="+mn-ea"/>
                <a:cs typeface="+mn-cs"/>
              </a:rPr>
              <a:t>This report has been prepared by UBS Financial Services Inc. (UBS FS). Please see required disclosures at the end of the document.</a:t>
            </a:r>
          </a:p>
        </p:txBody>
      </p:sp>
    </p:spTree>
    <p:custDataLst>
      <p:custData r:id="rId1"/>
      <p:custData r:id="rId2"/>
      <p:tags r:id="rId3"/>
    </p:custDataLst>
    <p:extLst>
      <p:ext uri="{BB962C8B-B14F-4D97-AF65-F5344CB8AC3E}">
        <p14:creationId xmlns:p14="http://schemas.microsoft.com/office/powerpoint/2010/main" val="938484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A9D74-91B0-F533-6D7C-C74D0BA3A79E}"/>
            </a:ext>
          </a:extLst>
        </p:cNvPr>
        <p:cNvGrpSpPr/>
        <p:nvPr/>
      </p:nvGrpSpPr>
      <p:grpSpPr>
        <a:xfrm>
          <a:off x="0" y="0"/>
          <a:ext cx="0" cy="0"/>
          <a:chOff x="0" y="0"/>
          <a:chExt cx="0" cy="0"/>
        </a:xfrm>
      </p:grpSpPr>
      <p:graphicFrame>
        <p:nvGraphicFramePr>
          <p:cNvPr id="30" name="Chart 29"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65481ADB-E4E1-9C45-8817-49296C78D644}"/>
              </a:ext>
            </a:extLst>
          </p:cNvPr>
          <p:cNvGraphicFramePr>
            <a:graphicFrameLocks/>
          </p:cNvGraphicFramePr>
          <p:nvPr>
            <p:extLst>
              <p:ext uri="{D42A27DB-BD31-4B8C-83A1-F6EECF244321}">
                <p14:modId xmlns:p14="http://schemas.microsoft.com/office/powerpoint/2010/main" val="2386450751"/>
              </p:ext>
            </p:extLst>
          </p:nvPr>
        </p:nvGraphicFramePr>
        <p:xfrm>
          <a:off x="4780995" y="2591480"/>
          <a:ext cx="3657308" cy="388551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9" name="Chart 28"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985DF604-B4F8-8395-5B7E-DFE84413DF84}"/>
              </a:ext>
            </a:extLst>
          </p:cNvPr>
          <p:cNvGraphicFramePr>
            <a:graphicFrameLocks/>
          </p:cNvGraphicFramePr>
          <p:nvPr>
            <p:extLst>
              <p:ext uri="{D42A27DB-BD31-4B8C-83A1-F6EECF244321}">
                <p14:modId xmlns:p14="http://schemas.microsoft.com/office/powerpoint/2010/main" val="3439932011"/>
              </p:ext>
            </p:extLst>
          </p:nvPr>
        </p:nvGraphicFramePr>
        <p:xfrm>
          <a:off x="585426" y="2580177"/>
          <a:ext cx="3657308" cy="4153998"/>
        </p:xfrm>
        <a:graphic>
          <a:graphicData uri="http://schemas.openxmlformats.org/drawingml/2006/chart">
            <c:chart xmlns:c="http://schemas.openxmlformats.org/drawingml/2006/chart" xmlns:r="http://schemas.openxmlformats.org/officeDocument/2006/relationships" r:id="rId11"/>
          </a:graphicData>
        </a:graphic>
      </p:graphicFrame>
      <p:grpSp>
        <p:nvGrpSpPr>
          <p:cNvPr id="8" name="Group 7">
            <a:extLst>
              <a:ext uri="{FF2B5EF4-FFF2-40B4-BE49-F238E27FC236}">
                <a16:creationId xmlns:a16="http://schemas.microsoft.com/office/drawing/2014/main" id="{8D832A56-11F9-3726-D9EF-9F6AFEA1B052}"/>
              </a:ext>
            </a:extLst>
          </p:cNvPr>
          <p:cNvGrpSpPr/>
          <p:nvPr/>
        </p:nvGrpSpPr>
        <p:grpSpPr>
          <a:xfrm>
            <a:off x="9161782" y="2683221"/>
            <a:ext cx="3657308" cy="4041429"/>
            <a:chOff x="579379" y="2536516"/>
            <a:chExt cx="5937188" cy="3749708"/>
          </a:xfrm>
        </p:grpSpPr>
        <p:graphicFrame>
          <p:nvGraphicFramePr>
            <p:cNvPr id="11" name="Chart 10">
              <a:extLst>
                <a:ext uri="{FF2B5EF4-FFF2-40B4-BE49-F238E27FC236}">
                  <a16:creationId xmlns:a16="http://schemas.microsoft.com/office/drawing/2014/main" id="{1BE8D3C3-DBCD-22C4-0C76-7352FB89E2AF}"/>
                </a:ext>
              </a:extLst>
            </p:cNvPr>
            <p:cNvGraphicFramePr>
              <a:graphicFrameLocks/>
            </p:cNvGraphicFramePr>
            <p:nvPr>
              <p:extLst>
                <p:ext uri="{D42A27DB-BD31-4B8C-83A1-F6EECF244321}">
                  <p14:modId xmlns:p14="http://schemas.microsoft.com/office/powerpoint/2010/main" val="52417943"/>
                </p:ext>
              </p:extLst>
            </p:nvPr>
          </p:nvGraphicFramePr>
          <p:xfrm>
            <a:off x="579379" y="2536516"/>
            <a:ext cx="5937188" cy="3749708"/>
          </p:xfrm>
          <a:graphic>
            <a:graphicData uri="http://schemas.openxmlformats.org/drawingml/2006/chart">
              <c:chart xmlns:c="http://schemas.openxmlformats.org/drawingml/2006/chart" xmlns:r="http://schemas.openxmlformats.org/officeDocument/2006/relationships" r:id="rId12"/>
            </a:graphicData>
          </a:graphic>
        </p:graphicFrame>
        <p:cxnSp>
          <p:nvCxnSpPr>
            <p:cNvPr id="12" name="Straight Connector 11">
              <a:extLst>
                <a:ext uri="{FF2B5EF4-FFF2-40B4-BE49-F238E27FC236}">
                  <a16:creationId xmlns:a16="http://schemas.microsoft.com/office/drawing/2014/main" id="{74BC4081-14DB-D3DC-C79D-D4884F84A853}"/>
                </a:ext>
              </a:extLst>
            </p:cNvPr>
            <p:cNvCxnSpPr>
              <a:cxnSpLocks/>
            </p:cNvCxnSpPr>
            <p:nvPr/>
          </p:nvCxnSpPr>
          <p:spPr>
            <a:xfrm>
              <a:off x="1219259" y="4502821"/>
              <a:ext cx="237706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641BAF5-7A2C-EA1B-454C-17E250E4475C}"/>
                </a:ext>
              </a:extLst>
            </p:cNvPr>
            <p:cNvCxnSpPr>
              <a:cxnSpLocks/>
            </p:cNvCxnSpPr>
            <p:nvPr/>
          </p:nvCxnSpPr>
          <p:spPr>
            <a:xfrm>
              <a:off x="3972217" y="3771900"/>
              <a:ext cx="237706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4AB948E-2F82-95FF-CB58-7C01580C5407}"/>
                </a:ext>
              </a:extLst>
            </p:cNvPr>
            <p:cNvSpPr txBox="1"/>
            <p:nvPr/>
          </p:nvSpPr>
          <p:spPr>
            <a:xfrm>
              <a:off x="1198213" y="3311232"/>
              <a:ext cx="2155172" cy="373336"/>
            </a:xfrm>
            <a:prstGeom prst="rect">
              <a:avLst/>
            </a:prstGeom>
            <a:noFill/>
          </p:spPr>
          <p:txBody>
            <a:bodyPr wrap="none" lIns="0" tIns="0" rIns="0" bIns="0" rtlCol="0">
              <a:noAutofit/>
            </a:bodyPr>
            <a:lstStyle/>
            <a:p>
              <a:pPr algn="ctr"/>
              <a:r>
                <a:rPr lang="en-US" sz="1200" b="1">
                  <a:solidFill>
                    <a:schemeClr val="tx1">
                      <a:lumMod val="65000"/>
                      <a:lumOff val="35000"/>
                    </a:schemeClr>
                  </a:solidFill>
                  <a:latin typeface="+mn-lt"/>
                </a:rPr>
                <a:t>2006-15: </a:t>
              </a:r>
            </a:p>
            <a:p>
              <a:pPr algn="ctr"/>
              <a:r>
                <a:rPr lang="en-US" sz="1200" b="1">
                  <a:solidFill>
                    <a:schemeClr val="tx1">
                      <a:lumMod val="65000"/>
                      <a:lumOff val="35000"/>
                    </a:schemeClr>
                  </a:solidFill>
                  <a:latin typeface="+mn-lt"/>
                </a:rPr>
                <a:t>Avg. 29 approvals</a:t>
              </a:r>
              <a:endParaRPr lang="en-US" sz="1200" b="1" dirty="0">
                <a:solidFill>
                  <a:schemeClr val="tx1">
                    <a:lumMod val="65000"/>
                    <a:lumOff val="35000"/>
                  </a:schemeClr>
                </a:solidFill>
                <a:latin typeface="+mn-lt"/>
              </a:endParaRPr>
            </a:p>
          </p:txBody>
        </p:sp>
      </p:grpSp>
      <p:graphicFrame>
        <p:nvGraphicFramePr>
          <p:cNvPr id="19" name="think-cell data - do not delete" hidden="1">
            <a:extLst>
              <a:ext uri="{FF2B5EF4-FFF2-40B4-BE49-F238E27FC236}">
                <a16:creationId xmlns:a16="http://schemas.microsoft.com/office/drawing/2014/main" id="{C6668B81-2076-C76C-1C36-0971A5505C36}"/>
              </a:ext>
            </a:extLst>
          </p:cNvPr>
          <p:cNvGraphicFramePr>
            <a:graphicFrameLocks noChangeAspect="1"/>
          </p:cNvGraphicFramePr>
          <p:nvPr>
            <p:custDataLst>
              <p:tags r:id="rId2"/>
            </p:custDataLst>
          </p:nvPr>
        </p:nvGraphicFramePr>
        <p:xfrm>
          <a:off x="4760" y="5158"/>
          <a:ext cx="1587" cy="1587"/>
        </p:xfrm>
        <a:graphic>
          <a:graphicData uri="http://schemas.openxmlformats.org/presentationml/2006/ole">
            <mc:AlternateContent xmlns:mc="http://schemas.openxmlformats.org/markup-compatibility/2006">
              <mc:Choice xmlns:v="urn:schemas-microsoft-com:vml" Requires="v">
                <p:oleObj name="think-cell Slide" r:id="rId13" imgW="361" imgH="373" progId="TCLayout.ActiveDocument.1">
                  <p:embed/>
                </p:oleObj>
              </mc:Choice>
              <mc:Fallback>
                <p:oleObj name="think-cell Slide" r:id="rId13" imgW="361" imgH="373" progId="TCLayout.ActiveDocument.1">
                  <p:embed/>
                  <p:pic>
                    <p:nvPicPr>
                      <p:cNvPr id="19" name="think-cell data - do not delete" hidden="1">
                        <a:extLst>
                          <a:ext uri="{FF2B5EF4-FFF2-40B4-BE49-F238E27FC236}">
                            <a16:creationId xmlns:a16="http://schemas.microsoft.com/office/drawing/2014/main" id="{C6668B81-2076-C76C-1C36-0971A5505C36}"/>
                          </a:ext>
                        </a:extLst>
                      </p:cNvPr>
                      <p:cNvPicPr/>
                      <p:nvPr/>
                    </p:nvPicPr>
                    <p:blipFill>
                      <a:blip r:embed="rId14"/>
                      <a:stretch>
                        <a:fillRect/>
                      </a:stretch>
                    </p:blipFill>
                    <p:spPr>
                      <a:xfrm>
                        <a:off x="4760" y="5158"/>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4DD0DBB8-EE4F-4C19-8C3D-54F7E1393E13}"/>
              </a:ext>
            </a:extLst>
          </p:cNvPr>
          <p:cNvSpPr>
            <a:spLocks noGrp="1"/>
          </p:cNvSpPr>
          <p:nvPr>
            <p:ph type="title"/>
            <p:custDataLst>
              <p:tags r:id="rId3"/>
            </p:custDataLst>
          </p:nvPr>
        </p:nvSpPr>
        <p:spPr>
          <a:xfrm>
            <a:off x="585426" y="3572"/>
            <a:ext cx="12232225" cy="940940"/>
          </a:xfrm>
        </p:spPr>
        <p:txBody>
          <a:bodyPr vert="horz">
            <a:normAutofit/>
          </a:bodyPr>
          <a:lstStyle/>
          <a:p>
            <a:pPr>
              <a:lnSpc>
                <a:spcPct val="107000"/>
              </a:lnSpc>
              <a:spcBef>
                <a:spcPts val="0"/>
              </a:spcBef>
            </a:pPr>
            <a:r>
              <a:rPr lang="en-US" spc="-70">
                <a:solidFill>
                  <a:srgbClr val="E60000"/>
                </a:solidFill>
              </a:rPr>
              <a:t>US:</a:t>
            </a:r>
            <a:r>
              <a:rPr lang="en-US" spc="-70"/>
              <a:t> Underpinned by structural tailwinds</a:t>
            </a:r>
            <a:endParaRPr lang="en-GB" spc="-49"/>
          </a:p>
        </p:txBody>
      </p:sp>
      <p:sp>
        <p:nvSpPr>
          <p:cNvPr id="3" name="TextBox 2">
            <a:extLst>
              <a:ext uri="{FF2B5EF4-FFF2-40B4-BE49-F238E27FC236}">
                <a16:creationId xmlns:a16="http://schemas.microsoft.com/office/drawing/2014/main" id="{6DA69D3D-1D6B-26C8-B1E6-727DD3C7EACB}"/>
              </a:ext>
            </a:extLst>
          </p:cNvPr>
          <p:cNvSpPr txBox="1"/>
          <p:nvPr>
            <p:custDataLst>
              <p:tags r:id="rId4"/>
            </p:custDataLst>
          </p:nvPr>
        </p:nvSpPr>
        <p:spPr>
          <a:xfrm>
            <a:off x="1869967" y="6814891"/>
            <a:ext cx="10654287" cy="483122"/>
          </a:xfrm>
          <a:prstGeom prst="rect">
            <a:avLst/>
          </a:prstGeom>
          <a:noFill/>
        </p:spPr>
        <p:txBody>
          <a:bodyPr vert="horz" wrap="square" lIns="0" tIns="0" rIns="0" bIns="0" rtlCol="0" anchor="b" anchorCtr="0">
            <a:noAutofit/>
          </a:bodyPr>
          <a:lstStyle/>
          <a:p>
            <a:pPr algn="r" defTabSz="913993">
              <a:spcAft>
                <a:spcPts val="599"/>
              </a:spcAft>
            </a:pPr>
            <a:r>
              <a:rPr lang="en-US" sz="799" kern="0">
                <a:solidFill>
                  <a:prstClr val="black"/>
                </a:solidFill>
                <a:latin typeface="Frutiger 45 Light" panose="020B0603020202020204" pitchFamily="34" charset="0"/>
              </a:rPr>
              <a:t>Source: Factset, US EIA, FDA, UBS, as of February 2026</a:t>
            </a:r>
            <a:br>
              <a:rPr lang="en-US" sz="799" kern="0">
                <a:solidFill>
                  <a:prstClr val="black"/>
                </a:solidFill>
                <a:latin typeface="Frutiger 45 Light" panose="020B0603020202020204" pitchFamily="34" charset="0"/>
              </a:rPr>
            </a:br>
            <a:r>
              <a:rPr lang="en-US" sz="799" kern="0">
                <a:solidFill>
                  <a:prstClr val="black"/>
                </a:solidFill>
                <a:latin typeface="Frutiger 45 Light" panose="020B0603020202020204" pitchFamily="34" charset="0"/>
              </a:rPr>
              <a:t>Charts and scenarios are for illustrative purposes only. Historical performance and forecasts are no guarantee for future performance.</a:t>
            </a:r>
            <a:br>
              <a:rPr lang="en-US" sz="799" kern="0">
                <a:solidFill>
                  <a:prstClr val="black"/>
                </a:solidFill>
                <a:latin typeface="Frutiger 45 Light" panose="020B0603020202020204" pitchFamily="34" charset="0"/>
              </a:rPr>
            </a:br>
            <a:r>
              <a:rPr lang="en-US" sz="799" kern="0">
                <a:solidFill>
                  <a:prstClr val="black"/>
                </a:solidFill>
                <a:latin typeface="Frutiger 45 Light" panose="020B0603020202020204" pitchFamily="34" charset="0"/>
              </a:rPr>
              <a:t>Please see important disclaimer at the end of the document.</a:t>
            </a:r>
            <a:endParaRPr lang="en-US" sz="799" kern="0" dirty="0">
              <a:solidFill>
                <a:prstClr val="black"/>
              </a:solidFill>
              <a:latin typeface="Frutiger 45 Light" panose="020B0603020202020204" pitchFamily="34" charset="0"/>
            </a:endParaRPr>
          </a:p>
        </p:txBody>
      </p:sp>
      <p:sp>
        <p:nvSpPr>
          <p:cNvPr id="7" name="TextBox 6">
            <a:extLst>
              <a:ext uri="{FF2B5EF4-FFF2-40B4-BE49-F238E27FC236}">
                <a16:creationId xmlns:a16="http://schemas.microsoft.com/office/drawing/2014/main" id="{21F345F3-6465-55F4-A1FF-2BFDA62404D9}"/>
              </a:ext>
            </a:extLst>
          </p:cNvPr>
          <p:cNvSpPr txBox="1">
            <a:spLocks/>
          </p:cNvSpPr>
          <p:nvPr>
            <p:custDataLst>
              <p:tags r:id="rId5"/>
            </p:custDataLst>
          </p:nvPr>
        </p:nvSpPr>
        <p:spPr>
          <a:xfrm>
            <a:off x="4873603" y="1411176"/>
            <a:ext cx="3654137" cy="365414"/>
          </a:xfrm>
          <a:prstGeom prst="rect">
            <a:avLst/>
          </a:prstGeom>
          <a:noFill/>
        </p:spPr>
        <p:txBody>
          <a:bodyPr vert="horz" wrap="square" lIns="0" tIns="0" rIns="0" bIns="0" rtlCol="0" anchor="t">
            <a:noAutofit/>
          </a:bodyPr>
          <a:lstStyle/>
          <a:p>
            <a:pPr defTabSz="913993">
              <a:spcAft>
                <a:spcPts val="599"/>
              </a:spcAft>
            </a:pPr>
            <a:r>
              <a:rPr lang="en-US" sz="1399" b="1">
                <a:solidFill>
                  <a:srgbClr val="E60000"/>
                </a:solidFill>
              </a:rPr>
              <a:t>Power and resources: </a:t>
            </a:r>
            <a:r>
              <a:rPr lang="en-US" sz="1399" b="1">
                <a:solidFill>
                  <a:srgbClr val="000000"/>
                </a:solidFill>
              </a:rPr>
              <a:t>Power demand is accelerating</a:t>
            </a:r>
          </a:p>
          <a:p>
            <a:pPr defTabSz="913993">
              <a:spcAft>
                <a:spcPts val="599"/>
              </a:spcAft>
            </a:pPr>
            <a:r>
              <a:rPr lang="en-US" sz="1400">
                <a:solidFill>
                  <a:prstClr val="black"/>
                </a:solidFill>
              </a:rPr>
              <a:t>Total US electricity supply. In TWh</a:t>
            </a:r>
          </a:p>
        </p:txBody>
      </p:sp>
      <p:sp>
        <p:nvSpPr>
          <p:cNvPr id="9" name="TextBox 8">
            <a:extLst>
              <a:ext uri="{FF2B5EF4-FFF2-40B4-BE49-F238E27FC236}">
                <a16:creationId xmlns:a16="http://schemas.microsoft.com/office/drawing/2014/main" id="{052BBCD5-16A9-2786-FF2E-E9ABB94493FF}"/>
              </a:ext>
            </a:extLst>
          </p:cNvPr>
          <p:cNvSpPr txBox="1">
            <a:spLocks/>
          </p:cNvSpPr>
          <p:nvPr>
            <p:custDataLst>
              <p:tags r:id="rId6"/>
            </p:custDataLst>
          </p:nvPr>
        </p:nvSpPr>
        <p:spPr>
          <a:xfrm>
            <a:off x="9164679" y="1411176"/>
            <a:ext cx="3654137" cy="365414"/>
          </a:xfrm>
          <a:prstGeom prst="rect">
            <a:avLst/>
          </a:prstGeom>
          <a:noFill/>
        </p:spPr>
        <p:txBody>
          <a:bodyPr vert="horz" wrap="square" lIns="0" tIns="0" rIns="0" bIns="0" rtlCol="0" anchor="t">
            <a:noAutofit/>
          </a:bodyPr>
          <a:lstStyle/>
          <a:p>
            <a:pPr defTabSz="913993">
              <a:spcAft>
                <a:spcPts val="599"/>
              </a:spcAft>
            </a:pPr>
            <a:r>
              <a:rPr lang="en-US" sz="1400" b="1">
                <a:solidFill>
                  <a:srgbClr val="E60000"/>
                </a:solidFill>
              </a:rPr>
              <a:t>Longevity: </a:t>
            </a:r>
            <a:r>
              <a:rPr lang="en-US" sz="1400" b="1" kern="0">
                <a:solidFill>
                  <a:prstClr val="black">
                    <a:lumMod val="95000"/>
                    <a:lumOff val="5000"/>
                  </a:prstClr>
                </a:solidFill>
              </a:rPr>
              <a:t>Pharma innovation has advanced over the past decade</a:t>
            </a:r>
            <a:endParaRPr lang="en-US" sz="1400" b="1" kern="0">
              <a:solidFill>
                <a:prstClr val="black"/>
              </a:solidFill>
            </a:endParaRPr>
          </a:p>
          <a:p>
            <a:pPr defTabSz="913993">
              <a:spcAft>
                <a:spcPts val="599"/>
              </a:spcAft>
            </a:pPr>
            <a:r>
              <a:rPr lang="en-US" sz="1400" kern="0">
                <a:solidFill>
                  <a:prstClr val="black"/>
                </a:solidFill>
              </a:rPr>
              <a:t>New FDA drug approvals</a:t>
            </a:r>
            <a:endParaRPr lang="en-US" sz="1400">
              <a:solidFill>
                <a:prstClr val="black"/>
              </a:solidFill>
            </a:endParaRPr>
          </a:p>
        </p:txBody>
      </p:sp>
      <p:sp>
        <p:nvSpPr>
          <p:cNvPr id="10" name="TextBox 9">
            <a:extLst>
              <a:ext uri="{FF2B5EF4-FFF2-40B4-BE49-F238E27FC236}">
                <a16:creationId xmlns:a16="http://schemas.microsoft.com/office/drawing/2014/main" id="{D793C223-6523-5542-4984-EDD3382844F3}"/>
              </a:ext>
            </a:extLst>
          </p:cNvPr>
          <p:cNvSpPr txBox="1"/>
          <p:nvPr>
            <p:custDataLst>
              <p:tags r:id="rId7"/>
            </p:custDataLst>
          </p:nvPr>
        </p:nvSpPr>
        <p:spPr>
          <a:xfrm>
            <a:off x="585425" y="1421811"/>
            <a:ext cx="3654137" cy="365414"/>
          </a:xfrm>
          <a:prstGeom prst="rect">
            <a:avLst/>
          </a:prstGeom>
          <a:noFill/>
        </p:spPr>
        <p:txBody>
          <a:bodyPr vert="horz" wrap="square" lIns="0" tIns="0" rIns="0" bIns="0" rtlCol="0" anchor="t">
            <a:noAutofit/>
          </a:bodyPr>
          <a:lstStyle/>
          <a:p>
            <a:pPr defTabSz="913993">
              <a:spcAft>
                <a:spcPts val="599"/>
              </a:spcAft>
            </a:pPr>
            <a:r>
              <a:rPr lang="en-US" sz="1319" b="1" dirty="0">
                <a:solidFill>
                  <a:srgbClr val="E60000"/>
                </a:solidFill>
              </a:rPr>
              <a:t>AI: </a:t>
            </a:r>
            <a:r>
              <a:rPr lang="en-US" sz="1319" b="1" dirty="0">
                <a:solidFill>
                  <a:prstClr val="black"/>
                </a:solidFill>
              </a:rPr>
              <a:t>Mag7 still outgrow the rest of the market</a:t>
            </a:r>
          </a:p>
          <a:p>
            <a:pPr defTabSz="913993">
              <a:spcAft>
                <a:spcPts val="599"/>
              </a:spcAft>
            </a:pPr>
            <a:r>
              <a:rPr lang="en-US" sz="1319" dirty="0">
                <a:solidFill>
                  <a:prstClr val="black"/>
                </a:solidFill>
              </a:rPr>
              <a:t>Y/Y % change in earnings for Mag. 7 vs. Other 493 S&amp;P 500 companies (actuals and consensus)</a:t>
            </a:r>
          </a:p>
          <a:p>
            <a:pPr defTabSz="913993">
              <a:spcAft>
                <a:spcPts val="599"/>
              </a:spcAft>
            </a:pPr>
            <a:endParaRPr lang="en-US" sz="1400" dirty="0">
              <a:solidFill>
                <a:prstClr val="black"/>
              </a:solidFill>
            </a:endParaRPr>
          </a:p>
        </p:txBody>
      </p:sp>
      <p:grpSp>
        <p:nvGrpSpPr>
          <p:cNvPr id="31" name="Group 30">
            <a:extLst>
              <a:ext uri="{FF2B5EF4-FFF2-40B4-BE49-F238E27FC236}">
                <a16:creationId xmlns:a16="http://schemas.microsoft.com/office/drawing/2014/main" id="{5CA34409-B09B-BD50-D7DC-CC684FE87AC9}"/>
              </a:ext>
            </a:extLst>
          </p:cNvPr>
          <p:cNvGrpSpPr/>
          <p:nvPr/>
        </p:nvGrpSpPr>
        <p:grpSpPr>
          <a:xfrm>
            <a:off x="12351610" y="245550"/>
            <a:ext cx="803731" cy="1075397"/>
            <a:chOff x="11234055" y="221708"/>
            <a:chExt cx="731011" cy="978097"/>
          </a:xfrm>
        </p:grpSpPr>
        <p:sp>
          <p:nvSpPr>
            <p:cNvPr id="32" name="TextBox 31">
              <a:extLst>
                <a:ext uri="{FF2B5EF4-FFF2-40B4-BE49-F238E27FC236}">
                  <a16:creationId xmlns:a16="http://schemas.microsoft.com/office/drawing/2014/main" id="{013FD9EF-53CA-FB67-43D6-06B4444E4BFD}"/>
                </a:ext>
              </a:extLst>
            </p:cNvPr>
            <p:cNvSpPr txBox="1"/>
            <p:nvPr/>
          </p:nvSpPr>
          <p:spPr>
            <a:xfrm>
              <a:off x="11234055" y="836130"/>
              <a:ext cx="731011" cy="363675"/>
            </a:xfrm>
            <a:prstGeom prst="rect">
              <a:avLst/>
            </a:prstGeom>
            <a:noFill/>
          </p:spPr>
          <p:txBody>
            <a:bodyPr wrap="square">
              <a:spAutoFit/>
            </a:bodyPr>
            <a:lstStyle/>
            <a:p>
              <a:pPr algn="ctr" defTabSz="913993">
                <a:defRPr/>
              </a:pPr>
              <a:r>
                <a:rPr lang="en-US" sz="999">
                  <a:solidFill>
                    <a:prstClr val="black"/>
                  </a:solidFill>
                </a:rPr>
                <a:t>Innovation TRIOs</a:t>
              </a:r>
            </a:p>
          </p:txBody>
        </p:sp>
        <p:grpSp>
          <p:nvGrpSpPr>
            <p:cNvPr id="33" name="Group 32">
              <a:extLst>
                <a:ext uri="{FF2B5EF4-FFF2-40B4-BE49-F238E27FC236}">
                  <a16:creationId xmlns:a16="http://schemas.microsoft.com/office/drawing/2014/main" id="{BDA1076F-F3D3-3586-50C7-FA59DEDDB4AA}"/>
                </a:ext>
              </a:extLst>
            </p:cNvPr>
            <p:cNvGrpSpPr>
              <a:grpSpLocks/>
            </p:cNvGrpSpPr>
            <p:nvPr/>
          </p:nvGrpSpPr>
          <p:grpSpPr bwMode="auto">
            <a:xfrm>
              <a:off x="11308529" y="221708"/>
              <a:ext cx="615373" cy="614927"/>
              <a:chOff x="3955" y="2484"/>
              <a:chExt cx="1814" cy="1813"/>
            </a:xfrm>
            <a:solidFill>
              <a:srgbClr val="BEBEBE"/>
            </a:solidFill>
          </p:grpSpPr>
          <p:sp>
            <p:nvSpPr>
              <p:cNvPr id="34" name="Freeform 17">
                <a:extLst>
                  <a:ext uri="{FF2B5EF4-FFF2-40B4-BE49-F238E27FC236}">
                    <a16:creationId xmlns:a16="http://schemas.microsoft.com/office/drawing/2014/main" id="{61792123-6DB8-905F-E405-B83AB074C6DA}"/>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799"/>
              </a:p>
            </p:txBody>
          </p:sp>
          <p:sp>
            <p:nvSpPr>
              <p:cNvPr id="35" name="Freeform 18">
                <a:extLst>
                  <a:ext uri="{FF2B5EF4-FFF2-40B4-BE49-F238E27FC236}">
                    <a16:creationId xmlns:a16="http://schemas.microsoft.com/office/drawing/2014/main" id="{CD2E013A-5887-31FE-8F37-D7F6A96AEE2A}"/>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E60000"/>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36" name="Freeform 19">
                <a:extLst>
                  <a:ext uri="{FF2B5EF4-FFF2-40B4-BE49-F238E27FC236}">
                    <a16:creationId xmlns:a16="http://schemas.microsoft.com/office/drawing/2014/main" id="{B20342D0-E34A-6ED1-38C7-F594701740C6}"/>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grpSp>
    </p:spTree>
    <p:custDataLst>
      <p:tags r:id="rId1"/>
    </p:custDataLst>
    <p:extLst>
      <p:ext uri="{BB962C8B-B14F-4D97-AF65-F5344CB8AC3E}">
        <p14:creationId xmlns:p14="http://schemas.microsoft.com/office/powerpoint/2010/main" val="2307884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3DDFD-4EFF-33B4-9460-CAA6831BB1E4}"/>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55EEF96-364A-BBD7-9F1B-4962D5BCB585}"/>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10" imgW="361" imgH="373" progId="TCLayout.ActiveDocument.1">
                  <p:embed/>
                </p:oleObj>
              </mc:Choice>
              <mc:Fallback>
                <p:oleObj name="think-cell Slide" r:id="rId10" imgW="361" imgH="373" progId="TCLayout.ActiveDocument.1">
                  <p:embed/>
                  <p:pic>
                    <p:nvPicPr>
                      <p:cNvPr id="19" name="think-cell data - do not delete" hidden="1">
                        <a:extLst>
                          <a:ext uri="{FF2B5EF4-FFF2-40B4-BE49-F238E27FC236}">
                            <a16:creationId xmlns:a16="http://schemas.microsoft.com/office/drawing/2014/main" id="{A55EEF96-364A-BBD7-9F1B-4962D5BCB585}"/>
                          </a:ext>
                        </a:extLst>
                      </p:cNvPr>
                      <p:cNvPicPr/>
                      <p:nvPr/>
                    </p:nvPicPr>
                    <p:blipFill>
                      <a:blip r:embed="rId11"/>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425F1A10-7A28-2CA6-41F2-EBF4D9815908}"/>
              </a:ext>
            </a:extLst>
          </p:cNvPr>
          <p:cNvSpPr>
            <a:spLocks noGrp="1"/>
          </p:cNvSpPr>
          <p:nvPr>
            <p:ph type="title"/>
            <p:custDataLst>
              <p:tags r:id="rId3"/>
            </p:custDataLst>
          </p:nvPr>
        </p:nvSpPr>
        <p:spPr>
          <a:xfrm>
            <a:off x="582528" y="1786"/>
            <a:ext cx="12238019" cy="941386"/>
          </a:xfrm>
        </p:spPr>
        <p:txBody>
          <a:bodyPr vert="horz">
            <a:normAutofit/>
          </a:bodyPr>
          <a:lstStyle/>
          <a:p>
            <a:pPr>
              <a:lnSpc>
                <a:spcPct val="107000"/>
              </a:lnSpc>
              <a:spcBef>
                <a:spcPts val="0"/>
              </a:spcBef>
            </a:pPr>
            <a:r>
              <a:rPr lang="en-US">
                <a:solidFill>
                  <a:srgbClr val="E60000"/>
                </a:solidFill>
              </a:rPr>
              <a:t>US sectors: </a:t>
            </a:r>
            <a:r>
              <a:rPr lang="en-US"/>
              <a:t>Selective across cyclicals and defensives</a:t>
            </a:r>
            <a:endParaRPr lang="en-GB" spc="-50"/>
          </a:p>
        </p:txBody>
      </p:sp>
      <p:sp>
        <p:nvSpPr>
          <p:cNvPr id="3" name="TextBox 2">
            <a:extLst>
              <a:ext uri="{FF2B5EF4-FFF2-40B4-BE49-F238E27FC236}">
                <a16:creationId xmlns:a16="http://schemas.microsoft.com/office/drawing/2014/main" id="{D922FDD6-4878-BE0C-329E-C3CEA576E7B6}"/>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FactSet, Bloomberg, UBS, as of 23 January 2026</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7" name="TextBox 6">
            <a:extLst>
              <a:ext uri="{FF2B5EF4-FFF2-40B4-BE49-F238E27FC236}">
                <a16:creationId xmlns:a16="http://schemas.microsoft.com/office/drawing/2014/main" id="{112ECAB9-DEE7-690D-2D9F-02A41B1498C0}"/>
              </a:ext>
            </a:extLst>
          </p:cNvPr>
          <p:cNvSpPr txBox="1"/>
          <p:nvPr>
            <p:custDataLst>
              <p:tags r:id="rId5"/>
            </p:custDataLst>
          </p:nvPr>
        </p:nvSpPr>
        <p:spPr>
          <a:xfrm>
            <a:off x="582528"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a:solidFill>
                  <a:srgbClr val="E60000"/>
                </a:solidFill>
              </a:rPr>
              <a:t>Banks: </a:t>
            </a:r>
            <a:r>
              <a:rPr lang="en-US" sz="1399" b="1"/>
              <a:t>Earnings drivers look poised to improve</a:t>
            </a:r>
            <a:endParaRPr lang="en-US" sz="1399" b="1">
              <a:solidFill>
                <a:srgbClr val="000000"/>
              </a:solidFill>
            </a:endParaRPr>
          </a:p>
          <a:p>
            <a:pPr eaLnBrk="1">
              <a:spcBef>
                <a:spcPts val="0"/>
              </a:spcBef>
              <a:spcAft>
                <a:spcPts val="600"/>
              </a:spcAft>
            </a:pPr>
            <a:r>
              <a:rPr lang="en-US" sz="1399"/>
              <a:t>Net interest income, S&amp;P 500 banks, actuals and consensus </a:t>
            </a:r>
            <a:r>
              <a:rPr lang="en-US" sz="1399" err="1"/>
              <a:t>ests</a:t>
            </a:r>
            <a:r>
              <a:rPr lang="en-US" sz="1399"/>
              <a:t> (USD </a:t>
            </a:r>
            <a:r>
              <a:rPr lang="en-US" sz="1399" err="1"/>
              <a:t>bns</a:t>
            </a:r>
            <a:r>
              <a:rPr lang="en-US" sz="1399"/>
              <a:t>)</a:t>
            </a:r>
            <a:endParaRPr lang="en-US" sz="1399">
              <a:highlight>
                <a:srgbClr val="FFFF00"/>
              </a:highlight>
            </a:endParaRPr>
          </a:p>
        </p:txBody>
      </p:sp>
      <p:sp>
        <p:nvSpPr>
          <p:cNvPr id="8" name="TextBox 7">
            <a:extLst>
              <a:ext uri="{FF2B5EF4-FFF2-40B4-BE49-F238E27FC236}">
                <a16:creationId xmlns:a16="http://schemas.microsoft.com/office/drawing/2014/main" id="{BB022620-14D9-794E-E3F5-2DABD19494ED}"/>
              </a:ext>
            </a:extLst>
          </p:cNvPr>
          <p:cNvSpPr txBox="1"/>
          <p:nvPr>
            <p:custDataLst>
              <p:tags r:id="rId6"/>
            </p:custDataLst>
          </p:nvPr>
        </p:nvSpPr>
        <p:spPr>
          <a:xfrm>
            <a:off x="4873603"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a:solidFill>
                  <a:srgbClr val="E60000"/>
                </a:solidFill>
              </a:rPr>
              <a:t>Consumer discretionary:</a:t>
            </a:r>
            <a:r>
              <a:rPr lang="en-US" sz="1399" b="1"/>
              <a:t> </a:t>
            </a:r>
            <a:r>
              <a:rPr lang="en-US" sz="1399" b="1">
                <a:solidFill>
                  <a:srgbClr val="000000"/>
                </a:solidFill>
              </a:rPr>
              <a:t>Free cash flow generation is set to rebound</a:t>
            </a:r>
          </a:p>
          <a:p>
            <a:pPr eaLnBrk="1">
              <a:spcBef>
                <a:spcPts val="0"/>
              </a:spcBef>
              <a:spcAft>
                <a:spcPts val="600"/>
              </a:spcAft>
            </a:pPr>
            <a:r>
              <a:rPr lang="en-US" altLang="en-US" sz="1400" kern="0"/>
              <a:t>Free cash flow, S&amp;P 500 consumer discretionary sector, actuals and consensus </a:t>
            </a:r>
            <a:r>
              <a:rPr lang="en-US" altLang="en-US" sz="1400" kern="0" err="1"/>
              <a:t>ests</a:t>
            </a:r>
            <a:r>
              <a:rPr lang="en-US" altLang="en-US" sz="1400" kern="0"/>
              <a:t> (USD </a:t>
            </a:r>
            <a:r>
              <a:rPr lang="en-US" altLang="en-US" sz="1400" kern="0" err="1"/>
              <a:t>mns</a:t>
            </a:r>
            <a:r>
              <a:rPr lang="en-US" altLang="en-US" sz="1400" kern="0"/>
              <a:t>)</a:t>
            </a:r>
          </a:p>
        </p:txBody>
      </p:sp>
      <p:sp>
        <p:nvSpPr>
          <p:cNvPr id="9" name="TextBox 8">
            <a:extLst>
              <a:ext uri="{FF2B5EF4-FFF2-40B4-BE49-F238E27FC236}">
                <a16:creationId xmlns:a16="http://schemas.microsoft.com/office/drawing/2014/main" id="{66A2E3C7-6B9B-2272-5A2B-1D1A3B083066}"/>
              </a:ext>
            </a:extLst>
          </p:cNvPr>
          <p:cNvSpPr txBox="1"/>
          <p:nvPr>
            <p:custDataLst>
              <p:tags r:id="rId7"/>
            </p:custDataLst>
          </p:nvPr>
        </p:nvSpPr>
        <p:spPr>
          <a:xfrm>
            <a:off x="9164679" y="1411176"/>
            <a:ext cx="3655868" cy="365587"/>
          </a:xfrm>
          <a:prstGeom prst="rect">
            <a:avLst/>
          </a:prstGeom>
          <a:noFill/>
        </p:spPr>
        <p:txBody>
          <a:bodyPr vert="horz" wrap="square" lIns="0" tIns="0" rIns="0" bIns="0" rtlCol="0" anchor="t">
            <a:noAutofit/>
          </a:bodyPr>
          <a:lstStyle/>
          <a:p>
            <a:pPr defTabSz="912176">
              <a:spcBef>
                <a:spcPts val="0"/>
              </a:spcBef>
              <a:spcAft>
                <a:spcPts val="600"/>
              </a:spcAft>
            </a:pPr>
            <a:r>
              <a:rPr lang="en-US" sz="1399" b="1">
                <a:solidFill>
                  <a:srgbClr val="E60000"/>
                </a:solidFill>
              </a:rPr>
              <a:t>Health Care:</a:t>
            </a:r>
            <a:r>
              <a:rPr lang="en-US" sz="1399" b="1">
                <a:solidFill>
                  <a:prstClr val="black"/>
                </a:solidFill>
              </a:rPr>
              <a:t> Valuations appear attractive</a:t>
            </a:r>
          </a:p>
          <a:p>
            <a:pPr defTabSz="912176">
              <a:spcBef>
                <a:spcPts val="0"/>
              </a:spcBef>
              <a:spcAft>
                <a:spcPts val="600"/>
              </a:spcAft>
            </a:pPr>
            <a:r>
              <a:rPr lang="en-US" altLang="en-US" sz="1400" kern="0"/>
              <a:t>Health care vs. S&amp;P 500, relative P/E based on next twelve months earnings</a:t>
            </a:r>
          </a:p>
        </p:txBody>
      </p:sp>
      <p:graphicFrame>
        <p:nvGraphicFramePr>
          <p:cNvPr id="5" name="Chart 4"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4830DF15-DADC-4549-8373-278B58CE278D}"/>
              </a:ext>
            </a:extLst>
          </p:cNvPr>
          <p:cNvGraphicFramePr>
            <a:graphicFrameLocks/>
          </p:cNvGraphicFramePr>
          <p:nvPr>
            <p:extLst>
              <p:ext uri="{D42A27DB-BD31-4B8C-83A1-F6EECF244321}">
                <p14:modId xmlns:p14="http://schemas.microsoft.com/office/powerpoint/2010/main" val="2353443684"/>
              </p:ext>
            </p:extLst>
          </p:nvPr>
        </p:nvGraphicFramePr>
        <p:xfrm>
          <a:off x="9171392" y="2515909"/>
          <a:ext cx="3657600" cy="3911934"/>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6" name="Chart 5"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998CD3B8-D396-4B84-A1BB-325E7A4BE38F}"/>
              </a:ext>
            </a:extLst>
          </p:cNvPr>
          <p:cNvGraphicFramePr>
            <a:graphicFrameLocks/>
          </p:cNvGraphicFramePr>
          <p:nvPr>
            <p:extLst>
              <p:ext uri="{D42A27DB-BD31-4B8C-83A1-F6EECF244321}">
                <p14:modId xmlns:p14="http://schemas.microsoft.com/office/powerpoint/2010/main" val="1226345581"/>
              </p:ext>
            </p:extLst>
          </p:nvPr>
        </p:nvGraphicFramePr>
        <p:xfrm>
          <a:off x="546100" y="2515909"/>
          <a:ext cx="3657600" cy="36576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0" name="Chart 9"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EFB7E31F-5DBE-248A-13BA-2285981373A7}"/>
              </a:ext>
            </a:extLst>
          </p:cNvPr>
          <p:cNvGraphicFramePr>
            <a:graphicFrameLocks/>
          </p:cNvGraphicFramePr>
          <p:nvPr>
            <p:extLst>
              <p:ext uri="{D42A27DB-BD31-4B8C-83A1-F6EECF244321}">
                <p14:modId xmlns:p14="http://schemas.microsoft.com/office/powerpoint/2010/main" val="3640722446"/>
              </p:ext>
            </p:extLst>
          </p:nvPr>
        </p:nvGraphicFramePr>
        <p:xfrm>
          <a:off x="4799880" y="2526966"/>
          <a:ext cx="3657600" cy="3657600"/>
        </p:xfrm>
        <a:graphic>
          <a:graphicData uri="http://schemas.openxmlformats.org/drawingml/2006/chart">
            <c:chart xmlns:c="http://schemas.openxmlformats.org/drawingml/2006/chart" xmlns:r="http://schemas.openxmlformats.org/officeDocument/2006/relationships" r:id="rId14"/>
          </a:graphicData>
        </a:graphic>
      </p:graphicFrame>
    </p:spTree>
    <p:custDataLst>
      <p:tags r:id="rId1"/>
    </p:custDataLst>
    <p:extLst>
      <p:ext uri="{BB962C8B-B14F-4D97-AF65-F5344CB8AC3E}">
        <p14:creationId xmlns:p14="http://schemas.microsoft.com/office/powerpoint/2010/main" val="16385433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012AB-07BD-7DBE-B562-E0F3586E5330}"/>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EFF4ACC-33E6-5FE6-B23D-B2E143CEA97E}"/>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10" imgW="361" imgH="373" progId="TCLayout.ActiveDocument.1">
                  <p:embed/>
                </p:oleObj>
              </mc:Choice>
              <mc:Fallback>
                <p:oleObj name="think-cell Slide" r:id="rId10" imgW="361" imgH="373" progId="TCLayout.ActiveDocument.1">
                  <p:embed/>
                  <p:pic>
                    <p:nvPicPr>
                      <p:cNvPr id="19" name="think-cell data - do not delete" hidden="1">
                        <a:extLst>
                          <a:ext uri="{FF2B5EF4-FFF2-40B4-BE49-F238E27FC236}">
                            <a16:creationId xmlns:a16="http://schemas.microsoft.com/office/drawing/2014/main" id="{FEFF4ACC-33E6-5FE6-B23D-B2E143CEA97E}"/>
                          </a:ext>
                        </a:extLst>
                      </p:cNvPr>
                      <p:cNvPicPr/>
                      <p:nvPr/>
                    </p:nvPicPr>
                    <p:blipFill>
                      <a:blip r:embed="rId11"/>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0E9E8E1D-6075-D798-65A3-B5C877551737}"/>
              </a:ext>
            </a:extLst>
          </p:cNvPr>
          <p:cNvSpPr>
            <a:spLocks noGrp="1"/>
          </p:cNvSpPr>
          <p:nvPr>
            <p:ph type="title"/>
            <p:custDataLst>
              <p:tags r:id="rId3"/>
            </p:custDataLst>
          </p:nvPr>
        </p:nvSpPr>
        <p:spPr>
          <a:xfrm>
            <a:off x="582528" y="1786"/>
            <a:ext cx="12238019" cy="941386"/>
          </a:xfrm>
        </p:spPr>
        <p:txBody>
          <a:bodyPr vert="horz">
            <a:normAutofit/>
          </a:bodyPr>
          <a:lstStyle/>
          <a:p>
            <a:pPr>
              <a:lnSpc>
                <a:spcPct val="107000"/>
              </a:lnSpc>
              <a:spcBef>
                <a:spcPts val="0"/>
              </a:spcBef>
            </a:pPr>
            <a:r>
              <a:rPr lang="en-US">
                <a:solidFill>
                  <a:srgbClr val="E60000"/>
                </a:solidFill>
              </a:rPr>
              <a:t>Eurozone: </a:t>
            </a:r>
            <a:r>
              <a:rPr lang="en-US"/>
              <a:t>global cyclical recovery and German fiscal spending should help</a:t>
            </a:r>
            <a:endParaRPr lang="en-GB" spc="-50"/>
          </a:p>
        </p:txBody>
      </p:sp>
      <p:sp>
        <p:nvSpPr>
          <p:cNvPr id="3" name="TextBox 2">
            <a:extLst>
              <a:ext uri="{FF2B5EF4-FFF2-40B4-BE49-F238E27FC236}">
                <a16:creationId xmlns:a16="http://schemas.microsoft.com/office/drawing/2014/main" id="{787B4EF8-B7FF-4582-1E3A-73A776FDCFCA}"/>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Datastream, Bloomberg, UBS, as of 09 February 2026</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7" name="TextBox 6">
            <a:extLst>
              <a:ext uri="{FF2B5EF4-FFF2-40B4-BE49-F238E27FC236}">
                <a16:creationId xmlns:a16="http://schemas.microsoft.com/office/drawing/2014/main" id="{9513B2F1-071C-DA4E-E1D9-4B3FCE5137DE}"/>
              </a:ext>
            </a:extLst>
          </p:cNvPr>
          <p:cNvSpPr txBox="1"/>
          <p:nvPr>
            <p:custDataLst>
              <p:tags r:id="rId5"/>
            </p:custDataLst>
          </p:nvPr>
        </p:nvSpPr>
        <p:spPr>
          <a:xfrm>
            <a:off x="582528"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a:solidFill>
                  <a:srgbClr val="000000"/>
                </a:solidFill>
              </a:rPr>
              <a:t>Europe to benefit from an </a:t>
            </a:r>
            <a:r>
              <a:rPr lang="en-US" sz="1399" b="1">
                <a:solidFill>
                  <a:srgbClr val="FF0000"/>
                </a:solidFill>
              </a:rPr>
              <a:t>improving cyclical backdrop</a:t>
            </a:r>
          </a:p>
          <a:p>
            <a:pPr eaLnBrk="1">
              <a:spcBef>
                <a:spcPts val="0"/>
              </a:spcBef>
              <a:spcAft>
                <a:spcPts val="600"/>
              </a:spcAft>
            </a:pPr>
            <a:r>
              <a:rPr lang="en-US" altLang="en-US" sz="1400"/>
              <a:t>Eurozone earnings growth (</a:t>
            </a:r>
            <a:r>
              <a:rPr lang="en-US" altLang="en-US" sz="1400" err="1"/>
              <a:t>lhs</a:t>
            </a:r>
            <a:r>
              <a:rPr lang="en-US" altLang="en-US" sz="1400"/>
              <a:t>) and manufacturing PMI (</a:t>
            </a:r>
            <a:r>
              <a:rPr lang="en-US" altLang="en-US" sz="1400" err="1"/>
              <a:t>rhs</a:t>
            </a:r>
            <a:r>
              <a:rPr lang="en-US" altLang="en-US" sz="1400"/>
              <a:t>)</a:t>
            </a:r>
          </a:p>
        </p:txBody>
      </p:sp>
      <p:sp>
        <p:nvSpPr>
          <p:cNvPr id="8" name="TextBox 7">
            <a:extLst>
              <a:ext uri="{FF2B5EF4-FFF2-40B4-BE49-F238E27FC236}">
                <a16:creationId xmlns:a16="http://schemas.microsoft.com/office/drawing/2014/main" id="{3BE90499-2E44-F035-E36A-5C38503755E3}"/>
              </a:ext>
            </a:extLst>
          </p:cNvPr>
          <p:cNvSpPr txBox="1"/>
          <p:nvPr>
            <p:custDataLst>
              <p:tags r:id="rId6"/>
            </p:custDataLst>
          </p:nvPr>
        </p:nvSpPr>
        <p:spPr>
          <a:xfrm>
            <a:off x="4873603" y="1411176"/>
            <a:ext cx="3655868" cy="365587"/>
          </a:xfrm>
          <a:prstGeom prst="rect">
            <a:avLst/>
          </a:prstGeom>
          <a:noFill/>
        </p:spPr>
        <p:txBody>
          <a:bodyPr vert="horz" wrap="square" lIns="0" tIns="0" rIns="0" bIns="0" rtlCol="0" anchor="t">
            <a:noAutofit/>
          </a:bodyPr>
          <a:lstStyle/>
          <a:p>
            <a:r>
              <a:rPr lang="en-US" sz="1400" b="1">
                <a:latin typeface="Frutiger 45 Light" panose="020B0603020202020204" pitchFamily="34" charset="0"/>
              </a:rPr>
              <a:t>Germany’s </a:t>
            </a:r>
            <a:r>
              <a:rPr lang="en-US" sz="1400" b="1">
                <a:solidFill>
                  <a:srgbClr val="FF0000"/>
                </a:solidFill>
                <a:latin typeface="Frutiger 45 Light" panose="020B0603020202020204" pitchFamily="34" charset="0"/>
              </a:rPr>
              <a:t>fiscal boost </a:t>
            </a:r>
            <a:r>
              <a:rPr lang="en-US" sz="1400" b="1">
                <a:latin typeface="Frutiger 45 Light" panose="020B0603020202020204" pitchFamily="34" charset="0"/>
              </a:rPr>
              <a:t>is just beginning</a:t>
            </a:r>
          </a:p>
          <a:p>
            <a:br>
              <a:rPr lang="en-US" sz="1400" b="1">
                <a:latin typeface="Frutiger 45 Light" panose="020B0603020202020204" pitchFamily="34" charset="0"/>
              </a:rPr>
            </a:br>
            <a:r>
              <a:rPr lang="en-US" sz="1400">
                <a:latin typeface="Frutiger 45 Light" panose="020B0603020202020204" pitchFamily="34" charset="0"/>
              </a:rPr>
              <a:t>German infrastructure and defense spending plans as % of GDP</a:t>
            </a:r>
          </a:p>
        </p:txBody>
      </p:sp>
      <p:sp>
        <p:nvSpPr>
          <p:cNvPr id="9" name="TextBox 8">
            <a:extLst>
              <a:ext uri="{FF2B5EF4-FFF2-40B4-BE49-F238E27FC236}">
                <a16:creationId xmlns:a16="http://schemas.microsoft.com/office/drawing/2014/main" id="{E20402CF-77C4-7034-15C4-638E30A74FAE}"/>
              </a:ext>
            </a:extLst>
          </p:cNvPr>
          <p:cNvSpPr txBox="1"/>
          <p:nvPr>
            <p:custDataLst>
              <p:tags r:id="rId7"/>
            </p:custDataLst>
          </p:nvPr>
        </p:nvSpPr>
        <p:spPr>
          <a:xfrm>
            <a:off x="9164679" y="1411176"/>
            <a:ext cx="3655868" cy="365587"/>
          </a:xfrm>
          <a:prstGeom prst="rect">
            <a:avLst/>
          </a:prstGeom>
          <a:noFill/>
        </p:spPr>
        <p:txBody>
          <a:bodyPr vert="horz" wrap="square" lIns="0" tIns="0" rIns="0" bIns="0" rtlCol="0" anchor="t">
            <a:noAutofit/>
          </a:bodyPr>
          <a:lstStyle/>
          <a:p>
            <a:r>
              <a:rPr lang="en-US" sz="1400" b="1">
                <a:latin typeface="Frutiger 45 Light" panose="020B0603020202020204" pitchFamily="34" charset="0"/>
              </a:rPr>
              <a:t>European </a:t>
            </a:r>
            <a:r>
              <a:rPr lang="en-US" sz="1400" b="1">
                <a:solidFill>
                  <a:srgbClr val="FF0000"/>
                </a:solidFill>
                <a:latin typeface="Frutiger 45 Light" panose="020B0603020202020204" pitchFamily="34" charset="0"/>
              </a:rPr>
              <a:t>GDP to accelerate</a:t>
            </a:r>
            <a:r>
              <a:rPr lang="en-US" sz="1400" b="1">
                <a:latin typeface="Frutiger 45 Light" panose="020B0603020202020204" pitchFamily="34" charset="0"/>
              </a:rPr>
              <a:t> through 2026</a:t>
            </a:r>
            <a:br>
              <a:rPr lang="en-US" sz="1400" b="1">
                <a:latin typeface="Frutiger 45 Light" panose="020B0603020202020204" pitchFamily="34" charset="0"/>
              </a:rPr>
            </a:br>
            <a:r>
              <a:rPr lang="en-US" sz="1400">
                <a:latin typeface="Frutiger 45 Light" panose="020B0603020202020204" pitchFamily="34" charset="0"/>
              </a:rPr>
              <a:t>UBS Yr/Yr GDP forecasts for Eurozone and Germany</a:t>
            </a:r>
          </a:p>
        </p:txBody>
      </p:sp>
      <p:graphicFrame>
        <p:nvGraphicFramePr>
          <p:cNvPr id="5" name="Chart 4"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93118F09-6A39-F9B8-3BF6-02322FBD64EE}"/>
              </a:ext>
            </a:extLst>
          </p:cNvPr>
          <p:cNvGraphicFramePr>
            <a:graphicFrameLocks/>
          </p:cNvGraphicFramePr>
          <p:nvPr>
            <p:extLst>
              <p:ext uri="{D42A27DB-BD31-4B8C-83A1-F6EECF244321}">
                <p14:modId xmlns:p14="http://schemas.microsoft.com/office/powerpoint/2010/main" val="1572363820"/>
              </p:ext>
            </p:extLst>
          </p:nvPr>
        </p:nvGraphicFramePr>
        <p:xfrm>
          <a:off x="4696611" y="2667391"/>
          <a:ext cx="4019262" cy="3742935"/>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6" name="Chart 5"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0FF451A2-90FD-776E-12A5-C6011F4AA4DD}"/>
              </a:ext>
            </a:extLst>
          </p:cNvPr>
          <p:cNvGraphicFramePr>
            <a:graphicFrameLocks/>
          </p:cNvGraphicFramePr>
          <p:nvPr>
            <p:extLst>
              <p:ext uri="{D42A27DB-BD31-4B8C-83A1-F6EECF244321}">
                <p14:modId xmlns:p14="http://schemas.microsoft.com/office/powerpoint/2010/main" val="2191863683"/>
              </p:ext>
            </p:extLst>
          </p:nvPr>
        </p:nvGraphicFramePr>
        <p:xfrm>
          <a:off x="9268455" y="2659350"/>
          <a:ext cx="3552092" cy="3750976"/>
        </p:xfrm>
        <a:graphic>
          <a:graphicData uri="http://schemas.openxmlformats.org/drawingml/2006/chart">
            <c:chart xmlns:c="http://schemas.openxmlformats.org/drawingml/2006/chart" xmlns:r="http://schemas.openxmlformats.org/officeDocument/2006/relationships" r:id="rId13"/>
          </a:graphicData>
        </a:graphic>
      </p:graphicFrame>
      <p:grpSp>
        <p:nvGrpSpPr>
          <p:cNvPr id="10" name="Group 9">
            <a:extLst>
              <a:ext uri="{FF2B5EF4-FFF2-40B4-BE49-F238E27FC236}">
                <a16:creationId xmlns:a16="http://schemas.microsoft.com/office/drawing/2014/main" id="{FB01B06E-D4A5-3F33-FA38-51EE39EC7C07}"/>
              </a:ext>
            </a:extLst>
          </p:cNvPr>
          <p:cNvGrpSpPr>
            <a:grpSpLocks/>
          </p:cNvGrpSpPr>
          <p:nvPr/>
        </p:nvGrpSpPr>
        <p:grpSpPr bwMode="auto">
          <a:xfrm>
            <a:off x="12436207" y="243879"/>
            <a:ext cx="676910" cy="676420"/>
            <a:chOff x="3955" y="2484"/>
            <a:chExt cx="1814" cy="1813"/>
          </a:xfrm>
          <a:solidFill>
            <a:srgbClr val="BEBEBE"/>
          </a:solidFill>
        </p:grpSpPr>
        <p:sp>
          <p:nvSpPr>
            <p:cNvPr id="12" name="Freeform 17">
              <a:extLst>
                <a:ext uri="{FF2B5EF4-FFF2-40B4-BE49-F238E27FC236}">
                  <a16:creationId xmlns:a16="http://schemas.microsoft.com/office/drawing/2014/main" id="{9CAD5EB8-8F57-6A1C-A33A-3873B6835709}"/>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chemeClr val="accent3"/>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13" name="Freeform 18">
              <a:extLst>
                <a:ext uri="{FF2B5EF4-FFF2-40B4-BE49-F238E27FC236}">
                  <a16:creationId xmlns:a16="http://schemas.microsoft.com/office/drawing/2014/main" id="{592FF1A6-1350-20D6-96ED-0CF2DA0EF1F5}"/>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14" name="Freeform 19">
              <a:extLst>
                <a:ext uri="{FF2B5EF4-FFF2-40B4-BE49-F238E27FC236}">
                  <a16:creationId xmlns:a16="http://schemas.microsoft.com/office/drawing/2014/main" id="{15FED2A4-F462-C369-DED4-230A3D12184E}"/>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15" name="TextBox 14">
            <a:extLst>
              <a:ext uri="{FF2B5EF4-FFF2-40B4-BE49-F238E27FC236}">
                <a16:creationId xmlns:a16="http://schemas.microsoft.com/office/drawing/2014/main" id="{4012C489-35FA-4E41-F1BE-A890ACA83D53}"/>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acro</a:t>
            </a:r>
          </a:p>
        </p:txBody>
      </p:sp>
      <p:graphicFrame>
        <p:nvGraphicFramePr>
          <p:cNvPr id="2" name="Chart 1">
            <a:extLst>
              <a:ext uri="{FF2B5EF4-FFF2-40B4-BE49-F238E27FC236}">
                <a16:creationId xmlns:a16="http://schemas.microsoft.com/office/drawing/2014/main" id="{D78BF7DC-E5D5-541B-31EB-F428D4A7657D}"/>
              </a:ext>
            </a:extLst>
          </p:cNvPr>
          <p:cNvGraphicFramePr/>
          <p:nvPr>
            <p:extLst>
              <p:ext uri="{D42A27DB-BD31-4B8C-83A1-F6EECF244321}">
                <p14:modId xmlns:p14="http://schemas.microsoft.com/office/powerpoint/2010/main" val="1082037416"/>
              </p:ext>
            </p:extLst>
          </p:nvPr>
        </p:nvGraphicFramePr>
        <p:xfrm>
          <a:off x="399120" y="2647950"/>
          <a:ext cx="4021200" cy="3762376"/>
        </p:xfrm>
        <a:graphic>
          <a:graphicData uri="http://schemas.openxmlformats.org/drawingml/2006/chart">
            <c:chart xmlns:c="http://schemas.openxmlformats.org/drawingml/2006/chart" xmlns:r="http://schemas.openxmlformats.org/officeDocument/2006/relationships" r:id="rId14"/>
          </a:graphicData>
        </a:graphic>
      </p:graphicFrame>
    </p:spTree>
    <p:custDataLst>
      <p:tags r:id="rId1"/>
    </p:custDataLst>
    <p:extLst>
      <p:ext uri="{BB962C8B-B14F-4D97-AF65-F5344CB8AC3E}">
        <p14:creationId xmlns:p14="http://schemas.microsoft.com/office/powerpoint/2010/main" val="17993179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89369-F935-2180-3803-46378A810B94}"/>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1FF8C0A0-1569-A431-2D7E-62BDC084044C}"/>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10" imgW="361" imgH="373" progId="TCLayout.ActiveDocument.1">
                  <p:embed/>
                </p:oleObj>
              </mc:Choice>
              <mc:Fallback>
                <p:oleObj name="think-cell Slide" r:id="rId10" imgW="361" imgH="373" progId="TCLayout.ActiveDocument.1">
                  <p:embed/>
                  <p:pic>
                    <p:nvPicPr>
                      <p:cNvPr id="19" name="think-cell data - do not delete" hidden="1">
                        <a:extLst>
                          <a:ext uri="{FF2B5EF4-FFF2-40B4-BE49-F238E27FC236}">
                            <a16:creationId xmlns:a16="http://schemas.microsoft.com/office/drawing/2014/main" id="{1FF8C0A0-1569-A431-2D7E-62BDC084044C}"/>
                          </a:ext>
                        </a:extLst>
                      </p:cNvPr>
                      <p:cNvPicPr/>
                      <p:nvPr/>
                    </p:nvPicPr>
                    <p:blipFill>
                      <a:blip r:embed="rId11"/>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C8686434-7895-B63D-BCAC-C10E701B2CB2}"/>
              </a:ext>
            </a:extLst>
          </p:cNvPr>
          <p:cNvSpPr>
            <a:spLocks noGrp="1"/>
          </p:cNvSpPr>
          <p:nvPr>
            <p:ph type="title"/>
            <p:custDataLst>
              <p:tags r:id="rId3"/>
            </p:custDataLst>
          </p:nvPr>
        </p:nvSpPr>
        <p:spPr>
          <a:xfrm>
            <a:off x="582528" y="1786"/>
            <a:ext cx="12238019" cy="941386"/>
          </a:xfrm>
        </p:spPr>
        <p:txBody>
          <a:bodyPr vert="horz">
            <a:normAutofit/>
          </a:bodyPr>
          <a:lstStyle/>
          <a:p>
            <a:pPr>
              <a:lnSpc>
                <a:spcPct val="107000"/>
              </a:lnSpc>
              <a:spcBef>
                <a:spcPts val="0"/>
              </a:spcBef>
            </a:pPr>
            <a:r>
              <a:rPr lang="en-US" dirty="0">
                <a:solidFill>
                  <a:srgbClr val="E60000"/>
                </a:solidFill>
              </a:rPr>
              <a:t>Eurozone: </a:t>
            </a:r>
            <a:r>
              <a:rPr lang="en-US" dirty="0"/>
              <a:t>Strong earnings recovery expected</a:t>
            </a:r>
            <a:endParaRPr lang="en-GB" spc="-50" dirty="0"/>
          </a:p>
        </p:txBody>
      </p:sp>
      <p:sp>
        <p:nvSpPr>
          <p:cNvPr id="3" name="TextBox 2">
            <a:extLst>
              <a:ext uri="{FF2B5EF4-FFF2-40B4-BE49-F238E27FC236}">
                <a16:creationId xmlns:a16="http://schemas.microsoft.com/office/drawing/2014/main" id="{C742F649-B5F7-812F-7541-E30D1268D03C}"/>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dirty="0">
                <a:latin typeface="Frutiger 45 Light" panose="020B0603020202020204" pitchFamily="34" charset="0"/>
              </a:rPr>
              <a:t>Source: </a:t>
            </a:r>
            <a:r>
              <a:rPr lang="en-US" sz="800" kern="0" dirty="0" err="1">
                <a:latin typeface="Frutiger 45 Light" panose="020B0603020202020204" pitchFamily="34" charset="0"/>
              </a:rPr>
              <a:t>Datastream</a:t>
            </a:r>
            <a:r>
              <a:rPr lang="en-US" sz="800" kern="0" dirty="0">
                <a:latin typeface="Frutiger 45 Light" panose="020B0603020202020204" pitchFamily="34" charset="0"/>
              </a:rPr>
              <a:t>, Bloomberg, UBS, as of 09 February 2026</a:t>
            </a:r>
            <a:br>
              <a:rPr lang="en-US" sz="800" kern="0" dirty="0">
                <a:latin typeface="Frutiger 45 Light" panose="020B0603020202020204" pitchFamily="34" charset="0"/>
              </a:rPr>
            </a:br>
            <a:r>
              <a:rPr lang="en-US" sz="800" kern="0" dirty="0">
                <a:latin typeface="Frutiger 45 Light" panose="020B0603020202020204" pitchFamily="34" charset="0"/>
              </a:rPr>
              <a:t>Charts and scenarios are for illustrative purposes only. Historical performance and forecasts are no guarantee for future performance.</a:t>
            </a:r>
            <a:br>
              <a:rPr lang="en-US" sz="800" kern="0" dirty="0">
                <a:latin typeface="Frutiger 45 Light" panose="020B0603020202020204" pitchFamily="34" charset="0"/>
              </a:rPr>
            </a:br>
            <a:r>
              <a:rPr lang="en-US" sz="800" kern="0" dirty="0">
                <a:latin typeface="Frutiger 45 Light" panose="020B0603020202020204" pitchFamily="34" charset="0"/>
              </a:rPr>
              <a:t>Please see important disclaimer at the end of the document.</a:t>
            </a:r>
          </a:p>
        </p:txBody>
      </p:sp>
      <p:sp>
        <p:nvSpPr>
          <p:cNvPr id="7" name="TextBox 6">
            <a:extLst>
              <a:ext uri="{FF2B5EF4-FFF2-40B4-BE49-F238E27FC236}">
                <a16:creationId xmlns:a16="http://schemas.microsoft.com/office/drawing/2014/main" id="{4EF3A366-5784-015D-EA3D-9E68AE2EFBF8}"/>
              </a:ext>
            </a:extLst>
          </p:cNvPr>
          <p:cNvSpPr txBox="1"/>
          <p:nvPr>
            <p:custDataLst>
              <p:tags r:id="rId5"/>
            </p:custDataLst>
          </p:nvPr>
        </p:nvSpPr>
        <p:spPr>
          <a:xfrm>
            <a:off x="582528"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a:solidFill>
                  <a:srgbClr val="FF0000"/>
                </a:solidFill>
              </a:rPr>
              <a:t>Earnings growth </a:t>
            </a:r>
            <a:r>
              <a:rPr lang="en-US" sz="1399" b="1">
                <a:solidFill>
                  <a:srgbClr val="000000"/>
                </a:solidFill>
              </a:rPr>
              <a:t>to pick up in 2026-2027</a:t>
            </a:r>
          </a:p>
          <a:p>
            <a:pPr eaLnBrk="1">
              <a:spcBef>
                <a:spcPts val="0"/>
              </a:spcBef>
              <a:spcAft>
                <a:spcPts val="600"/>
              </a:spcAft>
            </a:pPr>
            <a:r>
              <a:rPr lang="en-US" sz="1399"/>
              <a:t>Euro Stoxx 50 yearly earnings per share, in EUR, including CIO forecasts</a:t>
            </a:r>
            <a:endParaRPr lang="en-US" sz="1400"/>
          </a:p>
        </p:txBody>
      </p:sp>
      <p:sp>
        <p:nvSpPr>
          <p:cNvPr id="8" name="TextBox 7">
            <a:extLst>
              <a:ext uri="{FF2B5EF4-FFF2-40B4-BE49-F238E27FC236}">
                <a16:creationId xmlns:a16="http://schemas.microsoft.com/office/drawing/2014/main" id="{B2C01886-529A-44BF-F5F8-F3EE9BF7ADA8}"/>
              </a:ext>
            </a:extLst>
          </p:cNvPr>
          <p:cNvSpPr txBox="1"/>
          <p:nvPr>
            <p:custDataLst>
              <p:tags r:id="rId6"/>
            </p:custDataLst>
          </p:nvPr>
        </p:nvSpPr>
        <p:spPr>
          <a:xfrm>
            <a:off x="4873603" y="1411176"/>
            <a:ext cx="3655868" cy="365587"/>
          </a:xfrm>
          <a:prstGeom prst="rect">
            <a:avLst/>
          </a:prstGeom>
          <a:noFill/>
        </p:spPr>
        <p:txBody>
          <a:bodyPr vert="horz" wrap="square" lIns="0" tIns="0" rIns="0" bIns="0" rtlCol="0" anchor="t">
            <a:noAutofit/>
          </a:bodyPr>
          <a:lstStyle/>
          <a:p>
            <a:pPr defTabSz="912176">
              <a:spcBef>
                <a:spcPts val="0"/>
              </a:spcBef>
              <a:spcAft>
                <a:spcPts val="600"/>
              </a:spcAft>
            </a:pPr>
            <a:r>
              <a:rPr lang="en-US" sz="1399" b="1" dirty="0">
                <a:solidFill>
                  <a:srgbClr val="FF0000"/>
                </a:solidFill>
              </a:rPr>
              <a:t>Profit margins </a:t>
            </a:r>
            <a:r>
              <a:rPr lang="en-US" sz="1399" b="1" dirty="0">
                <a:solidFill>
                  <a:prstClr val="black"/>
                </a:solidFill>
              </a:rPr>
              <a:t>have room to rise if volumes pick up </a:t>
            </a:r>
          </a:p>
          <a:p>
            <a:pPr>
              <a:spcBef>
                <a:spcPts val="0"/>
              </a:spcBef>
            </a:pPr>
            <a:r>
              <a:rPr lang="en-US" sz="1400"/>
              <a:t>12m trailing EBIT margins for Eurozone equities ex financials and energy</a:t>
            </a:r>
            <a:endParaRPr lang="en-US" sz="1400" dirty="0"/>
          </a:p>
        </p:txBody>
      </p:sp>
      <p:sp>
        <p:nvSpPr>
          <p:cNvPr id="9" name="TextBox 8">
            <a:extLst>
              <a:ext uri="{FF2B5EF4-FFF2-40B4-BE49-F238E27FC236}">
                <a16:creationId xmlns:a16="http://schemas.microsoft.com/office/drawing/2014/main" id="{117D5691-9732-643C-54CD-C446417DE721}"/>
              </a:ext>
            </a:extLst>
          </p:cNvPr>
          <p:cNvSpPr txBox="1"/>
          <p:nvPr>
            <p:custDataLst>
              <p:tags r:id="rId7"/>
            </p:custDataLst>
          </p:nvPr>
        </p:nvSpPr>
        <p:spPr>
          <a:xfrm>
            <a:off x="9164679"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a:solidFill>
                  <a:srgbClr val="FF0000"/>
                </a:solidFill>
              </a:rPr>
              <a:t>Valuation</a:t>
            </a:r>
            <a:r>
              <a:rPr lang="en-US" sz="1399" b="1">
                <a:solidFill>
                  <a:srgbClr val="000000"/>
                </a:solidFill>
              </a:rPr>
              <a:t> is reasonable</a:t>
            </a:r>
          </a:p>
          <a:p>
            <a:pPr eaLnBrk="1">
              <a:spcBef>
                <a:spcPts val="0"/>
              </a:spcBef>
              <a:spcAft>
                <a:spcPts val="600"/>
              </a:spcAft>
            </a:pPr>
            <a:r>
              <a:rPr lang="en-US" sz="1399"/>
              <a:t>MSCI EMU 12m forward PE and normalized price and forward earnings</a:t>
            </a:r>
            <a:endParaRPr lang="en-US" sz="1400"/>
          </a:p>
        </p:txBody>
      </p:sp>
      <p:sp>
        <p:nvSpPr>
          <p:cNvPr id="18" name="TextBox 17">
            <a:extLst>
              <a:ext uri="{FF2B5EF4-FFF2-40B4-BE49-F238E27FC236}">
                <a16:creationId xmlns:a16="http://schemas.microsoft.com/office/drawing/2014/main" id="{A39A45C1-3E60-675C-549F-25EEE2F9F059}"/>
              </a:ext>
            </a:extLst>
          </p:cNvPr>
          <p:cNvSpPr txBox="1"/>
          <p:nvPr/>
        </p:nvSpPr>
        <p:spPr>
          <a:xfrm>
            <a:off x="3897054" y="2711638"/>
            <a:ext cx="419424"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1200">
                <a:solidFill>
                  <a:schemeClr val="tx1">
                    <a:lumMod val="65000"/>
                    <a:lumOff val="35000"/>
                  </a:schemeClr>
                </a:solidFill>
                <a:latin typeface="+mn-lt"/>
              </a:rPr>
              <a:t>18%</a:t>
            </a:r>
          </a:p>
        </p:txBody>
      </p:sp>
      <p:sp>
        <p:nvSpPr>
          <p:cNvPr id="20" name="TextBox 19">
            <a:extLst>
              <a:ext uri="{FF2B5EF4-FFF2-40B4-BE49-F238E27FC236}">
                <a16:creationId xmlns:a16="http://schemas.microsoft.com/office/drawing/2014/main" id="{41C7C787-6F61-D71A-143D-3AB8CE505CF4}"/>
              </a:ext>
            </a:extLst>
          </p:cNvPr>
          <p:cNvSpPr txBox="1"/>
          <p:nvPr/>
        </p:nvSpPr>
        <p:spPr>
          <a:xfrm>
            <a:off x="3630430" y="3174600"/>
            <a:ext cx="419424"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1200">
                <a:solidFill>
                  <a:schemeClr val="tx1">
                    <a:lumMod val="65000"/>
                    <a:lumOff val="35000"/>
                  </a:schemeClr>
                </a:solidFill>
                <a:latin typeface="+mn-lt"/>
              </a:rPr>
              <a:t>7%</a:t>
            </a:r>
          </a:p>
        </p:txBody>
      </p:sp>
      <p:graphicFrame>
        <p:nvGraphicFramePr>
          <p:cNvPr id="2" name="Chart 1" descr="Chart type: Clustered Column. 'Field3'&#10;&#10;Description automatically generated">
            <a:extLst>
              <a:ext uri="{FF2B5EF4-FFF2-40B4-BE49-F238E27FC236}">
                <a16:creationId xmlns:a16="http://schemas.microsoft.com/office/drawing/2014/main" id="{4FFC8404-7F0F-A267-C8DC-77CADB97769E}"/>
              </a:ext>
              <a:ext uri="{147F2762-F138-4A5C-976F-8EAC2B608ADB}">
                <a16:predDERef xmlns:a16="http://schemas.microsoft.com/office/drawing/2014/main" pred="{E8569BE8-F110-4A4F-BB0A-3D653452EB88}"/>
              </a:ext>
            </a:extLst>
          </p:cNvPr>
          <p:cNvGraphicFramePr>
            <a:graphicFrameLocks/>
          </p:cNvGraphicFramePr>
          <p:nvPr>
            <p:extLst>
              <p:ext uri="{D42A27DB-BD31-4B8C-83A1-F6EECF244321}">
                <p14:modId xmlns:p14="http://schemas.microsoft.com/office/powerpoint/2010/main" val="2764566224"/>
              </p:ext>
            </p:extLst>
          </p:nvPr>
        </p:nvGraphicFramePr>
        <p:xfrm>
          <a:off x="582528" y="2433342"/>
          <a:ext cx="3806930" cy="4181115"/>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5" name="Chart 4"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75DDE595-80DD-D0AA-6A8A-499F240A6B82}"/>
              </a:ext>
            </a:extLst>
          </p:cNvPr>
          <p:cNvGraphicFramePr/>
          <p:nvPr>
            <p:extLst>
              <p:ext uri="{D42A27DB-BD31-4B8C-83A1-F6EECF244321}">
                <p14:modId xmlns:p14="http://schemas.microsoft.com/office/powerpoint/2010/main" val="1914952219"/>
              </p:ext>
            </p:extLst>
          </p:nvPr>
        </p:nvGraphicFramePr>
        <p:xfrm>
          <a:off x="4873602" y="2552107"/>
          <a:ext cx="3889397" cy="430589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5" name="Chart 14"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V&quot;,&quot;OutlineColorRef&quot;:null,&quot;HasMarker&quot;:null,&quot;MarkerStyle&quot;:null,&quot;MarkerSize&quot;:null,&quot;MarkerFillColorRef&quot;:null,&quot;MarkerBorderColorRef&quot;:null,&quot;DataLabelColorRef&quot;:null,&quot;PatternType&quot;:null,&quot;PatternBackgroundColorRef&quot;:null},{&quot;PrimaryColorRef&quot;:&quot;Black&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I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5A13689E-7FDF-4F32-A9F7-C57CD57D227F}"/>
              </a:ext>
            </a:extLst>
          </p:cNvPr>
          <p:cNvGraphicFramePr>
            <a:graphicFrameLocks/>
          </p:cNvGraphicFramePr>
          <p:nvPr>
            <p:extLst>
              <p:ext uri="{D42A27DB-BD31-4B8C-83A1-F6EECF244321}">
                <p14:modId xmlns:p14="http://schemas.microsoft.com/office/powerpoint/2010/main" val="2049709137"/>
              </p:ext>
            </p:extLst>
          </p:nvPr>
        </p:nvGraphicFramePr>
        <p:xfrm>
          <a:off x="9090937" y="2274121"/>
          <a:ext cx="4206240" cy="4574353"/>
        </p:xfrm>
        <a:graphic>
          <a:graphicData uri="http://schemas.openxmlformats.org/drawingml/2006/chart">
            <c:chart xmlns:c="http://schemas.openxmlformats.org/drawingml/2006/chart" xmlns:r="http://schemas.openxmlformats.org/officeDocument/2006/relationships" r:id="rId14"/>
          </a:graphicData>
        </a:graphic>
      </p:graphicFrame>
      <p:grpSp>
        <p:nvGrpSpPr>
          <p:cNvPr id="11" name="Group 10">
            <a:extLst>
              <a:ext uri="{FF2B5EF4-FFF2-40B4-BE49-F238E27FC236}">
                <a16:creationId xmlns:a16="http://schemas.microsoft.com/office/drawing/2014/main" id="{21A24AF8-CDA6-1B75-FD93-C4415C5E39C9}"/>
              </a:ext>
            </a:extLst>
          </p:cNvPr>
          <p:cNvGrpSpPr>
            <a:grpSpLocks/>
          </p:cNvGrpSpPr>
          <p:nvPr/>
        </p:nvGrpSpPr>
        <p:grpSpPr bwMode="auto">
          <a:xfrm>
            <a:off x="12436207" y="243879"/>
            <a:ext cx="676910" cy="676420"/>
            <a:chOff x="3955" y="2484"/>
            <a:chExt cx="1814" cy="1813"/>
          </a:xfrm>
          <a:solidFill>
            <a:srgbClr val="BEBEBE"/>
          </a:solidFill>
        </p:grpSpPr>
        <p:sp>
          <p:nvSpPr>
            <p:cNvPr id="16" name="Freeform 17">
              <a:extLst>
                <a:ext uri="{FF2B5EF4-FFF2-40B4-BE49-F238E27FC236}">
                  <a16:creationId xmlns:a16="http://schemas.microsoft.com/office/drawing/2014/main" id="{E6993405-B146-2943-B4A6-A700A361A515}"/>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17" name="Freeform 18">
              <a:extLst>
                <a:ext uri="{FF2B5EF4-FFF2-40B4-BE49-F238E27FC236}">
                  <a16:creationId xmlns:a16="http://schemas.microsoft.com/office/drawing/2014/main" id="{7BE22E1F-64AA-C88E-D114-8CDC52A8DEEC}"/>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21" name="Freeform 19">
              <a:extLst>
                <a:ext uri="{FF2B5EF4-FFF2-40B4-BE49-F238E27FC236}">
                  <a16:creationId xmlns:a16="http://schemas.microsoft.com/office/drawing/2014/main" id="{8B82E11E-C904-F49F-6DA7-1CC076FD46E9}"/>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CCCABC"/>
            </a:solidFill>
            <a:ln w="19050" cap="flat" cmpd="sng">
              <a:solidFill>
                <a:srgbClr val="CCCABC"/>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22" name="TextBox 21">
            <a:extLst>
              <a:ext uri="{FF2B5EF4-FFF2-40B4-BE49-F238E27FC236}">
                <a16:creationId xmlns:a16="http://schemas.microsoft.com/office/drawing/2014/main" id="{2185912B-F2CE-6B16-4A89-94CAA9038D55}"/>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icro</a:t>
            </a:r>
          </a:p>
        </p:txBody>
      </p:sp>
    </p:spTree>
    <p:custDataLst>
      <p:tags r:id="rId1"/>
    </p:custDataLst>
    <p:extLst>
      <p:ext uri="{BB962C8B-B14F-4D97-AF65-F5344CB8AC3E}">
        <p14:creationId xmlns:p14="http://schemas.microsoft.com/office/powerpoint/2010/main" val="18601025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53218-9C23-CE57-27B2-F7D853902777}"/>
            </a:ext>
          </a:extLst>
        </p:cNvPr>
        <p:cNvGrpSpPr/>
        <p:nvPr/>
      </p:nvGrpSpPr>
      <p:grpSpPr>
        <a:xfrm>
          <a:off x="0" y="0"/>
          <a:ext cx="0" cy="0"/>
          <a:chOff x="0" y="0"/>
          <a:chExt cx="0" cy="0"/>
        </a:xfrm>
      </p:grpSpPr>
      <p:graphicFrame>
        <p:nvGraphicFramePr>
          <p:cNvPr id="21" name="Chart 20"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CA78A35D-A9EA-8010-FA5E-E47202F892F3}"/>
              </a:ext>
            </a:extLst>
          </p:cNvPr>
          <p:cNvGraphicFramePr>
            <a:graphicFrameLocks/>
          </p:cNvGraphicFramePr>
          <p:nvPr>
            <p:extLst>
              <p:ext uri="{D42A27DB-BD31-4B8C-83A1-F6EECF244321}">
                <p14:modId xmlns:p14="http://schemas.microsoft.com/office/powerpoint/2010/main" val="2445426246"/>
              </p:ext>
            </p:extLst>
          </p:nvPr>
        </p:nvGraphicFramePr>
        <p:xfrm>
          <a:off x="563297" y="2216887"/>
          <a:ext cx="5937188" cy="385521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0" name="Chart 19"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BFC60DF4-582C-69E9-15BE-91C925F0F4EC}"/>
              </a:ext>
            </a:extLst>
          </p:cNvPr>
          <p:cNvGraphicFramePr>
            <a:graphicFrameLocks/>
          </p:cNvGraphicFramePr>
          <p:nvPr>
            <p:extLst>
              <p:ext uri="{D42A27DB-BD31-4B8C-83A1-F6EECF244321}">
                <p14:modId xmlns:p14="http://schemas.microsoft.com/office/powerpoint/2010/main" val="3329921250"/>
              </p:ext>
            </p:extLst>
          </p:nvPr>
        </p:nvGraphicFramePr>
        <p:xfrm>
          <a:off x="6903944" y="2264524"/>
          <a:ext cx="5937188" cy="3855214"/>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9" name="think-cell data - do not delete" hidden="1">
            <a:extLst>
              <a:ext uri="{FF2B5EF4-FFF2-40B4-BE49-F238E27FC236}">
                <a16:creationId xmlns:a16="http://schemas.microsoft.com/office/drawing/2014/main" id="{FA3D72FE-674F-5D68-2301-17701F797C7A}"/>
              </a:ext>
            </a:extLst>
          </p:cNvPr>
          <p:cNvGraphicFramePr>
            <a:graphicFrameLocks noChangeAspect="1"/>
          </p:cNvGraphicFramePr>
          <p:nvPr>
            <p:custDataLst>
              <p:tags r:id="rId2"/>
            </p:custDataLst>
          </p:nvPr>
        </p:nvGraphicFramePr>
        <p:xfrm>
          <a:off x="4760" y="5158"/>
          <a:ext cx="1587" cy="1587"/>
        </p:xfrm>
        <a:graphic>
          <a:graphicData uri="http://schemas.openxmlformats.org/presentationml/2006/ole">
            <mc:AlternateContent xmlns:mc="http://schemas.openxmlformats.org/markup-compatibility/2006">
              <mc:Choice xmlns:v="urn:schemas-microsoft-com:vml" Requires="v">
                <p:oleObj name="think-cell Slide" r:id="rId11" imgW="361" imgH="373" progId="TCLayout.ActiveDocument.1">
                  <p:embed/>
                </p:oleObj>
              </mc:Choice>
              <mc:Fallback>
                <p:oleObj name="think-cell Slide" r:id="rId11" imgW="361" imgH="373" progId="TCLayout.ActiveDocument.1">
                  <p:embed/>
                  <p:pic>
                    <p:nvPicPr>
                      <p:cNvPr id="19" name="think-cell data - do not delete" hidden="1">
                        <a:extLst>
                          <a:ext uri="{FF2B5EF4-FFF2-40B4-BE49-F238E27FC236}">
                            <a16:creationId xmlns:a16="http://schemas.microsoft.com/office/drawing/2014/main" id="{FA3D72FE-674F-5D68-2301-17701F797C7A}"/>
                          </a:ext>
                        </a:extLst>
                      </p:cNvPr>
                      <p:cNvPicPr/>
                      <p:nvPr/>
                    </p:nvPicPr>
                    <p:blipFill>
                      <a:blip r:embed="rId12"/>
                      <a:stretch>
                        <a:fillRect/>
                      </a:stretch>
                    </p:blipFill>
                    <p:spPr>
                      <a:xfrm>
                        <a:off x="4760" y="5158"/>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E6960219-A7F3-F1B0-1799-92985058C225}"/>
              </a:ext>
            </a:extLst>
          </p:cNvPr>
          <p:cNvSpPr>
            <a:spLocks noGrp="1"/>
          </p:cNvSpPr>
          <p:nvPr>
            <p:ph type="title"/>
            <p:custDataLst>
              <p:tags r:id="rId3"/>
            </p:custDataLst>
          </p:nvPr>
        </p:nvSpPr>
        <p:spPr>
          <a:xfrm>
            <a:off x="585426" y="3572"/>
            <a:ext cx="12232225" cy="940940"/>
          </a:xfrm>
        </p:spPr>
        <p:txBody>
          <a:bodyPr vert="horz">
            <a:normAutofit/>
          </a:bodyPr>
          <a:lstStyle/>
          <a:p>
            <a:pPr>
              <a:lnSpc>
                <a:spcPct val="107000"/>
              </a:lnSpc>
              <a:spcBef>
                <a:spcPts val="0"/>
              </a:spcBef>
            </a:pPr>
            <a:r>
              <a:rPr lang="en-US" spc="-70">
                <a:solidFill>
                  <a:srgbClr val="E60000"/>
                </a:solidFill>
              </a:rPr>
              <a:t>Europe:</a:t>
            </a:r>
            <a:r>
              <a:rPr lang="en-US" spc="-70"/>
              <a:t> S</a:t>
            </a:r>
            <a:r>
              <a:rPr lang="en-US"/>
              <a:t>tructural markets offer upside potential</a:t>
            </a:r>
            <a:endParaRPr lang="en-GB" spc="-49"/>
          </a:p>
        </p:txBody>
      </p:sp>
      <p:sp>
        <p:nvSpPr>
          <p:cNvPr id="3" name="TextBox 2">
            <a:extLst>
              <a:ext uri="{FF2B5EF4-FFF2-40B4-BE49-F238E27FC236}">
                <a16:creationId xmlns:a16="http://schemas.microsoft.com/office/drawing/2014/main" id="{62402D4D-0F89-4843-464B-A9A6D7326208}"/>
              </a:ext>
            </a:extLst>
          </p:cNvPr>
          <p:cNvSpPr txBox="1"/>
          <p:nvPr>
            <p:custDataLst>
              <p:tags r:id="rId4"/>
            </p:custDataLst>
          </p:nvPr>
        </p:nvSpPr>
        <p:spPr>
          <a:xfrm>
            <a:off x="1869967" y="6814891"/>
            <a:ext cx="10654287" cy="483122"/>
          </a:xfrm>
          <a:prstGeom prst="rect">
            <a:avLst/>
          </a:prstGeom>
          <a:noFill/>
        </p:spPr>
        <p:txBody>
          <a:bodyPr vert="horz" wrap="square" lIns="0" tIns="0" rIns="0" bIns="0" rtlCol="0" anchor="b" anchorCtr="0">
            <a:noAutofit/>
          </a:bodyPr>
          <a:lstStyle/>
          <a:p>
            <a:pPr algn="r">
              <a:spcAft>
                <a:spcPts val="599"/>
              </a:spcAft>
            </a:pPr>
            <a:r>
              <a:rPr lang="en-US" sz="799" kern="0">
                <a:latin typeface="Frutiger 45 Light" panose="020B0603020202020204" pitchFamily="34" charset="0"/>
              </a:rPr>
              <a:t>Source: Factset, </a:t>
            </a:r>
            <a:r>
              <a:rPr lang="en-US" sz="799" kern="0">
                <a:solidFill>
                  <a:prstClr val="black"/>
                </a:solidFill>
                <a:latin typeface="Frutiger 45 Light" panose="020B0603020202020204" pitchFamily="34" charset="0"/>
              </a:rPr>
              <a:t>Gartner, WSTS, Morgan Stanley, </a:t>
            </a:r>
            <a:r>
              <a:rPr lang="en-US" sz="799" kern="0">
                <a:latin typeface="Frutiger 45 Light" panose="020B0603020202020204" pitchFamily="34" charset="0"/>
              </a:rPr>
              <a:t>Company reports, BofA Global Research, UBS, as of Aug 2025</a:t>
            </a:r>
            <a:br>
              <a:rPr lang="en-US" sz="799" kern="0">
                <a:latin typeface="Frutiger 45 Light" panose="020B0603020202020204" pitchFamily="34" charset="0"/>
              </a:rPr>
            </a:br>
            <a:r>
              <a:rPr lang="en-US" sz="799" kern="0">
                <a:latin typeface="Frutiger 45 Light" panose="020B0603020202020204" pitchFamily="34" charset="0"/>
              </a:rPr>
              <a:t>Charts and scenarios are for illustrative purposes only. Historical performance and forecasts are no guarantee for future performance.</a:t>
            </a:r>
            <a:br>
              <a:rPr lang="en-US" sz="799" kern="0">
                <a:latin typeface="Frutiger 45 Light" panose="020B0603020202020204" pitchFamily="34" charset="0"/>
              </a:rPr>
            </a:br>
            <a:r>
              <a:rPr lang="en-US" sz="799" kern="0">
                <a:latin typeface="Frutiger 45 Light" panose="020B0603020202020204" pitchFamily="34" charset="0"/>
              </a:rPr>
              <a:t>Please see important disclaimer at the end of the document.</a:t>
            </a:r>
            <a:endParaRPr lang="en-US" sz="799" kern="0" dirty="0">
              <a:latin typeface="Frutiger 45 Light" panose="020B0603020202020204" pitchFamily="34" charset="0"/>
            </a:endParaRPr>
          </a:p>
        </p:txBody>
      </p:sp>
      <p:sp>
        <p:nvSpPr>
          <p:cNvPr id="9" name="TextBox 8">
            <a:extLst>
              <a:ext uri="{FF2B5EF4-FFF2-40B4-BE49-F238E27FC236}">
                <a16:creationId xmlns:a16="http://schemas.microsoft.com/office/drawing/2014/main" id="{413C5D0F-5258-F6C2-32BA-514A42E49C14}"/>
              </a:ext>
            </a:extLst>
          </p:cNvPr>
          <p:cNvSpPr txBox="1"/>
          <p:nvPr>
            <p:custDataLst>
              <p:tags r:id="rId5"/>
            </p:custDataLst>
          </p:nvPr>
        </p:nvSpPr>
        <p:spPr>
          <a:xfrm>
            <a:off x="7420207" y="1421811"/>
            <a:ext cx="5397444" cy="365414"/>
          </a:xfrm>
          <a:prstGeom prst="rect">
            <a:avLst/>
          </a:prstGeom>
          <a:noFill/>
        </p:spPr>
        <p:txBody>
          <a:bodyPr vert="horz" wrap="square" lIns="0" tIns="0" rIns="0" bIns="0" rtlCol="0" anchor="t">
            <a:noAutofit/>
          </a:bodyPr>
          <a:lstStyle/>
          <a:p>
            <a:pPr defTabSz="911770">
              <a:spcAft>
                <a:spcPts val="599"/>
              </a:spcAft>
            </a:pPr>
            <a:r>
              <a:rPr lang="en-US" sz="1399" b="1" dirty="0">
                <a:solidFill>
                  <a:srgbClr val="E60000"/>
                </a:solidFill>
              </a:rPr>
              <a:t>Power and resources:</a:t>
            </a:r>
            <a:r>
              <a:rPr lang="en-US" sz="1399" b="1" dirty="0">
                <a:solidFill>
                  <a:prstClr val="black"/>
                </a:solidFill>
              </a:rPr>
              <a:t> Grid investments have more than doubled over the past two years</a:t>
            </a:r>
          </a:p>
          <a:p>
            <a:pPr defTabSz="911770">
              <a:spcAft>
                <a:spcPts val="599"/>
              </a:spcAft>
            </a:pPr>
            <a:r>
              <a:rPr lang="en-US" sz="1400" dirty="0"/>
              <a:t>Announced grid investments by 23 European TSOs/DSOs. In EUR bn</a:t>
            </a:r>
          </a:p>
        </p:txBody>
      </p:sp>
      <p:sp>
        <p:nvSpPr>
          <p:cNvPr id="10" name="TextBox 9">
            <a:extLst>
              <a:ext uri="{FF2B5EF4-FFF2-40B4-BE49-F238E27FC236}">
                <a16:creationId xmlns:a16="http://schemas.microsoft.com/office/drawing/2014/main" id="{F489A331-1E04-C5A4-ECB9-BB97BEFA6991}"/>
              </a:ext>
            </a:extLst>
          </p:cNvPr>
          <p:cNvSpPr txBox="1"/>
          <p:nvPr>
            <p:custDataLst>
              <p:tags r:id="rId6"/>
            </p:custDataLst>
          </p:nvPr>
        </p:nvSpPr>
        <p:spPr>
          <a:xfrm>
            <a:off x="585426" y="1421811"/>
            <a:ext cx="5397443" cy="365414"/>
          </a:xfrm>
          <a:prstGeom prst="rect">
            <a:avLst/>
          </a:prstGeom>
          <a:noFill/>
        </p:spPr>
        <p:txBody>
          <a:bodyPr vert="horz" wrap="square" lIns="0" tIns="0" rIns="0" bIns="0" rtlCol="0" anchor="t">
            <a:noAutofit/>
          </a:bodyPr>
          <a:lstStyle/>
          <a:p>
            <a:pPr defTabSz="913993">
              <a:spcAft>
                <a:spcPts val="599"/>
              </a:spcAft>
            </a:pPr>
            <a:r>
              <a:rPr lang="en-US" sz="1539" b="1">
                <a:solidFill>
                  <a:srgbClr val="E60000"/>
                </a:solidFill>
              </a:rPr>
              <a:t>AI: </a:t>
            </a:r>
            <a:r>
              <a:rPr lang="en-US" sz="1539" b="1">
                <a:solidFill>
                  <a:prstClr val="black"/>
                </a:solidFill>
              </a:rPr>
              <a:t>Robust earnings growth to support European IT</a:t>
            </a:r>
          </a:p>
          <a:p>
            <a:pPr defTabSz="913993">
              <a:spcAft>
                <a:spcPts val="599"/>
              </a:spcAft>
            </a:pPr>
            <a:r>
              <a:rPr lang="en-US" altLang="en-US" sz="1539" kern="0"/>
              <a:t>European IT y/y earnings growth</a:t>
            </a:r>
            <a:endParaRPr lang="en-US" sz="1539">
              <a:solidFill>
                <a:prstClr val="black"/>
              </a:solidFill>
            </a:endParaRPr>
          </a:p>
        </p:txBody>
      </p:sp>
      <p:grpSp>
        <p:nvGrpSpPr>
          <p:cNvPr id="2" name="Group 1">
            <a:extLst>
              <a:ext uri="{FF2B5EF4-FFF2-40B4-BE49-F238E27FC236}">
                <a16:creationId xmlns:a16="http://schemas.microsoft.com/office/drawing/2014/main" id="{AEBD124F-FD70-3CA8-9AE4-3FF436D65D95}"/>
              </a:ext>
            </a:extLst>
          </p:cNvPr>
          <p:cNvGrpSpPr/>
          <p:nvPr/>
        </p:nvGrpSpPr>
        <p:grpSpPr>
          <a:xfrm>
            <a:off x="12351610" y="245550"/>
            <a:ext cx="803731" cy="1075397"/>
            <a:chOff x="11234055" y="221708"/>
            <a:chExt cx="731011" cy="978097"/>
          </a:xfrm>
        </p:grpSpPr>
        <p:sp>
          <p:nvSpPr>
            <p:cNvPr id="5" name="TextBox 4">
              <a:extLst>
                <a:ext uri="{FF2B5EF4-FFF2-40B4-BE49-F238E27FC236}">
                  <a16:creationId xmlns:a16="http://schemas.microsoft.com/office/drawing/2014/main" id="{1CDDF3FE-E27B-9BA4-DEAD-5999CA4E1E2D}"/>
                </a:ext>
              </a:extLst>
            </p:cNvPr>
            <p:cNvSpPr txBox="1"/>
            <p:nvPr/>
          </p:nvSpPr>
          <p:spPr>
            <a:xfrm>
              <a:off x="11234055" y="836130"/>
              <a:ext cx="731011" cy="363675"/>
            </a:xfrm>
            <a:prstGeom prst="rect">
              <a:avLst/>
            </a:prstGeom>
            <a:noFill/>
          </p:spPr>
          <p:txBody>
            <a:bodyPr wrap="square">
              <a:spAutoFit/>
            </a:bodyPr>
            <a:lstStyle/>
            <a:p>
              <a:pPr algn="ctr" defTabSz="913993">
                <a:defRPr/>
              </a:pPr>
              <a:r>
                <a:rPr lang="en-US" sz="999">
                  <a:solidFill>
                    <a:prstClr val="black"/>
                  </a:solidFill>
                </a:rPr>
                <a:t>Innovation TRIOs</a:t>
              </a:r>
            </a:p>
          </p:txBody>
        </p:sp>
        <p:grpSp>
          <p:nvGrpSpPr>
            <p:cNvPr id="8" name="Group 7">
              <a:extLst>
                <a:ext uri="{FF2B5EF4-FFF2-40B4-BE49-F238E27FC236}">
                  <a16:creationId xmlns:a16="http://schemas.microsoft.com/office/drawing/2014/main" id="{57B3A9BC-3294-A439-12C1-E6342296EB3B}"/>
                </a:ext>
              </a:extLst>
            </p:cNvPr>
            <p:cNvGrpSpPr>
              <a:grpSpLocks/>
            </p:cNvGrpSpPr>
            <p:nvPr/>
          </p:nvGrpSpPr>
          <p:grpSpPr bwMode="auto">
            <a:xfrm>
              <a:off x="11308529" y="221708"/>
              <a:ext cx="615373" cy="614927"/>
              <a:chOff x="3955" y="2484"/>
              <a:chExt cx="1814" cy="1813"/>
            </a:xfrm>
            <a:solidFill>
              <a:srgbClr val="BEBEBE"/>
            </a:solidFill>
          </p:grpSpPr>
          <p:sp>
            <p:nvSpPr>
              <p:cNvPr id="11" name="Freeform 17">
                <a:extLst>
                  <a:ext uri="{FF2B5EF4-FFF2-40B4-BE49-F238E27FC236}">
                    <a16:creationId xmlns:a16="http://schemas.microsoft.com/office/drawing/2014/main" id="{EAB076C7-B598-F5A8-F3C8-566730655583}"/>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799"/>
              </a:p>
            </p:txBody>
          </p:sp>
          <p:sp>
            <p:nvSpPr>
              <p:cNvPr id="12" name="Freeform 18">
                <a:extLst>
                  <a:ext uri="{FF2B5EF4-FFF2-40B4-BE49-F238E27FC236}">
                    <a16:creationId xmlns:a16="http://schemas.microsoft.com/office/drawing/2014/main" id="{D53AAA3E-34E1-F0FB-7FCD-4A11A634AC0E}"/>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E60000"/>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13" name="Freeform 19">
                <a:extLst>
                  <a:ext uri="{FF2B5EF4-FFF2-40B4-BE49-F238E27FC236}">
                    <a16:creationId xmlns:a16="http://schemas.microsoft.com/office/drawing/2014/main" id="{D3FF699F-233B-F2A6-6DD1-A36C5273F85A}"/>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grpSp>
    </p:spTree>
    <p:custDataLst>
      <p:tags r:id="rId1"/>
    </p:custDataLst>
    <p:extLst>
      <p:ext uri="{BB962C8B-B14F-4D97-AF65-F5344CB8AC3E}">
        <p14:creationId xmlns:p14="http://schemas.microsoft.com/office/powerpoint/2010/main" val="9657802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E14A3-D886-7142-8BD0-78F78A0CCE1D}"/>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170F451-7151-B0A2-0113-F77A46B54044}"/>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9" imgW="361" imgH="373" progId="TCLayout.ActiveDocument.1">
                  <p:embed/>
                </p:oleObj>
              </mc:Choice>
              <mc:Fallback>
                <p:oleObj name="think-cell Slide" r:id="rId9" imgW="361" imgH="373" progId="TCLayout.ActiveDocument.1">
                  <p:embed/>
                  <p:pic>
                    <p:nvPicPr>
                      <p:cNvPr id="19" name="think-cell data - do not delete" hidden="1">
                        <a:extLst>
                          <a:ext uri="{FF2B5EF4-FFF2-40B4-BE49-F238E27FC236}">
                            <a16:creationId xmlns:a16="http://schemas.microsoft.com/office/drawing/2014/main" id="{F170F451-7151-B0A2-0113-F77A46B54044}"/>
                          </a:ext>
                        </a:extLst>
                      </p:cNvPr>
                      <p:cNvPicPr/>
                      <p:nvPr/>
                    </p:nvPicPr>
                    <p:blipFill>
                      <a:blip r:embed="rId10"/>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6824E47A-297A-2430-F795-3AA9BA5F3CBC}"/>
              </a:ext>
            </a:extLst>
          </p:cNvPr>
          <p:cNvSpPr>
            <a:spLocks noGrp="1"/>
          </p:cNvSpPr>
          <p:nvPr>
            <p:ph type="title"/>
            <p:custDataLst>
              <p:tags r:id="rId3"/>
            </p:custDataLst>
          </p:nvPr>
        </p:nvSpPr>
        <p:spPr>
          <a:xfrm>
            <a:off x="582528" y="1786"/>
            <a:ext cx="12238019" cy="941386"/>
          </a:xfrm>
        </p:spPr>
        <p:txBody>
          <a:bodyPr vert="horz">
            <a:normAutofit/>
          </a:bodyPr>
          <a:lstStyle/>
          <a:p>
            <a:pPr>
              <a:lnSpc>
                <a:spcPct val="107000"/>
              </a:lnSpc>
              <a:spcBef>
                <a:spcPts val="0"/>
              </a:spcBef>
            </a:pPr>
            <a:r>
              <a:rPr lang="en-US">
                <a:solidFill>
                  <a:srgbClr val="E60000"/>
                </a:solidFill>
              </a:rPr>
              <a:t>Japan</a:t>
            </a:r>
            <a:r>
              <a:rPr lang="en-US"/>
              <a:t>: PM Takaichi’s agenda is pro-growth</a:t>
            </a:r>
            <a:endParaRPr lang="en-US" spc="-50" dirty="0"/>
          </a:p>
        </p:txBody>
      </p:sp>
      <p:sp>
        <p:nvSpPr>
          <p:cNvPr id="3" name="TextBox 2">
            <a:extLst>
              <a:ext uri="{FF2B5EF4-FFF2-40B4-BE49-F238E27FC236}">
                <a16:creationId xmlns:a16="http://schemas.microsoft.com/office/drawing/2014/main" id="{07186D80-A011-01D1-2F8B-CDADDA9880DF}"/>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Refinitiv, UBS, as of 09 February 2026</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7" name="TextBox 6">
            <a:extLst>
              <a:ext uri="{FF2B5EF4-FFF2-40B4-BE49-F238E27FC236}">
                <a16:creationId xmlns:a16="http://schemas.microsoft.com/office/drawing/2014/main" id="{6BBA64B6-5C57-0A5F-4E46-EBE7D77C3312}"/>
              </a:ext>
            </a:extLst>
          </p:cNvPr>
          <p:cNvSpPr txBox="1"/>
          <p:nvPr>
            <p:custDataLst>
              <p:tags r:id="rId5"/>
            </p:custDataLst>
          </p:nvPr>
        </p:nvSpPr>
        <p:spPr>
          <a:xfrm>
            <a:off x="582528" y="1411176"/>
            <a:ext cx="4520414" cy="365587"/>
          </a:xfrm>
          <a:prstGeom prst="rect">
            <a:avLst/>
          </a:prstGeom>
          <a:noFill/>
        </p:spPr>
        <p:txBody>
          <a:bodyPr vert="horz" wrap="square" lIns="0" tIns="0" rIns="0" bIns="0" rtlCol="0" anchor="t">
            <a:noAutofit/>
          </a:bodyPr>
          <a:lstStyle/>
          <a:p>
            <a:pPr eaLnBrk="1">
              <a:spcBef>
                <a:spcPts val="0"/>
              </a:spcBef>
              <a:spcAft>
                <a:spcPts val="600"/>
              </a:spcAft>
            </a:pPr>
            <a:r>
              <a:rPr lang="en-US" sz="1400" b="1">
                <a:solidFill>
                  <a:srgbClr val="000000"/>
                </a:solidFill>
              </a:rPr>
              <a:t>Takaichi’s administration is popular</a:t>
            </a:r>
            <a:endParaRPr lang="en-US" sz="1399" b="1" dirty="0">
              <a:solidFill>
                <a:srgbClr val="000000"/>
              </a:solidFill>
            </a:endParaRPr>
          </a:p>
          <a:p>
            <a:pPr eaLnBrk="1">
              <a:spcBef>
                <a:spcPts val="0"/>
              </a:spcBef>
              <a:spcAft>
                <a:spcPts val="600"/>
              </a:spcAft>
            </a:pPr>
            <a:r>
              <a:rPr lang="en-US" sz="1400" dirty="0"/>
              <a:t>Number of seats won by the ruling party at the time of dissolution and cabinet approval rating</a:t>
            </a:r>
            <a:endParaRPr lang="en-US" sz="1399" dirty="0">
              <a:highlight>
                <a:srgbClr val="FFFF00"/>
              </a:highlight>
            </a:endParaRPr>
          </a:p>
        </p:txBody>
      </p:sp>
      <p:sp>
        <p:nvSpPr>
          <p:cNvPr id="8" name="TextBox 7">
            <a:extLst>
              <a:ext uri="{FF2B5EF4-FFF2-40B4-BE49-F238E27FC236}">
                <a16:creationId xmlns:a16="http://schemas.microsoft.com/office/drawing/2014/main" id="{C632DECB-80C1-F7E2-CA73-1E26DFF8CB8C}"/>
              </a:ext>
            </a:extLst>
          </p:cNvPr>
          <p:cNvSpPr txBox="1"/>
          <p:nvPr>
            <p:custDataLst>
              <p:tags r:id="rId6"/>
            </p:custDataLst>
          </p:nvPr>
        </p:nvSpPr>
        <p:spPr>
          <a:xfrm>
            <a:off x="7745757"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400" b="1"/>
              <a:t>Recent budget is pro-growth</a:t>
            </a:r>
            <a:endParaRPr lang="en-US" sz="1399" b="1" dirty="0">
              <a:solidFill>
                <a:srgbClr val="000000"/>
              </a:solidFill>
            </a:endParaRPr>
          </a:p>
          <a:p>
            <a:pPr eaLnBrk="1">
              <a:spcBef>
                <a:spcPts val="0"/>
              </a:spcBef>
              <a:spcAft>
                <a:spcPts val="600"/>
              </a:spcAft>
            </a:pPr>
            <a:r>
              <a:rPr lang="qaa-Latn-001" altLang="en-US" sz="1400" kern="0" dirty="0"/>
              <a:t>Government budget (in tr JPY)</a:t>
            </a:r>
            <a:endParaRPr lang="en-US" altLang="en-US" sz="1400" kern="0" dirty="0"/>
          </a:p>
        </p:txBody>
      </p:sp>
      <p:graphicFrame>
        <p:nvGraphicFramePr>
          <p:cNvPr id="13" name="Chart 12"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9E1918B3-3EA4-4C4E-AC2B-9A8C23F1AEB5}"/>
              </a:ext>
            </a:extLst>
          </p:cNvPr>
          <p:cNvGraphicFramePr>
            <a:graphicFrameLocks/>
          </p:cNvGraphicFramePr>
          <p:nvPr>
            <p:extLst>
              <p:ext uri="{D42A27DB-BD31-4B8C-83A1-F6EECF244321}">
                <p14:modId xmlns:p14="http://schemas.microsoft.com/office/powerpoint/2010/main" val="2871701529"/>
              </p:ext>
            </p:extLst>
          </p:nvPr>
        </p:nvGraphicFramePr>
        <p:xfrm>
          <a:off x="7548930" y="2309446"/>
          <a:ext cx="4930458" cy="418660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Chart 1"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FBD427C8-D374-4771-BF21-15E3ECE39A4B}"/>
              </a:ext>
            </a:extLst>
          </p:cNvPr>
          <p:cNvGraphicFramePr>
            <a:graphicFrameLocks/>
          </p:cNvGraphicFramePr>
          <p:nvPr>
            <p:extLst>
              <p:ext uri="{D42A27DB-BD31-4B8C-83A1-F6EECF244321}">
                <p14:modId xmlns:p14="http://schemas.microsoft.com/office/powerpoint/2010/main" val="1804793941"/>
              </p:ext>
            </p:extLst>
          </p:nvPr>
        </p:nvGraphicFramePr>
        <p:xfrm>
          <a:off x="434595" y="2652345"/>
          <a:ext cx="5977928" cy="3929429"/>
        </p:xfrm>
        <a:graphic>
          <a:graphicData uri="http://schemas.openxmlformats.org/drawingml/2006/chart">
            <c:chart xmlns:c="http://schemas.openxmlformats.org/drawingml/2006/chart" xmlns:r="http://schemas.openxmlformats.org/officeDocument/2006/relationships" r:id="rId12"/>
          </a:graphicData>
        </a:graphic>
      </p:graphicFrame>
      <p:grpSp>
        <p:nvGrpSpPr>
          <p:cNvPr id="5" name="Group 4">
            <a:extLst>
              <a:ext uri="{FF2B5EF4-FFF2-40B4-BE49-F238E27FC236}">
                <a16:creationId xmlns:a16="http://schemas.microsoft.com/office/drawing/2014/main" id="{C7D66267-CD6A-0F3A-5CEA-A45F2687A4E2}"/>
              </a:ext>
            </a:extLst>
          </p:cNvPr>
          <p:cNvGrpSpPr>
            <a:grpSpLocks/>
          </p:cNvGrpSpPr>
          <p:nvPr/>
        </p:nvGrpSpPr>
        <p:grpSpPr bwMode="auto">
          <a:xfrm>
            <a:off x="12436207" y="243879"/>
            <a:ext cx="676910" cy="676420"/>
            <a:chOff x="3955" y="2484"/>
            <a:chExt cx="1814" cy="1813"/>
          </a:xfrm>
          <a:solidFill>
            <a:srgbClr val="BEBEBE"/>
          </a:solidFill>
        </p:grpSpPr>
        <p:sp>
          <p:nvSpPr>
            <p:cNvPr id="6" name="Freeform 17">
              <a:extLst>
                <a:ext uri="{FF2B5EF4-FFF2-40B4-BE49-F238E27FC236}">
                  <a16:creationId xmlns:a16="http://schemas.microsoft.com/office/drawing/2014/main" id="{82BFAEC2-3D02-344E-FC21-18D86D04B5C7}"/>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chemeClr val="accent3"/>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9" name="Freeform 18">
              <a:extLst>
                <a:ext uri="{FF2B5EF4-FFF2-40B4-BE49-F238E27FC236}">
                  <a16:creationId xmlns:a16="http://schemas.microsoft.com/office/drawing/2014/main" id="{2BDE6F48-C21A-6F4D-15B3-E1EF967FB71F}"/>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10" name="Freeform 19">
              <a:extLst>
                <a:ext uri="{FF2B5EF4-FFF2-40B4-BE49-F238E27FC236}">
                  <a16:creationId xmlns:a16="http://schemas.microsoft.com/office/drawing/2014/main" id="{C774D936-286D-D99E-42E5-323A6A19018E}"/>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11" name="TextBox 10">
            <a:extLst>
              <a:ext uri="{FF2B5EF4-FFF2-40B4-BE49-F238E27FC236}">
                <a16:creationId xmlns:a16="http://schemas.microsoft.com/office/drawing/2014/main" id="{553E171D-DF10-D870-2794-CA19C115FC1D}"/>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acro</a:t>
            </a:r>
          </a:p>
        </p:txBody>
      </p:sp>
    </p:spTree>
    <p:custDataLst>
      <p:tags r:id="rId1"/>
    </p:custDataLst>
    <p:extLst>
      <p:ext uri="{BB962C8B-B14F-4D97-AF65-F5344CB8AC3E}">
        <p14:creationId xmlns:p14="http://schemas.microsoft.com/office/powerpoint/2010/main" val="461777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C8CAD45-4807-BDFC-7C2E-C51942908610}"/>
              </a:ext>
            </a:extLst>
          </p:cNvPr>
          <p:cNvSpPr>
            <a:spLocks noGrp="1"/>
          </p:cNvSpPr>
          <p:nvPr>
            <p:ph type="title"/>
          </p:nvPr>
        </p:nvSpPr>
        <p:spPr>
          <a:xfrm>
            <a:off x="560565" y="0"/>
            <a:ext cx="12247385" cy="944563"/>
          </a:xfrm>
        </p:spPr>
        <p:txBody>
          <a:bodyPr/>
          <a:lstStyle/>
          <a:p>
            <a:r>
              <a:rPr lang="en-US">
                <a:solidFill>
                  <a:srgbClr val="E60000"/>
                </a:solidFill>
                <a:latin typeface="Frutiger 45 Light"/>
              </a:rPr>
              <a:t>Japan</a:t>
            </a:r>
            <a:r>
              <a:rPr lang="en-US"/>
              <a:t>: Structural reforms boost ROE and EPS growth</a:t>
            </a:r>
            <a:endParaRPr lang="en-US" dirty="0"/>
          </a:p>
        </p:txBody>
      </p:sp>
      <p:sp>
        <p:nvSpPr>
          <p:cNvPr id="16" name="object 12">
            <a:extLst>
              <a:ext uri="{FF2B5EF4-FFF2-40B4-BE49-F238E27FC236}">
                <a16:creationId xmlns:a16="http://schemas.microsoft.com/office/drawing/2014/main" id="{DFF08205-51F5-B3A4-4BF7-387E289C4A1A}"/>
              </a:ext>
            </a:extLst>
          </p:cNvPr>
          <p:cNvSpPr txBox="1"/>
          <p:nvPr/>
        </p:nvSpPr>
        <p:spPr>
          <a:xfrm>
            <a:off x="4650197" y="6802623"/>
            <a:ext cx="7920863" cy="461665"/>
          </a:xfrm>
          <a:prstGeom prst="rect">
            <a:avLst/>
          </a:prstGeom>
        </p:spPr>
        <p:txBody>
          <a:bodyPr vert="horz" wrap="square" lIns="0" tIns="0" rIns="0" bIns="0" rtlCol="0" anchor="b" anchorCtr="0">
            <a:spAutoFit/>
          </a:bodyPr>
          <a:lstStyle/>
          <a:p>
            <a:pPr marL="0" marR="5080" lvl="0" indent="0" algn="r" defTabSz="914400" rtl="0" eaLnBrk="0" fontAlgn="base" latinLnBrk="0" hangingPunct="0">
              <a:lnSpc>
                <a:spcPct val="100000"/>
              </a:lnSpc>
              <a:spcBef>
                <a:spcPts val="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cs typeface="Frutiger 55 Roman"/>
              </a:rPr>
              <a:t>Source: Refinitiv, UBS as of January 2026</a:t>
            </a:r>
          </a:p>
          <a:p>
            <a:pPr marL="0" marR="5080" lvl="0" indent="0" algn="r" defTabSz="914400" rtl="0" eaLnBrk="0" fontAlgn="base" latinLnBrk="0" hangingPunct="0">
              <a:lnSpc>
                <a:spcPct val="100000"/>
              </a:lnSpc>
              <a:spcBef>
                <a:spcPts val="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cs typeface="Frutiger 55 Roman"/>
              </a:rPr>
              <a:t>Charts and scenarios are for illustrative purposes only. Historical performance and forecasts are no guarantee for future performance.</a:t>
            </a:r>
            <a:br>
              <a:rPr kumimoji="0" lang="en-US" sz="1000" b="0" i="0" u="none" strike="noStrike" kern="1200" cap="none" spc="0" normalizeH="0" baseline="0" noProof="0">
                <a:ln>
                  <a:noFill/>
                </a:ln>
                <a:solidFill>
                  <a:prstClr val="black"/>
                </a:solidFill>
                <a:effectLst/>
                <a:uLnTx/>
                <a:uFillTx/>
                <a:latin typeface="Frutiger 45 Light"/>
                <a:cs typeface="Frutiger 55 Roman"/>
              </a:rPr>
            </a:br>
            <a:r>
              <a:rPr kumimoji="0" lang="en-US" sz="1000" b="0" i="0" u="none" strike="noStrike" kern="1200" cap="none" spc="0" normalizeH="0" baseline="0" noProof="0">
                <a:ln>
                  <a:noFill/>
                </a:ln>
                <a:solidFill>
                  <a:prstClr val="black"/>
                </a:solidFill>
                <a:effectLst/>
                <a:uLnTx/>
                <a:uFillTx/>
                <a:latin typeface="Frutiger 45 Light"/>
                <a:cs typeface="Frutiger 55 Roman"/>
              </a:rPr>
              <a:t>Please see important disclaimer at the end of the document.</a:t>
            </a:r>
          </a:p>
        </p:txBody>
      </p:sp>
      <p:sp>
        <p:nvSpPr>
          <p:cNvPr id="33" name="TextBox 32">
            <a:extLst>
              <a:ext uri="{FF2B5EF4-FFF2-40B4-BE49-F238E27FC236}">
                <a16:creationId xmlns:a16="http://schemas.microsoft.com/office/drawing/2014/main" id="{9DBD2B51-7694-CD1D-08EE-1A2F4CFBB5BA}"/>
              </a:ext>
            </a:extLst>
          </p:cNvPr>
          <p:cNvSpPr txBox="1"/>
          <p:nvPr/>
        </p:nvSpPr>
        <p:spPr>
          <a:xfrm>
            <a:off x="636015" y="1374422"/>
            <a:ext cx="5550653" cy="588810"/>
          </a:xfrm>
          <a:prstGeom prst="rect">
            <a:avLst/>
          </a:prstGeom>
          <a:noFill/>
        </p:spPr>
        <p:txBody>
          <a:bodyPr wrap="square" lIns="0" tIns="0" rIns="0" bIns="0" rtlCol="0">
            <a:noAutofit/>
          </a:bodyPr>
          <a:lstStyle/>
          <a:p>
            <a:pPr>
              <a:spcBef>
                <a:spcPts val="0"/>
              </a:spcBef>
            </a:pPr>
            <a:r>
              <a:rPr lang="en-US" sz="1400" b="1">
                <a:latin typeface="+mj-lt"/>
              </a:rPr>
              <a:t>Share </a:t>
            </a:r>
            <a:r>
              <a:rPr lang="en-US" sz="1400" b="1">
                <a:solidFill>
                  <a:srgbClr val="FF0000"/>
                </a:solidFill>
                <a:latin typeface="+mj-lt"/>
              </a:rPr>
              <a:t>buybacks</a:t>
            </a:r>
            <a:r>
              <a:rPr lang="en-US" sz="1400" b="1">
                <a:latin typeface="+mj-lt"/>
              </a:rPr>
              <a:t> at all-time high</a:t>
            </a:r>
          </a:p>
          <a:p>
            <a:pPr>
              <a:spcBef>
                <a:spcPts val="0"/>
              </a:spcBef>
            </a:pPr>
            <a:r>
              <a:rPr lang="en-US" sz="1400"/>
              <a:t>Corporates </a:t>
            </a:r>
            <a:r>
              <a:rPr lang="en-US" sz="1400" dirty="0"/>
              <a:t>gross purchasing value since April (JPY </a:t>
            </a:r>
            <a:r>
              <a:rPr lang="en-US" sz="1400" dirty="0" err="1"/>
              <a:t>tn</a:t>
            </a:r>
            <a:r>
              <a:rPr lang="en-US" sz="1400" dirty="0"/>
              <a:t>)</a:t>
            </a:r>
          </a:p>
        </p:txBody>
      </p:sp>
      <p:sp>
        <p:nvSpPr>
          <p:cNvPr id="9" name="TextBox 8">
            <a:extLst>
              <a:ext uri="{FF2B5EF4-FFF2-40B4-BE49-F238E27FC236}">
                <a16:creationId xmlns:a16="http://schemas.microsoft.com/office/drawing/2014/main" id="{E8A7AA5C-3898-DDDC-EC87-6D893C3CD3C9}"/>
              </a:ext>
            </a:extLst>
          </p:cNvPr>
          <p:cNvSpPr txBox="1"/>
          <p:nvPr/>
        </p:nvSpPr>
        <p:spPr>
          <a:xfrm>
            <a:off x="6833093" y="1372819"/>
            <a:ext cx="5550653" cy="588810"/>
          </a:xfrm>
          <a:prstGeom prst="rect">
            <a:avLst/>
          </a:prstGeom>
          <a:noFill/>
        </p:spPr>
        <p:txBody>
          <a:bodyPr wrap="square" lIns="0" tIns="0" rIns="0" bIns="0" rtlCol="0">
            <a:noAutofit/>
          </a:bodyPr>
          <a:lstStyle/>
          <a:p>
            <a:pPr>
              <a:spcBef>
                <a:spcPts val="0"/>
              </a:spcBef>
            </a:pPr>
            <a:r>
              <a:rPr lang="en-US" sz="1400" b="1">
                <a:solidFill>
                  <a:srgbClr val="FF0000"/>
                </a:solidFill>
                <a:latin typeface="+mj-lt"/>
              </a:rPr>
              <a:t>Robust earnings </a:t>
            </a:r>
            <a:r>
              <a:rPr lang="en-US" sz="1400" b="1">
                <a:latin typeface="+mj-lt"/>
              </a:rPr>
              <a:t>support recent gains</a:t>
            </a:r>
          </a:p>
          <a:p>
            <a:pPr>
              <a:spcBef>
                <a:spcPts val="0"/>
              </a:spcBef>
            </a:pPr>
            <a:r>
              <a:rPr lang="en-US" sz="1400">
                <a:latin typeface="+mj-lt"/>
              </a:rPr>
              <a:t>Topix</a:t>
            </a:r>
            <a:r>
              <a:rPr lang="en-US" sz="1400" dirty="0">
                <a:latin typeface="+mj-lt"/>
              </a:rPr>
              <a:t>, 12-month forward EPS</a:t>
            </a:r>
          </a:p>
        </p:txBody>
      </p:sp>
      <p:graphicFrame>
        <p:nvGraphicFramePr>
          <p:cNvPr id="14" name="Content Placeholder 13"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2DFC2438-C57B-E545-FD83-8D9C0ED632E8}"/>
              </a:ext>
            </a:extLst>
          </p:cNvPr>
          <p:cNvGraphicFramePr>
            <a:graphicFrameLocks/>
          </p:cNvGraphicFramePr>
          <p:nvPr>
            <p:extLst>
              <p:ext uri="{D42A27DB-BD31-4B8C-83A1-F6EECF244321}">
                <p14:modId xmlns:p14="http://schemas.microsoft.com/office/powerpoint/2010/main" val="2334386298"/>
              </p:ext>
            </p:extLst>
          </p:nvPr>
        </p:nvGraphicFramePr>
        <p:xfrm>
          <a:off x="6867525" y="2216150"/>
          <a:ext cx="5940425" cy="41179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グラフ 14">
            <a:extLst>
              <a:ext uri="{FF2B5EF4-FFF2-40B4-BE49-F238E27FC236}">
                <a16:creationId xmlns:a16="http://schemas.microsoft.com/office/drawing/2014/main" id="{68024AFE-2F9F-4D5E-B322-6367952EFDED}"/>
              </a:ext>
            </a:extLst>
          </p:cNvPr>
          <p:cNvGraphicFramePr>
            <a:graphicFrameLocks/>
          </p:cNvGraphicFramePr>
          <p:nvPr>
            <p:extLst>
              <p:ext uri="{D42A27DB-BD31-4B8C-83A1-F6EECF244321}">
                <p14:modId xmlns:p14="http://schemas.microsoft.com/office/powerpoint/2010/main" val="3944834247"/>
              </p:ext>
            </p:extLst>
          </p:nvPr>
        </p:nvGraphicFramePr>
        <p:xfrm>
          <a:off x="563297" y="2216887"/>
          <a:ext cx="5940425" cy="3856038"/>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4">
            <a:extLst>
              <a:ext uri="{FF2B5EF4-FFF2-40B4-BE49-F238E27FC236}">
                <a16:creationId xmlns:a16="http://schemas.microsoft.com/office/drawing/2014/main" id="{E5B92F43-7835-174E-3BE8-91B6F226AFA9}"/>
              </a:ext>
            </a:extLst>
          </p:cNvPr>
          <p:cNvGrpSpPr>
            <a:grpSpLocks/>
          </p:cNvGrpSpPr>
          <p:nvPr/>
        </p:nvGrpSpPr>
        <p:grpSpPr bwMode="auto">
          <a:xfrm>
            <a:off x="12436207" y="243879"/>
            <a:ext cx="676910" cy="676420"/>
            <a:chOff x="3955" y="2484"/>
            <a:chExt cx="1814" cy="1813"/>
          </a:xfrm>
          <a:solidFill>
            <a:srgbClr val="BEBEBE"/>
          </a:solidFill>
        </p:grpSpPr>
        <p:sp>
          <p:nvSpPr>
            <p:cNvPr id="6" name="Freeform 17">
              <a:extLst>
                <a:ext uri="{FF2B5EF4-FFF2-40B4-BE49-F238E27FC236}">
                  <a16:creationId xmlns:a16="http://schemas.microsoft.com/office/drawing/2014/main" id="{F3002A02-539B-9AC1-C105-E434576C3A86}"/>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15" name="Freeform 18">
              <a:extLst>
                <a:ext uri="{FF2B5EF4-FFF2-40B4-BE49-F238E27FC236}">
                  <a16:creationId xmlns:a16="http://schemas.microsoft.com/office/drawing/2014/main" id="{FE558875-110C-0012-CFD0-A9A69604C6AA}"/>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17" name="Freeform 19">
              <a:extLst>
                <a:ext uri="{FF2B5EF4-FFF2-40B4-BE49-F238E27FC236}">
                  <a16:creationId xmlns:a16="http://schemas.microsoft.com/office/drawing/2014/main" id="{0BB88D40-AA4D-EF95-FB1B-40EC398E6628}"/>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CCCABC"/>
            </a:solidFill>
            <a:ln w="19050" cap="flat" cmpd="sng">
              <a:solidFill>
                <a:srgbClr val="CCCABC"/>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18" name="TextBox 17">
            <a:extLst>
              <a:ext uri="{FF2B5EF4-FFF2-40B4-BE49-F238E27FC236}">
                <a16:creationId xmlns:a16="http://schemas.microsoft.com/office/drawing/2014/main" id="{1A084E99-1C82-DB71-7200-D65105EBF621}"/>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icro</a:t>
            </a:r>
          </a:p>
        </p:txBody>
      </p:sp>
    </p:spTree>
    <p:extLst>
      <p:ext uri="{BB962C8B-B14F-4D97-AF65-F5344CB8AC3E}">
        <p14:creationId xmlns:p14="http://schemas.microsoft.com/office/powerpoint/2010/main" val="1504161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53218-9C23-CE57-27B2-F7D85390277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A3D72FE-674F-5D68-2301-17701F797C7A}"/>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9" imgW="361" imgH="373" progId="TCLayout.ActiveDocument.1">
                  <p:embed/>
                </p:oleObj>
              </mc:Choice>
              <mc:Fallback>
                <p:oleObj name="think-cell Slide" r:id="rId9" imgW="361" imgH="373" progId="TCLayout.ActiveDocument.1">
                  <p:embed/>
                  <p:pic>
                    <p:nvPicPr>
                      <p:cNvPr id="19" name="think-cell data - do not delete" hidden="1">
                        <a:extLst>
                          <a:ext uri="{FF2B5EF4-FFF2-40B4-BE49-F238E27FC236}">
                            <a16:creationId xmlns:a16="http://schemas.microsoft.com/office/drawing/2014/main" id="{FA3D72FE-674F-5D68-2301-17701F797C7A}"/>
                          </a:ext>
                        </a:extLst>
                      </p:cNvPr>
                      <p:cNvPicPr/>
                      <p:nvPr/>
                    </p:nvPicPr>
                    <p:blipFill>
                      <a:blip r:embed="rId10"/>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E6960219-A7F3-F1B0-1799-92985058C225}"/>
              </a:ext>
            </a:extLst>
          </p:cNvPr>
          <p:cNvSpPr>
            <a:spLocks noGrp="1"/>
          </p:cNvSpPr>
          <p:nvPr>
            <p:ph type="title"/>
            <p:custDataLst>
              <p:tags r:id="rId3"/>
            </p:custDataLst>
          </p:nvPr>
        </p:nvSpPr>
        <p:spPr>
          <a:xfrm>
            <a:off x="582528" y="1786"/>
            <a:ext cx="12238019" cy="941386"/>
          </a:xfrm>
        </p:spPr>
        <p:txBody>
          <a:bodyPr vert="horz">
            <a:normAutofit/>
          </a:bodyPr>
          <a:lstStyle/>
          <a:p>
            <a:pPr>
              <a:lnSpc>
                <a:spcPct val="107000"/>
              </a:lnSpc>
              <a:spcBef>
                <a:spcPts val="0"/>
              </a:spcBef>
            </a:pPr>
            <a:r>
              <a:rPr lang="en-US">
                <a:solidFill>
                  <a:srgbClr val="E60000"/>
                </a:solidFill>
              </a:rPr>
              <a:t>EM</a:t>
            </a:r>
            <a:r>
              <a:rPr lang="qaa-Latn-001">
                <a:solidFill>
                  <a:srgbClr val="E60000"/>
                </a:solidFill>
              </a:rPr>
              <a:t> / Asia</a:t>
            </a:r>
            <a:r>
              <a:rPr lang="en-US">
                <a:solidFill>
                  <a:srgbClr val="E60000"/>
                </a:solidFill>
              </a:rPr>
              <a:t>: </a:t>
            </a:r>
            <a:r>
              <a:rPr lang="en-US"/>
              <a:t>Supportive macro conditions</a:t>
            </a:r>
            <a:endParaRPr lang="en-GB" spc="-50"/>
          </a:p>
        </p:txBody>
      </p:sp>
      <p:sp>
        <p:nvSpPr>
          <p:cNvPr id="3" name="TextBox 2">
            <a:extLst>
              <a:ext uri="{FF2B5EF4-FFF2-40B4-BE49-F238E27FC236}">
                <a16:creationId xmlns:a16="http://schemas.microsoft.com/office/drawing/2014/main" id="{62402D4D-0F89-4843-464B-A9A6D7326208}"/>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Datastream, UBS as of 31 January 2026</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9" name="TextBox 8">
            <a:extLst>
              <a:ext uri="{FF2B5EF4-FFF2-40B4-BE49-F238E27FC236}">
                <a16:creationId xmlns:a16="http://schemas.microsoft.com/office/drawing/2014/main" id="{413C5D0F-5258-F6C2-32BA-514A42E49C14}"/>
              </a:ext>
            </a:extLst>
          </p:cNvPr>
          <p:cNvSpPr txBox="1"/>
          <p:nvPr>
            <p:custDataLst>
              <p:tags r:id="rId5"/>
            </p:custDataLst>
          </p:nvPr>
        </p:nvSpPr>
        <p:spPr>
          <a:xfrm>
            <a:off x="7420546" y="1420697"/>
            <a:ext cx="5400001" cy="365587"/>
          </a:xfrm>
          <a:prstGeom prst="rect">
            <a:avLst/>
          </a:prstGeom>
          <a:noFill/>
        </p:spPr>
        <p:txBody>
          <a:bodyPr vert="horz" wrap="square" lIns="0" tIns="0" rIns="0" bIns="0" rtlCol="0" anchor="t">
            <a:noAutofit/>
          </a:bodyPr>
          <a:lstStyle/>
          <a:p>
            <a:pPr defTabSz="912176">
              <a:spcBef>
                <a:spcPts val="0"/>
              </a:spcBef>
              <a:spcAft>
                <a:spcPts val="600"/>
              </a:spcAft>
            </a:pPr>
            <a:r>
              <a:rPr lang="en-US" sz="1399" b="1" dirty="0">
                <a:solidFill>
                  <a:srgbClr val="FF0000"/>
                </a:solidFill>
              </a:rPr>
              <a:t>Softer USD </a:t>
            </a:r>
            <a:r>
              <a:rPr lang="en-US" sz="1399" b="1" dirty="0">
                <a:solidFill>
                  <a:prstClr val="black"/>
                </a:solidFill>
              </a:rPr>
              <a:t>also helps</a:t>
            </a:r>
          </a:p>
          <a:p>
            <a:pPr>
              <a:spcBef>
                <a:spcPts val="0"/>
              </a:spcBef>
            </a:pPr>
            <a:r>
              <a:rPr lang="en-US" sz="1400" dirty="0"/>
              <a:t>3m change in EM equities vs 3m change in DXY index</a:t>
            </a:r>
          </a:p>
        </p:txBody>
      </p:sp>
      <p:sp>
        <p:nvSpPr>
          <p:cNvPr id="10" name="TextBox 9">
            <a:extLst>
              <a:ext uri="{FF2B5EF4-FFF2-40B4-BE49-F238E27FC236}">
                <a16:creationId xmlns:a16="http://schemas.microsoft.com/office/drawing/2014/main" id="{F489A331-1E04-C5A4-ECB9-BB97BEFA6991}"/>
              </a:ext>
            </a:extLst>
          </p:cNvPr>
          <p:cNvSpPr txBox="1"/>
          <p:nvPr>
            <p:custDataLst>
              <p:tags r:id="rId6"/>
            </p:custDataLst>
          </p:nvPr>
        </p:nvSpPr>
        <p:spPr>
          <a:xfrm>
            <a:off x="582528" y="1420697"/>
            <a:ext cx="5400000"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dirty="0">
                <a:solidFill>
                  <a:srgbClr val="000000"/>
                </a:solidFill>
              </a:rPr>
              <a:t>Recent </a:t>
            </a:r>
            <a:r>
              <a:rPr lang="en-US" sz="1399" b="1" dirty="0">
                <a:solidFill>
                  <a:srgbClr val="FF0000"/>
                </a:solidFill>
              </a:rPr>
              <a:t>central bank cuts </a:t>
            </a:r>
            <a:r>
              <a:rPr lang="en-US" sz="1399" b="1" dirty="0">
                <a:solidFill>
                  <a:srgbClr val="000000"/>
                </a:solidFill>
              </a:rPr>
              <a:t>remain a tailwind</a:t>
            </a:r>
          </a:p>
          <a:p>
            <a:pPr eaLnBrk="1">
              <a:spcBef>
                <a:spcPts val="0"/>
              </a:spcBef>
              <a:spcAft>
                <a:spcPts val="600"/>
              </a:spcAft>
            </a:pPr>
            <a:r>
              <a:rPr lang="en-US" altLang="en-US" sz="1400" dirty="0"/>
              <a:t>Average price return around first Fed rate cut</a:t>
            </a:r>
          </a:p>
        </p:txBody>
      </p:sp>
      <p:graphicFrame>
        <p:nvGraphicFramePr>
          <p:cNvPr id="6" name="Content Placeholder 8"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V&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F294DE30-D03F-843B-7CAF-8B68D35DA5F9}"/>
              </a:ext>
            </a:extLst>
          </p:cNvPr>
          <p:cNvGraphicFramePr>
            <a:graphicFrameLocks/>
          </p:cNvGraphicFramePr>
          <p:nvPr>
            <p:extLst>
              <p:ext uri="{D42A27DB-BD31-4B8C-83A1-F6EECF244321}">
                <p14:modId xmlns:p14="http://schemas.microsoft.com/office/powerpoint/2010/main" val="1254045189"/>
              </p:ext>
            </p:extLst>
          </p:nvPr>
        </p:nvGraphicFramePr>
        <p:xfrm>
          <a:off x="560388" y="2216150"/>
          <a:ext cx="5940425" cy="426085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 name="Content Placeholder 9"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CC3F2118-1F2A-D853-18A9-B879A4575E5E}"/>
              </a:ext>
            </a:extLst>
          </p:cNvPr>
          <p:cNvGraphicFramePr>
            <a:graphicFrameLocks/>
          </p:cNvGraphicFramePr>
          <p:nvPr>
            <p:extLst>
              <p:ext uri="{D42A27DB-BD31-4B8C-83A1-F6EECF244321}">
                <p14:modId xmlns:p14="http://schemas.microsoft.com/office/powerpoint/2010/main" val="3820794599"/>
              </p:ext>
            </p:extLst>
          </p:nvPr>
        </p:nvGraphicFramePr>
        <p:xfrm>
          <a:off x="6904039" y="2263809"/>
          <a:ext cx="5940425" cy="3857625"/>
        </p:xfrm>
        <a:graphic>
          <a:graphicData uri="http://schemas.openxmlformats.org/drawingml/2006/chart">
            <c:chart xmlns:c="http://schemas.openxmlformats.org/drawingml/2006/chart" xmlns:r="http://schemas.openxmlformats.org/officeDocument/2006/relationships" r:id="rId12"/>
          </a:graphicData>
        </a:graphic>
      </p:graphicFrame>
      <p:grpSp>
        <p:nvGrpSpPr>
          <p:cNvPr id="2" name="Group 1">
            <a:extLst>
              <a:ext uri="{FF2B5EF4-FFF2-40B4-BE49-F238E27FC236}">
                <a16:creationId xmlns:a16="http://schemas.microsoft.com/office/drawing/2014/main" id="{43591103-BBE5-8642-BA6D-25B128BE481B}"/>
              </a:ext>
            </a:extLst>
          </p:cNvPr>
          <p:cNvGrpSpPr>
            <a:grpSpLocks/>
          </p:cNvGrpSpPr>
          <p:nvPr/>
        </p:nvGrpSpPr>
        <p:grpSpPr bwMode="auto">
          <a:xfrm>
            <a:off x="12436207" y="243879"/>
            <a:ext cx="676910" cy="676420"/>
            <a:chOff x="3955" y="2484"/>
            <a:chExt cx="1814" cy="1813"/>
          </a:xfrm>
          <a:solidFill>
            <a:srgbClr val="BEBEBE"/>
          </a:solidFill>
        </p:grpSpPr>
        <p:sp>
          <p:nvSpPr>
            <p:cNvPr id="5" name="Freeform 17">
              <a:extLst>
                <a:ext uri="{FF2B5EF4-FFF2-40B4-BE49-F238E27FC236}">
                  <a16:creationId xmlns:a16="http://schemas.microsoft.com/office/drawing/2014/main" id="{F1111149-0342-0AED-CEE1-F4D2ED77E255}"/>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chemeClr val="accent3"/>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8" name="Freeform 18">
              <a:extLst>
                <a:ext uri="{FF2B5EF4-FFF2-40B4-BE49-F238E27FC236}">
                  <a16:creationId xmlns:a16="http://schemas.microsoft.com/office/drawing/2014/main" id="{1CEA30C5-9DA1-938D-BFBB-231EDA96638F}"/>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11" name="Freeform 19">
              <a:extLst>
                <a:ext uri="{FF2B5EF4-FFF2-40B4-BE49-F238E27FC236}">
                  <a16:creationId xmlns:a16="http://schemas.microsoft.com/office/drawing/2014/main" id="{A2A6C904-7F69-8CEC-EDE1-69FCB73EC4FA}"/>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12" name="TextBox 11">
            <a:extLst>
              <a:ext uri="{FF2B5EF4-FFF2-40B4-BE49-F238E27FC236}">
                <a16:creationId xmlns:a16="http://schemas.microsoft.com/office/drawing/2014/main" id="{BC68E9B6-99E4-A33A-B0D9-22341405D51D}"/>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acro</a:t>
            </a:r>
          </a:p>
        </p:txBody>
      </p:sp>
    </p:spTree>
    <p:custDataLst>
      <p:tags r:id="rId1"/>
    </p:custDataLst>
    <p:extLst>
      <p:ext uri="{BB962C8B-B14F-4D97-AF65-F5344CB8AC3E}">
        <p14:creationId xmlns:p14="http://schemas.microsoft.com/office/powerpoint/2010/main" val="27751211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5DB83B-3682-E448-954D-5722DAEE9C9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C6D824E-1DB8-BCAD-1ECC-B29F06AD72EE}"/>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9" imgW="361" imgH="373" progId="TCLayout.ActiveDocument.1">
                  <p:embed/>
                </p:oleObj>
              </mc:Choice>
              <mc:Fallback>
                <p:oleObj name="think-cell Slide" r:id="rId9" imgW="361" imgH="373" progId="TCLayout.ActiveDocument.1">
                  <p:embed/>
                  <p:pic>
                    <p:nvPicPr>
                      <p:cNvPr id="19" name="think-cell data - do not delete" hidden="1">
                        <a:extLst>
                          <a:ext uri="{FF2B5EF4-FFF2-40B4-BE49-F238E27FC236}">
                            <a16:creationId xmlns:a16="http://schemas.microsoft.com/office/drawing/2014/main" id="{FC6D824E-1DB8-BCAD-1ECC-B29F06AD72EE}"/>
                          </a:ext>
                        </a:extLst>
                      </p:cNvPr>
                      <p:cNvPicPr/>
                      <p:nvPr/>
                    </p:nvPicPr>
                    <p:blipFill>
                      <a:blip r:embed="rId10"/>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5D124855-87B6-EB26-5247-BFB2C1DCDAB1}"/>
              </a:ext>
            </a:extLst>
          </p:cNvPr>
          <p:cNvSpPr>
            <a:spLocks noGrp="1"/>
          </p:cNvSpPr>
          <p:nvPr>
            <p:ph type="title"/>
            <p:custDataLst>
              <p:tags r:id="rId3"/>
            </p:custDataLst>
          </p:nvPr>
        </p:nvSpPr>
        <p:spPr>
          <a:xfrm>
            <a:off x="582528" y="1786"/>
            <a:ext cx="12238019" cy="941386"/>
          </a:xfrm>
        </p:spPr>
        <p:txBody>
          <a:bodyPr vert="horz">
            <a:normAutofit/>
          </a:bodyPr>
          <a:lstStyle/>
          <a:p>
            <a:pPr>
              <a:lnSpc>
                <a:spcPct val="107000"/>
              </a:lnSpc>
              <a:spcBef>
                <a:spcPts val="0"/>
              </a:spcBef>
            </a:pPr>
            <a:r>
              <a:rPr lang="en-US">
                <a:solidFill>
                  <a:srgbClr val="E60000"/>
                </a:solidFill>
              </a:rPr>
              <a:t>China Tech: </a:t>
            </a:r>
            <a:r>
              <a:rPr lang="en-US"/>
              <a:t>Strong earnings growth at reasonable valuation</a:t>
            </a:r>
            <a:endParaRPr lang="en-GB" spc="-50"/>
          </a:p>
        </p:txBody>
      </p:sp>
      <p:sp>
        <p:nvSpPr>
          <p:cNvPr id="3" name="TextBox 2">
            <a:extLst>
              <a:ext uri="{FF2B5EF4-FFF2-40B4-BE49-F238E27FC236}">
                <a16:creationId xmlns:a16="http://schemas.microsoft.com/office/drawing/2014/main" id="{A80EF993-392D-B76E-23FA-803BAF48A637}"/>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Datastream, UBS, as </a:t>
            </a:r>
            <a:r>
              <a:rPr lang="en-US" sz="800" kern="0" dirty="0">
                <a:latin typeface="Frutiger 45 Light" panose="020B0603020202020204" pitchFamily="34" charset="0"/>
              </a:rPr>
              <a:t>of 2 </a:t>
            </a:r>
            <a:r>
              <a:rPr lang="en-US" sz="800" kern="0">
                <a:latin typeface="Frutiger 45 Light" panose="020B0603020202020204" pitchFamily="34" charset="0"/>
              </a:rPr>
              <a:t>January 2026</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13" name="TextBox 12">
            <a:extLst>
              <a:ext uri="{FF2B5EF4-FFF2-40B4-BE49-F238E27FC236}">
                <a16:creationId xmlns:a16="http://schemas.microsoft.com/office/drawing/2014/main" id="{CAFDC934-EADC-C007-F81D-BA0A252B7EF0}"/>
              </a:ext>
            </a:extLst>
          </p:cNvPr>
          <p:cNvSpPr txBox="1"/>
          <p:nvPr>
            <p:custDataLst>
              <p:tags r:id="rId5"/>
            </p:custDataLst>
          </p:nvPr>
        </p:nvSpPr>
        <p:spPr>
          <a:xfrm>
            <a:off x="677776" y="1430951"/>
            <a:ext cx="5532523"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dirty="0">
                <a:solidFill>
                  <a:srgbClr val="FF0000"/>
                </a:solidFill>
              </a:rPr>
              <a:t>Strong earnings </a:t>
            </a:r>
            <a:r>
              <a:rPr lang="en-US" sz="1399" b="1" dirty="0"/>
              <a:t>growth expected in 2026…</a:t>
            </a:r>
          </a:p>
          <a:p>
            <a:pPr eaLnBrk="1">
              <a:spcBef>
                <a:spcPts val="0"/>
              </a:spcBef>
              <a:spcAft>
                <a:spcPts val="600"/>
              </a:spcAft>
            </a:pPr>
            <a:r>
              <a:rPr lang="en-US" sz="1399" dirty="0"/>
              <a:t>Hang Seng </a:t>
            </a:r>
            <a:r>
              <a:rPr lang="en-US" sz="1399"/>
              <a:t>Tech 12 months </a:t>
            </a:r>
            <a:r>
              <a:rPr lang="en-US" sz="1399" dirty="0"/>
              <a:t>trailing EPS (</a:t>
            </a:r>
            <a:r>
              <a:rPr lang="en-US" sz="1399" dirty="0" err="1"/>
              <a:t>lhs</a:t>
            </a:r>
            <a:r>
              <a:rPr lang="en-US" sz="1399" dirty="0"/>
              <a:t>) and price index (</a:t>
            </a:r>
            <a:r>
              <a:rPr lang="en-US" sz="1399" dirty="0" err="1"/>
              <a:t>rhs</a:t>
            </a:r>
            <a:r>
              <a:rPr lang="en-US" sz="1399" dirty="0"/>
              <a:t>), including CIO estimates</a:t>
            </a:r>
          </a:p>
        </p:txBody>
      </p:sp>
      <p:sp>
        <p:nvSpPr>
          <p:cNvPr id="14" name="TextBox 13">
            <a:extLst>
              <a:ext uri="{FF2B5EF4-FFF2-40B4-BE49-F238E27FC236}">
                <a16:creationId xmlns:a16="http://schemas.microsoft.com/office/drawing/2014/main" id="{FB51C1EE-E07E-2F91-B8D0-5810102F0BB8}"/>
              </a:ext>
            </a:extLst>
          </p:cNvPr>
          <p:cNvSpPr txBox="1"/>
          <p:nvPr>
            <p:custDataLst>
              <p:tags r:id="rId6"/>
            </p:custDataLst>
          </p:nvPr>
        </p:nvSpPr>
        <p:spPr>
          <a:xfrm>
            <a:off x="6867992" y="1430951"/>
            <a:ext cx="5532523"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a:solidFill>
                  <a:srgbClr val="FF0000"/>
                </a:solidFill>
              </a:rPr>
              <a:t>Reasonable valuation</a:t>
            </a:r>
            <a:r>
              <a:rPr lang="en-US" sz="1399" b="1"/>
              <a:t>, especially compared with US tech</a:t>
            </a:r>
          </a:p>
          <a:p>
            <a:pPr eaLnBrk="1">
              <a:spcBef>
                <a:spcPts val="0"/>
              </a:spcBef>
              <a:spcAft>
                <a:spcPts val="600"/>
              </a:spcAft>
            </a:pPr>
            <a:r>
              <a:rPr lang="en-US" sz="1399"/>
              <a:t>Hang Seng Tech Index 12-month forward price-to-earnings ratio</a:t>
            </a:r>
            <a:endParaRPr lang="en-US" sz="1399">
              <a:highlight>
                <a:srgbClr val="FF00FF"/>
              </a:highlight>
            </a:endParaRPr>
          </a:p>
        </p:txBody>
      </p:sp>
      <p:graphicFrame>
        <p:nvGraphicFramePr>
          <p:cNvPr id="10" name="Chart 9"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B48540B1-F46F-43EB-976D-564B329E84C8}"/>
              </a:ext>
            </a:extLst>
          </p:cNvPr>
          <p:cNvGraphicFramePr>
            <a:graphicFrameLocks/>
          </p:cNvGraphicFramePr>
          <p:nvPr>
            <p:extLst>
              <p:ext uri="{D42A27DB-BD31-4B8C-83A1-F6EECF244321}">
                <p14:modId xmlns:p14="http://schemas.microsoft.com/office/powerpoint/2010/main" val="1077922506"/>
              </p:ext>
            </p:extLst>
          </p:nvPr>
        </p:nvGraphicFramePr>
        <p:xfrm>
          <a:off x="6886575" y="2675140"/>
          <a:ext cx="5581650" cy="365586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6" name="Chart 5"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00000000-0008-0000-3100-000002000000}"/>
              </a:ext>
            </a:extLst>
          </p:cNvPr>
          <p:cNvGraphicFramePr>
            <a:graphicFrameLocks/>
          </p:cNvGraphicFramePr>
          <p:nvPr>
            <p:extLst>
              <p:ext uri="{D42A27DB-BD31-4B8C-83A1-F6EECF244321}">
                <p14:modId xmlns:p14="http://schemas.microsoft.com/office/powerpoint/2010/main" val="3526991179"/>
              </p:ext>
            </p:extLst>
          </p:nvPr>
        </p:nvGraphicFramePr>
        <p:xfrm>
          <a:off x="677776" y="2675140"/>
          <a:ext cx="5532523" cy="3655868"/>
        </p:xfrm>
        <a:graphic>
          <a:graphicData uri="http://schemas.openxmlformats.org/drawingml/2006/chart">
            <c:chart xmlns:c="http://schemas.openxmlformats.org/drawingml/2006/chart" xmlns:r="http://schemas.openxmlformats.org/officeDocument/2006/relationships" r:id="rId12"/>
          </a:graphicData>
        </a:graphic>
      </p:graphicFrame>
      <p:grpSp>
        <p:nvGrpSpPr>
          <p:cNvPr id="16" name="Group 15">
            <a:extLst>
              <a:ext uri="{FF2B5EF4-FFF2-40B4-BE49-F238E27FC236}">
                <a16:creationId xmlns:a16="http://schemas.microsoft.com/office/drawing/2014/main" id="{F980B300-AA00-F030-A129-C963D89EF02E}"/>
              </a:ext>
            </a:extLst>
          </p:cNvPr>
          <p:cNvGrpSpPr>
            <a:grpSpLocks/>
          </p:cNvGrpSpPr>
          <p:nvPr/>
        </p:nvGrpSpPr>
        <p:grpSpPr bwMode="auto">
          <a:xfrm>
            <a:off x="12436207" y="243879"/>
            <a:ext cx="676910" cy="676420"/>
            <a:chOff x="3955" y="2484"/>
            <a:chExt cx="1814" cy="1813"/>
          </a:xfrm>
          <a:solidFill>
            <a:srgbClr val="BEBEBE"/>
          </a:solidFill>
        </p:grpSpPr>
        <p:sp>
          <p:nvSpPr>
            <p:cNvPr id="17" name="Freeform 17">
              <a:extLst>
                <a:ext uri="{FF2B5EF4-FFF2-40B4-BE49-F238E27FC236}">
                  <a16:creationId xmlns:a16="http://schemas.microsoft.com/office/drawing/2014/main" id="{BBC009CA-0799-3D1F-CDFB-ED92A6EFF35D}"/>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18" name="Freeform 18">
              <a:extLst>
                <a:ext uri="{FF2B5EF4-FFF2-40B4-BE49-F238E27FC236}">
                  <a16:creationId xmlns:a16="http://schemas.microsoft.com/office/drawing/2014/main" id="{3C551D6B-485F-39AB-375C-83B3FC9AC565}"/>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20" name="Freeform 19">
              <a:extLst>
                <a:ext uri="{FF2B5EF4-FFF2-40B4-BE49-F238E27FC236}">
                  <a16:creationId xmlns:a16="http://schemas.microsoft.com/office/drawing/2014/main" id="{BB003975-9B89-E07F-148F-E1AECDAA4D93}"/>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CCCABC"/>
            </a:solidFill>
            <a:ln w="19050" cap="flat" cmpd="sng">
              <a:solidFill>
                <a:srgbClr val="CCCABC"/>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21" name="TextBox 20">
            <a:extLst>
              <a:ext uri="{FF2B5EF4-FFF2-40B4-BE49-F238E27FC236}">
                <a16:creationId xmlns:a16="http://schemas.microsoft.com/office/drawing/2014/main" id="{0DD409AD-63B6-B4F4-CD12-74504D9CD0FC}"/>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icro</a:t>
            </a:r>
          </a:p>
        </p:txBody>
      </p:sp>
    </p:spTree>
    <p:custDataLst>
      <p:tags r:id="rId1"/>
    </p:custDataLst>
    <p:extLst>
      <p:ext uri="{BB962C8B-B14F-4D97-AF65-F5344CB8AC3E}">
        <p14:creationId xmlns:p14="http://schemas.microsoft.com/office/powerpoint/2010/main" val="21930798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A1D29-6010-5354-6738-3DBDE8BB09F8}"/>
            </a:ext>
          </a:extLst>
        </p:cNvPr>
        <p:cNvGrpSpPr/>
        <p:nvPr/>
      </p:nvGrpSpPr>
      <p:grpSpPr>
        <a:xfrm>
          <a:off x="0" y="0"/>
          <a:ext cx="0" cy="0"/>
          <a:chOff x="0" y="0"/>
          <a:chExt cx="0" cy="0"/>
        </a:xfrm>
      </p:grpSpPr>
      <p:graphicFrame>
        <p:nvGraphicFramePr>
          <p:cNvPr id="7" name="Chart 6"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984ACDDE-26C7-BF70-8AD1-915A1DC7208C}"/>
              </a:ext>
            </a:extLst>
          </p:cNvPr>
          <p:cNvGraphicFramePr>
            <a:graphicFrameLocks/>
          </p:cNvGraphicFramePr>
          <p:nvPr>
            <p:extLst>
              <p:ext uri="{D42A27DB-BD31-4B8C-83A1-F6EECF244321}">
                <p14:modId xmlns:p14="http://schemas.microsoft.com/office/powerpoint/2010/main" val="3824479086"/>
              </p:ext>
            </p:extLst>
          </p:nvPr>
        </p:nvGraphicFramePr>
        <p:xfrm>
          <a:off x="6903944" y="2264524"/>
          <a:ext cx="5936400" cy="38556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 name="Chart 5"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V&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51A6FC72-0EF4-9CCA-76D9-7D3657F64623}"/>
              </a:ext>
            </a:extLst>
          </p:cNvPr>
          <p:cNvGraphicFramePr>
            <a:graphicFrameLocks/>
          </p:cNvGraphicFramePr>
          <p:nvPr>
            <p:extLst>
              <p:ext uri="{D42A27DB-BD31-4B8C-83A1-F6EECF244321}">
                <p14:modId xmlns:p14="http://schemas.microsoft.com/office/powerpoint/2010/main" val="2351289789"/>
              </p:ext>
            </p:extLst>
          </p:nvPr>
        </p:nvGraphicFramePr>
        <p:xfrm>
          <a:off x="563297" y="2216887"/>
          <a:ext cx="5936400" cy="38556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9" name="think-cell data - do not delete" hidden="1">
            <a:extLst>
              <a:ext uri="{FF2B5EF4-FFF2-40B4-BE49-F238E27FC236}">
                <a16:creationId xmlns:a16="http://schemas.microsoft.com/office/drawing/2014/main" id="{67680A57-7AF7-B615-537E-33D15285BCE9}"/>
              </a:ext>
            </a:extLst>
          </p:cNvPr>
          <p:cNvGraphicFramePr>
            <a:graphicFrameLocks noChangeAspect="1"/>
          </p:cNvGraphicFramePr>
          <p:nvPr>
            <p:custDataLst>
              <p:tags r:id="rId2"/>
            </p:custDataLst>
          </p:nvPr>
        </p:nvGraphicFramePr>
        <p:xfrm>
          <a:off x="4760" y="5158"/>
          <a:ext cx="1587" cy="1587"/>
        </p:xfrm>
        <a:graphic>
          <a:graphicData uri="http://schemas.openxmlformats.org/presentationml/2006/ole">
            <mc:AlternateContent xmlns:mc="http://schemas.openxmlformats.org/markup-compatibility/2006">
              <mc:Choice xmlns:v="urn:schemas-microsoft-com:vml" Requires="v">
                <p:oleObj name="think-cell Slide" r:id="rId11" imgW="361" imgH="373" progId="TCLayout.ActiveDocument.1">
                  <p:embed/>
                </p:oleObj>
              </mc:Choice>
              <mc:Fallback>
                <p:oleObj name="think-cell Slide" r:id="rId11" imgW="361" imgH="373" progId="TCLayout.ActiveDocument.1">
                  <p:embed/>
                  <p:pic>
                    <p:nvPicPr>
                      <p:cNvPr id="19" name="think-cell data - do not delete" hidden="1">
                        <a:extLst>
                          <a:ext uri="{FF2B5EF4-FFF2-40B4-BE49-F238E27FC236}">
                            <a16:creationId xmlns:a16="http://schemas.microsoft.com/office/drawing/2014/main" id="{67680A57-7AF7-B615-537E-33D15285BCE9}"/>
                          </a:ext>
                        </a:extLst>
                      </p:cNvPr>
                      <p:cNvPicPr/>
                      <p:nvPr/>
                    </p:nvPicPr>
                    <p:blipFill>
                      <a:blip r:embed="rId12"/>
                      <a:stretch>
                        <a:fillRect/>
                      </a:stretch>
                    </p:blipFill>
                    <p:spPr>
                      <a:xfrm>
                        <a:off x="4760" y="5158"/>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27B34506-7EFC-A167-12ED-617822546DDC}"/>
              </a:ext>
            </a:extLst>
          </p:cNvPr>
          <p:cNvSpPr>
            <a:spLocks noGrp="1"/>
          </p:cNvSpPr>
          <p:nvPr>
            <p:ph type="title"/>
            <p:custDataLst>
              <p:tags r:id="rId3"/>
            </p:custDataLst>
          </p:nvPr>
        </p:nvSpPr>
        <p:spPr>
          <a:xfrm>
            <a:off x="585426" y="3572"/>
            <a:ext cx="12232225" cy="940940"/>
          </a:xfrm>
        </p:spPr>
        <p:txBody>
          <a:bodyPr vert="horz">
            <a:normAutofit/>
          </a:bodyPr>
          <a:lstStyle/>
          <a:p>
            <a:pPr>
              <a:lnSpc>
                <a:spcPct val="107000"/>
              </a:lnSpc>
              <a:spcBef>
                <a:spcPts val="0"/>
              </a:spcBef>
            </a:pPr>
            <a:r>
              <a:rPr lang="en-US" spc="-70">
                <a:solidFill>
                  <a:srgbClr val="E60000"/>
                </a:solidFill>
              </a:rPr>
              <a:t>EM / Asia:</a:t>
            </a:r>
            <a:r>
              <a:rPr lang="en-US" spc="-70"/>
              <a:t> At the forefront of structural innovation</a:t>
            </a:r>
            <a:endParaRPr lang="en-GB" spc="-49"/>
          </a:p>
        </p:txBody>
      </p:sp>
      <p:sp>
        <p:nvSpPr>
          <p:cNvPr id="3" name="TextBox 2">
            <a:extLst>
              <a:ext uri="{FF2B5EF4-FFF2-40B4-BE49-F238E27FC236}">
                <a16:creationId xmlns:a16="http://schemas.microsoft.com/office/drawing/2014/main" id="{AE9A58D8-5A6D-DAA5-2602-82B15039B47F}"/>
              </a:ext>
            </a:extLst>
          </p:cNvPr>
          <p:cNvSpPr txBox="1"/>
          <p:nvPr>
            <p:custDataLst>
              <p:tags r:id="rId4"/>
            </p:custDataLst>
          </p:nvPr>
        </p:nvSpPr>
        <p:spPr>
          <a:xfrm>
            <a:off x="1869967" y="6814891"/>
            <a:ext cx="10654287" cy="483122"/>
          </a:xfrm>
          <a:prstGeom prst="rect">
            <a:avLst/>
          </a:prstGeom>
          <a:noFill/>
        </p:spPr>
        <p:txBody>
          <a:bodyPr vert="horz" wrap="square" lIns="0" tIns="0" rIns="0" bIns="0" rtlCol="0" anchor="b" anchorCtr="0">
            <a:noAutofit/>
          </a:bodyPr>
          <a:lstStyle/>
          <a:p>
            <a:pPr algn="r">
              <a:spcAft>
                <a:spcPts val="599"/>
              </a:spcAft>
            </a:pPr>
            <a:r>
              <a:rPr lang="en-US" sz="799" kern="0" dirty="0">
                <a:latin typeface="Frutiger 45 Light" panose="020B0603020202020204" pitchFamily="34" charset="0"/>
              </a:rPr>
              <a:t>Source: Morgan Stanely research, Gartner, WSTS, IAEA Power Reactor Information System, UBS, as of Mar 2026</a:t>
            </a:r>
            <a:br>
              <a:rPr lang="en-US" sz="799" kern="0" dirty="0">
                <a:latin typeface="Frutiger 45 Light" panose="020B0603020202020204" pitchFamily="34" charset="0"/>
              </a:rPr>
            </a:br>
            <a:r>
              <a:rPr lang="en-US" sz="799" kern="0" dirty="0">
                <a:latin typeface="Frutiger 45 Light" panose="020B0603020202020204" pitchFamily="34" charset="0"/>
              </a:rPr>
              <a:t>Charts and scenarios are for illustrative purposes only. Historical performance and forecasts are no guarantee for future performance.</a:t>
            </a:r>
            <a:br>
              <a:rPr lang="en-US" sz="799" kern="0" dirty="0">
                <a:latin typeface="Frutiger 45 Light" panose="020B0603020202020204" pitchFamily="34" charset="0"/>
              </a:rPr>
            </a:br>
            <a:r>
              <a:rPr lang="en-US" sz="799" kern="0" dirty="0">
                <a:latin typeface="Frutiger 45 Light" panose="020B0603020202020204" pitchFamily="34" charset="0"/>
              </a:rPr>
              <a:t>Please see important disclaimer at the end of the document.</a:t>
            </a:r>
          </a:p>
        </p:txBody>
      </p:sp>
      <p:sp>
        <p:nvSpPr>
          <p:cNvPr id="9" name="TextBox 8">
            <a:extLst>
              <a:ext uri="{FF2B5EF4-FFF2-40B4-BE49-F238E27FC236}">
                <a16:creationId xmlns:a16="http://schemas.microsoft.com/office/drawing/2014/main" id="{775E4B96-A32D-3F86-037C-33A14EB2F82B}"/>
              </a:ext>
            </a:extLst>
          </p:cNvPr>
          <p:cNvSpPr txBox="1"/>
          <p:nvPr>
            <p:custDataLst>
              <p:tags r:id="rId5"/>
            </p:custDataLst>
          </p:nvPr>
        </p:nvSpPr>
        <p:spPr>
          <a:xfrm>
            <a:off x="7420207" y="1421811"/>
            <a:ext cx="5535166" cy="365414"/>
          </a:xfrm>
          <a:prstGeom prst="rect">
            <a:avLst/>
          </a:prstGeom>
          <a:noFill/>
        </p:spPr>
        <p:txBody>
          <a:bodyPr vert="horz" wrap="square" lIns="0" tIns="0" rIns="0" bIns="0" rtlCol="0" anchor="t">
            <a:noAutofit/>
          </a:bodyPr>
          <a:lstStyle/>
          <a:p>
            <a:pPr defTabSz="911770">
              <a:spcAft>
                <a:spcPts val="599"/>
              </a:spcAft>
            </a:pPr>
            <a:r>
              <a:rPr lang="en-US" sz="1399" b="1" dirty="0">
                <a:solidFill>
                  <a:srgbClr val="E60000"/>
                </a:solidFill>
              </a:rPr>
              <a:t>Power and resources:</a:t>
            </a:r>
            <a:r>
              <a:rPr lang="en-US" sz="1399" b="1" dirty="0">
                <a:solidFill>
                  <a:prstClr val="black"/>
                </a:solidFill>
              </a:rPr>
              <a:t> Asia leads global nuclear capacity expansion</a:t>
            </a:r>
          </a:p>
          <a:p>
            <a:pPr defTabSz="911770">
              <a:spcAft>
                <a:spcPts val="599"/>
              </a:spcAft>
            </a:pPr>
            <a:r>
              <a:rPr lang="en-US" sz="1400" dirty="0"/>
              <a:t>Net capacity of nuclear reactors in operation and under construction by country. In GW</a:t>
            </a:r>
          </a:p>
        </p:txBody>
      </p:sp>
      <p:sp>
        <p:nvSpPr>
          <p:cNvPr id="10" name="TextBox 9">
            <a:extLst>
              <a:ext uri="{FF2B5EF4-FFF2-40B4-BE49-F238E27FC236}">
                <a16:creationId xmlns:a16="http://schemas.microsoft.com/office/drawing/2014/main" id="{53EE2579-F774-3CAE-D1D7-161CE382648E}"/>
              </a:ext>
            </a:extLst>
          </p:cNvPr>
          <p:cNvSpPr txBox="1"/>
          <p:nvPr>
            <p:custDataLst>
              <p:tags r:id="rId6"/>
            </p:custDataLst>
          </p:nvPr>
        </p:nvSpPr>
        <p:spPr>
          <a:xfrm>
            <a:off x="585426" y="1421811"/>
            <a:ext cx="5397443" cy="365414"/>
          </a:xfrm>
          <a:prstGeom prst="rect">
            <a:avLst/>
          </a:prstGeom>
          <a:noFill/>
        </p:spPr>
        <p:txBody>
          <a:bodyPr vert="horz" wrap="square" lIns="0" tIns="0" rIns="0" bIns="0" rtlCol="0" anchor="t">
            <a:noAutofit/>
          </a:bodyPr>
          <a:lstStyle/>
          <a:p>
            <a:pPr defTabSz="913993">
              <a:spcAft>
                <a:spcPts val="599"/>
              </a:spcAft>
            </a:pPr>
            <a:r>
              <a:rPr lang="en-US" sz="1539" b="1" dirty="0">
                <a:solidFill>
                  <a:srgbClr val="E60000"/>
                </a:solidFill>
              </a:rPr>
              <a:t>AI: </a:t>
            </a:r>
            <a:r>
              <a:rPr lang="en-US" sz="1539" b="1" dirty="0">
                <a:solidFill>
                  <a:prstClr val="black"/>
                </a:solidFill>
              </a:rPr>
              <a:t>China to spur tech self-sufficiency</a:t>
            </a:r>
          </a:p>
          <a:p>
            <a:pPr defTabSz="913993">
              <a:spcAft>
                <a:spcPts val="599"/>
              </a:spcAft>
            </a:pPr>
            <a:r>
              <a:rPr lang="en-US" sz="1539" spc="-33" dirty="0"/>
              <a:t>China's self-sufficiency rate in memory and logic equipment. In %</a:t>
            </a:r>
            <a:endParaRPr lang="en-US" sz="1539" dirty="0">
              <a:solidFill>
                <a:prstClr val="black"/>
              </a:solidFill>
            </a:endParaRPr>
          </a:p>
        </p:txBody>
      </p:sp>
      <p:grpSp>
        <p:nvGrpSpPr>
          <p:cNvPr id="2" name="Group 1">
            <a:extLst>
              <a:ext uri="{FF2B5EF4-FFF2-40B4-BE49-F238E27FC236}">
                <a16:creationId xmlns:a16="http://schemas.microsoft.com/office/drawing/2014/main" id="{C77AC66F-58CC-E9EA-E504-47B550175F86}"/>
              </a:ext>
            </a:extLst>
          </p:cNvPr>
          <p:cNvGrpSpPr/>
          <p:nvPr/>
        </p:nvGrpSpPr>
        <p:grpSpPr>
          <a:xfrm>
            <a:off x="12351610" y="245550"/>
            <a:ext cx="803731" cy="1075397"/>
            <a:chOff x="11234055" y="221708"/>
            <a:chExt cx="731011" cy="978097"/>
          </a:xfrm>
        </p:grpSpPr>
        <p:sp>
          <p:nvSpPr>
            <p:cNvPr id="5" name="TextBox 4">
              <a:extLst>
                <a:ext uri="{FF2B5EF4-FFF2-40B4-BE49-F238E27FC236}">
                  <a16:creationId xmlns:a16="http://schemas.microsoft.com/office/drawing/2014/main" id="{B14BF964-BCE9-AD1A-4E59-905AF3E0CBD9}"/>
                </a:ext>
              </a:extLst>
            </p:cNvPr>
            <p:cNvSpPr txBox="1"/>
            <p:nvPr/>
          </p:nvSpPr>
          <p:spPr>
            <a:xfrm>
              <a:off x="11234055" y="836130"/>
              <a:ext cx="731011" cy="363675"/>
            </a:xfrm>
            <a:prstGeom prst="rect">
              <a:avLst/>
            </a:prstGeom>
            <a:noFill/>
          </p:spPr>
          <p:txBody>
            <a:bodyPr wrap="square">
              <a:spAutoFit/>
            </a:bodyPr>
            <a:lstStyle/>
            <a:p>
              <a:pPr algn="ctr" defTabSz="913993">
                <a:defRPr/>
              </a:pPr>
              <a:r>
                <a:rPr lang="en-US" sz="999">
                  <a:solidFill>
                    <a:prstClr val="black"/>
                  </a:solidFill>
                </a:rPr>
                <a:t>Innovation TRIOs</a:t>
              </a:r>
            </a:p>
          </p:txBody>
        </p:sp>
        <p:grpSp>
          <p:nvGrpSpPr>
            <p:cNvPr id="8" name="Group 7">
              <a:extLst>
                <a:ext uri="{FF2B5EF4-FFF2-40B4-BE49-F238E27FC236}">
                  <a16:creationId xmlns:a16="http://schemas.microsoft.com/office/drawing/2014/main" id="{50B9D720-350D-7EA7-EFB4-725A5BC4B119}"/>
                </a:ext>
              </a:extLst>
            </p:cNvPr>
            <p:cNvGrpSpPr>
              <a:grpSpLocks/>
            </p:cNvGrpSpPr>
            <p:nvPr/>
          </p:nvGrpSpPr>
          <p:grpSpPr bwMode="auto">
            <a:xfrm>
              <a:off x="11308529" y="221708"/>
              <a:ext cx="615373" cy="614927"/>
              <a:chOff x="3955" y="2484"/>
              <a:chExt cx="1814" cy="1813"/>
            </a:xfrm>
            <a:solidFill>
              <a:srgbClr val="BEBEBE"/>
            </a:solidFill>
          </p:grpSpPr>
          <p:sp>
            <p:nvSpPr>
              <p:cNvPr id="11" name="Freeform 17">
                <a:extLst>
                  <a:ext uri="{FF2B5EF4-FFF2-40B4-BE49-F238E27FC236}">
                    <a16:creationId xmlns:a16="http://schemas.microsoft.com/office/drawing/2014/main" id="{3EF1864F-A838-22D7-2D74-74007F8371E5}"/>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799"/>
              </a:p>
            </p:txBody>
          </p:sp>
          <p:sp>
            <p:nvSpPr>
              <p:cNvPr id="12" name="Freeform 18">
                <a:extLst>
                  <a:ext uri="{FF2B5EF4-FFF2-40B4-BE49-F238E27FC236}">
                    <a16:creationId xmlns:a16="http://schemas.microsoft.com/office/drawing/2014/main" id="{D0EBCB68-6BCC-B231-085F-AE5A678294D0}"/>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E60000"/>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13" name="Freeform 19">
                <a:extLst>
                  <a:ext uri="{FF2B5EF4-FFF2-40B4-BE49-F238E27FC236}">
                    <a16:creationId xmlns:a16="http://schemas.microsoft.com/office/drawing/2014/main" id="{D83CE4C7-FBC1-8848-5BE1-D87AAAADF678}"/>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grpSp>
    </p:spTree>
    <p:custDataLst>
      <p:tags r:id="rId1"/>
    </p:custDataLst>
    <p:extLst>
      <p:ext uri="{BB962C8B-B14F-4D97-AF65-F5344CB8AC3E}">
        <p14:creationId xmlns:p14="http://schemas.microsoft.com/office/powerpoint/2010/main" val="28311677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How we cover equities</a:t>
            </a:r>
          </a:p>
        </p:txBody>
      </p:sp>
      <p:sp>
        <p:nvSpPr>
          <p:cNvPr id="5" name="TextBox 4">
            <a:extLst>
              <a:ext uri="{FF2B5EF4-FFF2-40B4-BE49-F238E27FC236}">
                <a16:creationId xmlns:a16="http://schemas.microsoft.com/office/drawing/2014/main" id="{BA7EEC91-8F7B-0549-99D9-0B067022CCDE}"/>
              </a:ext>
            </a:extLst>
          </p:cNvPr>
          <p:cNvSpPr txBox="1"/>
          <p:nvPr/>
        </p:nvSpPr>
        <p:spPr>
          <a:xfrm>
            <a:off x="595073" y="2800041"/>
            <a:ext cx="3243865" cy="710855"/>
          </a:xfrm>
          <a:prstGeom prst="rect">
            <a:avLst/>
          </a:prstGeom>
          <a:noFill/>
        </p:spPr>
        <p:txBody>
          <a:bodyPr wrap="square" lIns="0" tIns="0" rIns="0" bIns="0" rtlCol="0" anchor="ctr">
            <a:noAutofit/>
          </a:bodyPr>
          <a:lstStyle/>
          <a:p>
            <a:pPr lvl="0" algn="r">
              <a:spcBef>
                <a:spcPts val="0"/>
              </a:spcBef>
              <a:defRPr/>
            </a:pPr>
            <a:r>
              <a:rPr lang="en-US" sz="1600" b="1" noProof="0" dirty="0">
                <a:solidFill>
                  <a:srgbClr val="000000"/>
                </a:solidFill>
              </a:rPr>
              <a:t>Macro</a:t>
            </a:r>
          </a:p>
          <a:p>
            <a:pPr lvl="0" algn="r">
              <a:spcBef>
                <a:spcPts val="0"/>
              </a:spcBef>
              <a:defRPr/>
            </a:pPr>
            <a:r>
              <a:rPr lang="en-US" sz="1600" noProof="0" dirty="0">
                <a:solidFill>
                  <a:srgbClr val="000000"/>
                </a:solidFill>
              </a:rPr>
              <a:t>Real GDP growth and </a:t>
            </a:r>
            <a:br>
              <a:rPr lang="en-US" sz="1600" noProof="0" dirty="0">
                <a:solidFill>
                  <a:srgbClr val="000000"/>
                </a:solidFill>
              </a:rPr>
            </a:br>
            <a:r>
              <a:rPr lang="en-US" sz="1600" noProof="0" dirty="0">
                <a:solidFill>
                  <a:srgbClr val="000000"/>
                </a:solidFill>
              </a:rPr>
              <a:t>real interest rates</a:t>
            </a:r>
          </a:p>
        </p:txBody>
      </p:sp>
      <p:cxnSp>
        <p:nvCxnSpPr>
          <p:cNvPr id="7" name="Straight Arrow Connector 6">
            <a:extLst>
              <a:ext uri="{FF2B5EF4-FFF2-40B4-BE49-F238E27FC236}">
                <a16:creationId xmlns:a16="http://schemas.microsoft.com/office/drawing/2014/main" id="{EFA7FF1B-1498-5544-B3AE-60A242EA2127}"/>
              </a:ext>
            </a:extLst>
          </p:cNvPr>
          <p:cNvCxnSpPr>
            <a:cxnSpLocks/>
          </p:cNvCxnSpPr>
          <p:nvPr/>
        </p:nvCxnSpPr>
        <p:spPr>
          <a:xfrm>
            <a:off x="4225409" y="3155468"/>
            <a:ext cx="1066800" cy="0"/>
          </a:xfrm>
          <a:prstGeom prst="straightConnector1">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E78A6B0-F772-694F-8EA0-366F849A45FA}"/>
              </a:ext>
            </a:extLst>
          </p:cNvPr>
          <p:cNvCxnSpPr>
            <a:cxnSpLocks/>
          </p:cNvCxnSpPr>
          <p:nvPr/>
        </p:nvCxnSpPr>
        <p:spPr>
          <a:xfrm>
            <a:off x="4225409" y="2800041"/>
            <a:ext cx="0" cy="71085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879832D-C14B-EE48-872C-4ED2CC38BF27}"/>
              </a:ext>
            </a:extLst>
          </p:cNvPr>
          <p:cNvSpPr txBox="1"/>
          <p:nvPr/>
        </p:nvSpPr>
        <p:spPr>
          <a:xfrm>
            <a:off x="9049007" y="2688906"/>
            <a:ext cx="2878560" cy="933125"/>
          </a:xfrm>
          <a:prstGeom prst="rect">
            <a:avLst/>
          </a:prstGeom>
          <a:noFill/>
        </p:spPr>
        <p:txBody>
          <a:bodyPr wrap="square" lIns="0" tIns="0" rIns="0" bIns="0" rtlCol="0" anchor="ctr">
            <a:noAutofit/>
          </a:bodyPr>
          <a:lstStyle/>
          <a:p>
            <a:pPr lvl="0">
              <a:spcBef>
                <a:spcPts val="0"/>
              </a:spcBef>
              <a:defRPr/>
            </a:pPr>
            <a:r>
              <a:rPr lang="en-US" sz="1600" b="1" noProof="0" dirty="0">
                <a:solidFill>
                  <a:srgbClr val="000000"/>
                </a:solidFill>
              </a:rPr>
              <a:t>Micro</a:t>
            </a:r>
          </a:p>
          <a:p>
            <a:pPr lvl="0">
              <a:spcBef>
                <a:spcPts val="0"/>
              </a:spcBef>
              <a:defRPr/>
            </a:pPr>
            <a:r>
              <a:rPr lang="en-US" sz="1600" noProof="0" dirty="0">
                <a:solidFill>
                  <a:srgbClr val="000000"/>
                </a:solidFill>
              </a:rPr>
              <a:t>1% of firms have created &gt; 80% of net wealth in the global equity markets</a:t>
            </a:r>
          </a:p>
        </p:txBody>
      </p:sp>
      <p:cxnSp>
        <p:nvCxnSpPr>
          <p:cNvPr id="9" name="Straight Connector 8">
            <a:extLst>
              <a:ext uri="{FF2B5EF4-FFF2-40B4-BE49-F238E27FC236}">
                <a16:creationId xmlns:a16="http://schemas.microsoft.com/office/drawing/2014/main" id="{62A1BD89-F902-224E-A107-816DF686C577}"/>
              </a:ext>
            </a:extLst>
          </p:cNvPr>
          <p:cNvCxnSpPr>
            <a:cxnSpLocks/>
          </p:cNvCxnSpPr>
          <p:nvPr/>
        </p:nvCxnSpPr>
        <p:spPr>
          <a:xfrm>
            <a:off x="8655555" y="2688906"/>
            <a:ext cx="0" cy="93312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BC47F77-F119-8248-B33A-6E82245AB67C}"/>
              </a:ext>
            </a:extLst>
          </p:cNvPr>
          <p:cNvCxnSpPr>
            <a:cxnSpLocks/>
          </p:cNvCxnSpPr>
          <p:nvPr/>
        </p:nvCxnSpPr>
        <p:spPr>
          <a:xfrm flipH="1">
            <a:off x="7806809" y="3155468"/>
            <a:ext cx="855731" cy="0"/>
          </a:xfrm>
          <a:prstGeom prst="straightConnector1">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5E2E7C7-2CB0-CC40-9747-3A737DD96911}"/>
              </a:ext>
            </a:extLst>
          </p:cNvPr>
          <p:cNvCxnSpPr>
            <a:cxnSpLocks/>
          </p:cNvCxnSpPr>
          <p:nvPr/>
        </p:nvCxnSpPr>
        <p:spPr>
          <a:xfrm flipV="1">
            <a:off x="8035409" y="4482247"/>
            <a:ext cx="0" cy="7132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02B644E-2802-0C40-A54C-FACA792FB52C}"/>
              </a:ext>
            </a:extLst>
          </p:cNvPr>
          <p:cNvSpPr txBox="1"/>
          <p:nvPr/>
        </p:nvSpPr>
        <p:spPr>
          <a:xfrm>
            <a:off x="8421881" y="4482246"/>
            <a:ext cx="3062611" cy="713223"/>
          </a:xfrm>
          <a:prstGeom prst="rect">
            <a:avLst/>
          </a:prstGeom>
          <a:noFill/>
        </p:spPr>
        <p:txBody>
          <a:bodyPr wrap="square" lIns="0" tIns="0" rIns="0" bIns="0" rtlCol="0" anchor="ctr">
            <a:noAutofit/>
          </a:bodyPr>
          <a:lstStyle/>
          <a:p>
            <a:pPr marL="0" lvl="1" indent="-285750">
              <a:spcBef>
                <a:spcPts val="0"/>
              </a:spcBef>
              <a:defRPr/>
            </a:pPr>
            <a:r>
              <a:rPr lang="en-US" sz="1600" b="1" noProof="0" dirty="0">
                <a:solidFill>
                  <a:srgbClr val="000000"/>
                </a:solidFill>
                <a:latin typeface="Frutiger 45 Light"/>
              </a:rPr>
              <a:t>Innovation TRIOs</a:t>
            </a:r>
          </a:p>
          <a:p>
            <a:pPr marL="0" lvl="1" indent="-285750">
              <a:spcBef>
                <a:spcPts val="0"/>
              </a:spcBef>
              <a:defRPr/>
            </a:pPr>
            <a:r>
              <a:rPr lang="en-US" sz="1600" noProof="0" dirty="0">
                <a:solidFill>
                  <a:srgbClr val="000000"/>
                </a:solidFill>
                <a:latin typeface="Frutiger 45 Light"/>
              </a:rPr>
              <a:t>Transformational Innovation Opportunities </a:t>
            </a:r>
            <a:endParaRPr lang="en-US" sz="1600" b="1" noProof="0" dirty="0">
              <a:solidFill>
                <a:srgbClr val="000000"/>
              </a:solidFill>
              <a:latin typeface="Frutiger 45 Light"/>
            </a:endParaRPr>
          </a:p>
        </p:txBody>
      </p:sp>
      <p:cxnSp>
        <p:nvCxnSpPr>
          <p:cNvPr id="25" name="Straight Arrow Connector 24">
            <a:extLst>
              <a:ext uri="{FF2B5EF4-FFF2-40B4-BE49-F238E27FC236}">
                <a16:creationId xmlns:a16="http://schemas.microsoft.com/office/drawing/2014/main" id="{6E6BA4B6-1E33-9D4B-97B5-95CF48622C38}"/>
              </a:ext>
            </a:extLst>
          </p:cNvPr>
          <p:cNvCxnSpPr>
            <a:cxnSpLocks/>
          </p:cNvCxnSpPr>
          <p:nvPr/>
        </p:nvCxnSpPr>
        <p:spPr>
          <a:xfrm flipH="1">
            <a:off x="7053552" y="4815700"/>
            <a:ext cx="981857" cy="0"/>
          </a:xfrm>
          <a:prstGeom prst="straightConnector1">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15" name="Group 16">
            <a:extLst>
              <a:ext uri="{FF2B5EF4-FFF2-40B4-BE49-F238E27FC236}">
                <a16:creationId xmlns:a16="http://schemas.microsoft.com/office/drawing/2014/main" id="{A601C2A4-2511-EE49-AC77-2B0D35202C24}"/>
              </a:ext>
            </a:extLst>
          </p:cNvPr>
          <p:cNvGrpSpPr>
            <a:grpSpLocks/>
          </p:cNvGrpSpPr>
          <p:nvPr/>
        </p:nvGrpSpPr>
        <p:grpSpPr bwMode="auto">
          <a:xfrm>
            <a:off x="4647287" y="1833996"/>
            <a:ext cx="3573423" cy="3570838"/>
            <a:chOff x="3955" y="2484"/>
            <a:chExt cx="1814" cy="1813"/>
          </a:xfrm>
          <a:solidFill>
            <a:srgbClr val="BEBEBE"/>
          </a:solidFill>
        </p:grpSpPr>
        <p:sp>
          <p:nvSpPr>
            <p:cNvPr id="19" name="Freeform 17">
              <a:extLst>
                <a:ext uri="{FF2B5EF4-FFF2-40B4-BE49-F238E27FC236}">
                  <a16:creationId xmlns:a16="http://schemas.microsoft.com/office/drawing/2014/main" id="{9F1A849D-FE09-214A-9D9E-91ABCBE4AABD}"/>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chemeClr val="accent3"/>
            </a:solidFill>
            <a:ln w="19050" cap="flat" cmpd="sng">
              <a:solidFill>
                <a:srgbClr val="FFFFFF"/>
              </a:solidFill>
              <a:prstDash val="solid"/>
              <a:round/>
              <a:headEnd type="none" w="med" len="med"/>
              <a:tailEnd type="none" w="med" len="med"/>
            </a:ln>
          </p:spPr>
          <p:txBody>
            <a:bodyPr wrap="none" lIns="0" tIns="0" rIns="0" bIns="0" anchor="ctr"/>
            <a:lstStyle/>
            <a:p>
              <a:endParaRPr lang="en-US" noProof="0" dirty="0"/>
            </a:p>
          </p:txBody>
        </p:sp>
        <p:sp>
          <p:nvSpPr>
            <p:cNvPr id="20" name="Freeform 18">
              <a:extLst>
                <a:ext uri="{FF2B5EF4-FFF2-40B4-BE49-F238E27FC236}">
                  <a16:creationId xmlns:a16="http://schemas.microsoft.com/office/drawing/2014/main" id="{60698724-50AF-B546-82A9-FC786F84D7FE}"/>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E60000"/>
            </a:solidFill>
            <a:ln w="19050" cap="flat" cmpd="sng">
              <a:solidFill>
                <a:srgbClr val="FFFFFF"/>
              </a:solidFill>
              <a:prstDash val="solid"/>
              <a:round/>
              <a:headEnd type="none" w="med" len="med"/>
              <a:tailEnd type="none" w="med" len="med"/>
            </a:ln>
          </p:spPr>
          <p:txBody>
            <a:bodyPr wrap="none" lIns="0" tIns="0" rIns="0" bIns="0" anchor="ctr"/>
            <a:lstStyle/>
            <a:p>
              <a:endParaRPr lang="en-US" sz="1400" noProof="0" dirty="0">
                <a:solidFill>
                  <a:srgbClr val="000000"/>
                </a:solidFill>
              </a:endParaRPr>
            </a:p>
          </p:txBody>
        </p:sp>
        <p:sp>
          <p:nvSpPr>
            <p:cNvPr id="21" name="Freeform 19">
              <a:extLst>
                <a:ext uri="{FF2B5EF4-FFF2-40B4-BE49-F238E27FC236}">
                  <a16:creationId xmlns:a16="http://schemas.microsoft.com/office/drawing/2014/main" id="{14DBABB5-467A-8646-A0D5-EF9BCA68CB87}"/>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CCCABC"/>
            </a:solidFill>
            <a:ln w="19050" cap="flat" cmpd="sng">
              <a:solidFill>
                <a:srgbClr val="CCCABC"/>
              </a:solidFill>
              <a:prstDash val="solid"/>
              <a:round/>
              <a:headEnd type="none" w="med" len="med"/>
              <a:tailEnd type="none" w="med" len="med"/>
            </a:ln>
          </p:spPr>
          <p:txBody>
            <a:bodyPr wrap="none" lIns="0" tIns="0" rIns="0" bIns="0" anchor="ctr"/>
            <a:lstStyle/>
            <a:p>
              <a:endParaRPr lang="en-US" sz="1400" noProof="0" dirty="0">
                <a:solidFill>
                  <a:srgbClr val="000000"/>
                </a:solidFill>
              </a:endParaRPr>
            </a:p>
          </p:txBody>
        </p:sp>
      </p:grpSp>
      <p:sp>
        <p:nvSpPr>
          <p:cNvPr id="16" name="Text Box 18">
            <a:extLst>
              <a:ext uri="{FF2B5EF4-FFF2-40B4-BE49-F238E27FC236}">
                <a16:creationId xmlns:a16="http://schemas.microsoft.com/office/drawing/2014/main" id="{38FD0607-19C6-E14E-BEAB-D299507FD4A2}"/>
              </a:ext>
            </a:extLst>
          </p:cNvPr>
          <p:cNvSpPr txBox="1">
            <a:spLocks noChangeArrowheads="1"/>
          </p:cNvSpPr>
          <p:nvPr/>
        </p:nvSpPr>
        <p:spPr bwMode="gray">
          <a:xfrm>
            <a:off x="5230251" y="2473463"/>
            <a:ext cx="1151087" cy="215443"/>
          </a:xfrm>
          <a:prstGeom prst="rect">
            <a:avLst/>
          </a:prstGeom>
          <a:noFill/>
          <a:ln>
            <a:noFill/>
          </a:ln>
          <a:extLst>
            <a:ext uri="{91240B29-F687-4F45-9708-019B960494DF}">
              <a14:hiddenLine xmlns:a14="http://schemas.microsoft.com/office/drawing/2010/main" w="19050">
                <a:solidFill>
                  <a:srgbClr val="000000"/>
                </a:solidFill>
                <a:miter lim="800000"/>
                <a:headEnd/>
                <a:tailEnd/>
              </a14:hiddenLine>
            </a:ext>
          </a:extLst>
        </p:spPr>
        <p:txBody>
          <a:bodyPr wrap="square" lIns="0" tIns="0" rIns="0" bIns="0" anchor="ctr">
            <a:spAutoFit/>
          </a:bodyPr>
          <a:lstStyle>
            <a:lvl1pPr>
              <a:defRPr sz="1100">
                <a:solidFill>
                  <a:schemeClr val="tx1"/>
                </a:solidFill>
                <a:latin typeface="Frutiger 45 Light" pitchFamily="34" charset="0"/>
                <a:ea typeface="Arial Unicode MS" pitchFamily="34" charset="-128"/>
                <a:cs typeface="Arial Unicode MS" pitchFamily="34" charset="-128"/>
              </a:defRPr>
            </a:lvl1pPr>
            <a:lvl2pPr marL="742950" indent="-285750">
              <a:defRPr sz="1100">
                <a:solidFill>
                  <a:schemeClr val="tx1"/>
                </a:solidFill>
                <a:latin typeface="Frutiger 45 Light" pitchFamily="34" charset="0"/>
                <a:ea typeface="Arial Unicode MS" pitchFamily="34" charset="-128"/>
                <a:cs typeface="Arial Unicode MS" pitchFamily="34" charset="-128"/>
              </a:defRPr>
            </a:lvl2pPr>
            <a:lvl3pPr marL="1143000" indent="-228600">
              <a:defRPr sz="1100">
                <a:solidFill>
                  <a:schemeClr val="tx1"/>
                </a:solidFill>
                <a:latin typeface="Frutiger 45 Light" pitchFamily="34" charset="0"/>
                <a:ea typeface="Arial Unicode MS" pitchFamily="34" charset="-128"/>
                <a:cs typeface="Arial Unicode MS" pitchFamily="34" charset="-128"/>
              </a:defRPr>
            </a:lvl3pPr>
            <a:lvl4pPr marL="1600200" indent="-228600">
              <a:defRPr sz="1100">
                <a:solidFill>
                  <a:schemeClr val="tx1"/>
                </a:solidFill>
                <a:latin typeface="Frutiger 45 Light" pitchFamily="34" charset="0"/>
                <a:ea typeface="Arial Unicode MS" pitchFamily="34" charset="-128"/>
                <a:cs typeface="Arial Unicode MS" pitchFamily="34" charset="-128"/>
              </a:defRPr>
            </a:lvl4pPr>
            <a:lvl5pPr marL="2057400" indent="-228600">
              <a:defRPr sz="1100">
                <a:solidFill>
                  <a:schemeClr val="tx1"/>
                </a:solidFill>
                <a:latin typeface="Frutiger 45 Light" pitchFamily="34" charset="0"/>
                <a:ea typeface="Arial Unicode MS" pitchFamily="34" charset="-128"/>
                <a:cs typeface="Arial Unicode MS" pitchFamily="34" charset="-128"/>
              </a:defRPr>
            </a:lvl5pPr>
            <a:lvl6pPr marL="25146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6pPr>
            <a:lvl7pPr marL="29718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7pPr>
            <a:lvl8pPr marL="34290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8pPr>
            <a:lvl9pPr marL="38862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9pPr>
          </a:lstStyle>
          <a:p>
            <a:pPr algn="ctr"/>
            <a:r>
              <a:rPr lang="en-US" sz="1400" spc="-12" noProof="0" dirty="0">
                <a:solidFill>
                  <a:schemeClr val="bg2"/>
                </a:solidFill>
                <a:cs typeface="Frutiger 45 Light"/>
              </a:rPr>
              <a:t>Macro</a:t>
            </a:r>
          </a:p>
        </p:txBody>
      </p:sp>
      <p:sp>
        <p:nvSpPr>
          <p:cNvPr id="17" name="Text Box 18">
            <a:extLst>
              <a:ext uri="{FF2B5EF4-FFF2-40B4-BE49-F238E27FC236}">
                <a16:creationId xmlns:a16="http://schemas.microsoft.com/office/drawing/2014/main" id="{CC19F5E7-8010-B147-98E7-279A7AE6B62C}"/>
              </a:ext>
            </a:extLst>
          </p:cNvPr>
          <p:cNvSpPr txBox="1">
            <a:spLocks noChangeArrowheads="1"/>
          </p:cNvSpPr>
          <p:nvPr/>
        </p:nvSpPr>
        <p:spPr bwMode="gray">
          <a:xfrm>
            <a:off x="6907712" y="3377917"/>
            <a:ext cx="1151087" cy="204671"/>
          </a:xfrm>
          <a:prstGeom prst="rect">
            <a:avLst/>
          </a:prstGeom>
          <a:noFill/>
          <a:ln>
            <a:noFill/>
          </a:ln>
          <a:extLst>
            <a:ext uri="{91240B29-F687-4F45-9708-019B960494DF}">
              <a14:hiddenLine xmlns:a14="http://schemas.microsoft.com/office/drawing/2010/main" w="19050">
                <a:solidFill>
                  <a:srgbClr val="000000"/>
                </a:solidFill>
                <a:miter lim="800000"/>
                <a:headEnd/>
                <a:tailEnd/>
              </a14:hiddenLine>
            </a:ext>
          </a:extLst>
        </p:spPr>
        <p:txBody>
          <a:bodyPr wrap="square" lIns="0" tIns="0" rIns="0" bIns="0">
            <a:spAutoFit/>
          </a:bodyPr>
          <a:lstStyle>
            <a:lvl1pPr>
              <a:defRPr sz="1100">
                <a:solidFill>
                  <a:schemeClr val="tx1"/>
                </a:solidFill>
                <a:latin typeface="Frutiger 45 Light" pitchFamily="34" charset="0"/>
                <a:ea typeface="Arial Unicode MS" pitchFamily="34" charset="-128"/>
                <a:cs typeface="Arial Unicode MS" pitchFamily="34" charset="-128"/>
              </a:defRPr>
            </a:lvl1pPr>
            <a:lvl2pPr marL="742950" indent="-285750">
              <a:defRPr sz="1100">
                <a:solidFill>
                  <a:schemeClr val="tx1"/>
                </a:solidFill>
                <a:latin typeface="Frutiger 45 Light" pitchFamily="34" charset="0"/>
                <a:ea typeface="Arial Unicode MS" pitchFamily="34" charset="-128"/>
                <a:cs typeface="Arial Unicode MS" pitchFamily="34" charset="-128"/>
              </a:defRPr>
            </a:lvl2pPr>
            <a:lvl3pPr marL="1143000" indent="-228600">
              <a:defRPr sz="1100">
                <a:solidFill>
                  <a:schemeClr val="tx1"/>
                </a:solidFill>
                <a:latin typeface="Frutiger 45 Light" pitchFamily="34" charset="0"/>
                <a:ea typeface="Arial Unicode MS" pitchFamily="34" charset="-128"/>
                <a:cs typeface="Arial Unicode MS" pitchFamily="34" charset="-128"/>
              </a:defRPr>
            </a:lvl3pPr>
            <a:lvl4pPr marL="1600200" indent="-228600">
              <a:defRPr sz="1100">
                <a:solidFill>
                  <a:schemeClr val="tx1"/>
                </a:solidFill>
                <a:latin typeface="Frutiger 45 Light" pitchFamily="34" charset="0"/>
                <a:ea typeface="Arial Unicode MS" pitchFamily="34" charset="-128"/>
                <a:cs typeface="Arial Unicode MS" pitchFamily="34" charset="-128"/>
              </a:defRPr>
            </a:lvl4pPr>
            <a:lvl5pPr marL="2057400" indent="-228600">
              <a:defRPr sz="1100">
                <a:solidFill>
                  <a:schemeClr val="tx1"/>
                </a:solidFill>
                <a:latin typeface="Frutiger 45 Light" pitchFamily="34" charset="0"/>
                <a:ea typeface="Arial Unicode MS" pitchFamily="34" charset="-128"/>
                <a:cs typeface="Arial Unicode MS" pitchFamily="34" charset="-128"/>
              </a:defRPr>
            </a:lvl5pPr>
            <a:lvl6pPr marL="25146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6pPr>
            <a:lvl7pPr marL="29718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7pPr>
            <a:lvl8pPr marL="34290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8pPr>
            <a:lvl9pPr marL="38862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9pPr>
          </a:lstStyle>
          <a:p>
            <a:pPr marL="15635" algn="ctr" fontAlgn="auto">
              <a:lnSpc>
                <a:spcPct val="95000"/>
              </a:lnSpc>
              <a:spcBef>
                <a:spcPts val="0"/>
              </a:spcBef>
              <a:spcAft>
                <a:spcPts val="0"/>
              </a:spcAft>
            </a:pPr>
            <a:r>
              <a:rPr lang="en-US" sz="1400" spc="-12" noProof="0" dirty="0">
                <a:solidFill>
                  <a:prstClr val="black"/>
                </a:solidFill>
                <a:cs typeface="Frutiger 45 Light"/>
              </a:rPr>
              <a:t>Micro</a:t>
            </a:r>
            <a:endParaRPr lang="en-US" sz="1400" noProof="0" dirty="0">
              <a:solidFill>
                <a:prstClr val="black"/>
              </a:solidFill>
              <a:cs typeface="Frutiger 45 Light"/>
            </a:endParaRPr>
          </a:p>
        </p:txBody>
      </p:sp>
      <p:sp>
        <p:nvSpPr>
          <p:cNvPr id="18" name="Text Box 18">
            <a:extLst>
              <a:ext uri="{FF2B5EF4-FFF2-40B4-BE49-F238E27FC236}">
                <a16:creationId xmlns:a16="http://schemas.microsoft.com/office/drawing/2014/main" id="{DE315186-EBC1-2A45-947A-7F7F95A9C299}"/>
              </a:ext>
            </a:extLst>
          </p:cNvPr>
          <p:cNvSpPr txBox="1">
            <a:spLocks noChangeArrowheads="1"/>
          </p:cNvSpPr>
          <p:nvPr/>
        </p:nvSpPr>
        <p:spPr bwMode="gray">
          <a:xfrm>
            <a:off x="5187798" y="4370400"/>
            <a:ext cx="1151087" cy="409343"/>
          </a:xfrm>
          <a:prstGeom prst="rect">
            <a:avLst/>
          </a:prstGeom>
          <a:noFill/>
          <a:ln>
            <a:noFill/>
          </a:ln>
          <a:extLst>
            <a:ext uri="{91240B29-F687-4F45-9708-019B960494DF}">
              <a14:hiddenLine xmlns:a14="http://schemas.microsoft.com/office/drawing/2010/main" w="19050">
                <a:solidFill>
                  <a:srgbClr val="000000"/>
                </a:solidFill>
                <a:miter lim="800000"/>
                <a:headEnd/>
                <a:tailEnd/>
              </a14:hiddenLine>
            </a:ext>
          </a:extLst>
        </p:spPr>
        <p:txBody>
          <a:bodyPr wrap="square" lIns="0" tIns="0" rIns="0" bIns="0">
            <a:spAutoFit/>
          </a:bodyPr>
          <a:lstStyle>
            <a:lvl1pPr>
              <a:defRPr sz="1100">
                <a:solidFill>
                  <a:schemeClr val="tx1"/>
                </a:solidFill>
                <a:latin typeface="Frutiger 45 Light" pitchFamily="34" charset="0"/>
                <a:ea typeface="Arial Unicode MS" pitchFamily="34" charset="-128"/>
                <a:cs typeface="Arial Unicode MS" pitchFamily="34" charset="-128"/>
              </a:defRPr>
            </a:lvl1pPr>
            <a:lvl2pPr marL="742950" indent="-285750">
              <a:defRPr sz="1100">
                <a:solidFill>
                  <a:schemeClr val="tx1"/>
                </a:solidFill>
                <a:latin typeface="Frutiger 45 Light" pitchFamily="34" charset="0"/>
                <a:ea typeface="Arial Unicode MS" pitchFamily="34" charset="-128"/>
                <a:cs typeface="Arial Unicode MS" pitchFamily="34" charset="-128"/>
              </a:defRPr>
            </a:lvl2pPr>
            <a:lvl3pPr marL="1143000" indent="-228600">
              <a:defRPr sz="1100">
                <a:solidFill>
                  <a:schemeClr val="tx1"/>
                </a:solidFill>
                <a:latin typeface="Frutiger 45 Light" pitchFamily="34" charset="0"/>
                <a:ea typeface="Arial Unicode MS" pitchFamily="34" charset="-128"/>
                <a:cs typeface="Arial Unicode MS" pitchFamily="34" charset="-128"/>
              </a:defRPr>
            </a:lvl3pPr>
            <a:lvl4pPr marL="1600200" indent="-228600">
              <a:defRPr sz="1100">
                <a:solidFill>
                  <a:schemeClr val="tx1"/>
                </a:solidFill>
                <a:latin typeface="Frutiger 45 Light" pitchFamily="34" charset="0"/>
                <a:ea typeface="Arial Unicode MS" pitchFamily="34" charset="-128"/>
                <a:cs typeface="Arial Unicode MS" pitchFamily="34" charset="-128"/>
              </a:defRPr>
            </a:lvl4pPr>
            <a:lvl5pPr marL="2057400" indent="-228600">
              <a:defRPr sz="1100">
                <a:solidFill>
                  <a:schemeClr val="tx1"/>
                </a:solidFill>
                <a:latin typeface="Frutiger 45 Light" pitchFamily="34" charset="0"/>
                <a:ea typeface="Arial Unicode MS" pitchFamily="34" charset="-128"/>
                <a:cs typeface="Arial Unicode MS" pitchFamily="34" charset="-128"/>
              </a:defRPr>
            </a:lvl5pPr>
            <a:lvl6pPr marL="25146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6pPr>
            <a:lvl7pPr marL="29718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7pPr>
            <a:lvl8pPr marL="34290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8pPr>
            <a:lvl9pPr marL="3886200" indent="-228600" eaLnBrk="0" fontAlgn="base" hangingPunct="0">
              <a:spcBef>
                <a:spcPct val="50000"/>
              </a:spcBef>
              <a:spcAft>
                <a:spcPct val="0"/>
              </a:spcAft>
              <a:defRPr sz="1100">
                <a:solidFill>
                  <a:schemeClr val="tx1"/>
                </a:solidFill>
                <a:latin typeface="Frutiger 45 Light" pitchFamily="34" charset="0"/>
                <a:ea typeface="Arial Unicode MS" pitchFamily="34" charset="-128"/>
                <a:cs typeface="Arial Unicode MS" pitchFamily="34" charset="-128"/>
              </a:defRPr>
            </a:lvl9pPr>
          </a:lstStyle>
          <a:p>
            <a:pPr marL="15635" algn="ctr" fontAlgn="auto">
              <a:lnSpc>
                <a:spcPct val="95000"/>
              </a:lnSpc>
              <a:spcBef>
                <a:spcPts val="0"/>
              </a:spcBef>
              <a:spcAft>
                <a:spcPts val="0"/>
              </a:spcAft>
            </a:pPr>
            <a:r>
              <a:rPr lang="en-US" sz="1400" spc="-12" noProof="0" dirty="0">
                <a:solidFill>
                  <a:schemeClr val="bg2"/>
                </a:solidFill>
                <a:cs typeface="Frutiger 45 Light"/>
              </a:rPr>
              <a:t>Innovation TRIOs</a:t>
            </a:r>
            <a:endParaRPr lang="en-US" sz="1400" noProof="0" dirty="0">
              <a:solidFill>
                <a:schemeClr val="bg2"/>
              </a:solidFill>
              <a:cs typeface="Frutiger 45 Light"/>
            </a:endParaRPr>
          </a:p>
        </p:txBody>
      </p:sp>
      <p:sp>
        <p:nvSpPr>
          <p:cNvPr id="28" name="Text Placeholder 3">
            <a:extLst>
              <a:ext uri="{FF2B5EF4-FFF2-40B4-BE49-F238E27FC236}">
                <a16:creationId xmlns:a16="http://schemas.microsoft.com/office/drawing/2014/main" id="{2283EC8D-0280-05CB-B842-0AB022453CA0}"/>
              </a:ext>
            </a:extLst>
          </p:cNvPr>
          <p:cNvSpPr txBox="1">
            <a:spLocks/>
          </p:cNvSpPr>
          <p:nvPr/>
        </p:nvSpPr>
        <p:spPr>
          <a:xfrm>
            <a:off x="548640" y="1005840"/>
            <a:ext cx="12289536" cy="402336"/>
          </a:xfrm>
          <a:prstGeom prst="rect">
            <a:avLst/>
          </a:prstGeom>
        </p:spPr>
        <p:txBody>
          <a:bodyPr lIns="0" rIns="0"/>
          <a:lstStyle>
            <a:lvl1pPr marL="182880" marR="0" indent="-182880" algn="l" defTabSz="1005505" rtl="0" eaLnBrk="1" fontAlgn="auto" latinLnBrk="0" hangingPunct="1">
              <a:lnSpc>
                <a:spcPct val="100000"/>
              </a:lnSpc>
              <a:spcBef>
                <a:spcPts val="800"/>
              </a:spcBef>
              <a:spcAft>
                <a:spcPts val="0"/>
              </a:spcAft>
              <a:buClr>
                <a:schemeClr val="tx1"/>
              </a:buClr>
              <a:buSzPct val="75000"/>
              <a:buFont typeface="Wingdings 2" panose="05020102010507070707" pitchFamily="18" charset="2"/>
              <a:buChar char=""/>
              <a:tabLst/>
              <a:defRPr lang="en-US" sz="16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800"/>
              </a:spcBef>
              <a:spcAft>
                <a:spcPts val="0"/>
              </a:spcAft>
              <a:buClr>
                <a:schemeClr val="tx1"/>
              </a:buClr>
              <a:buSzTx/>
              <a:buFont typeface="Arial" panose="020B0604020202020204" pitchFamily="34" charset="0"/>
              <a:buChar char="–"/>
              <a:tabLst/>
              <a:defRPr lang="en-US" sz="16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Char char="–"/>
              <a:tabLst/>
              <a:defRPr lang="en-US" sz="16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None/>
              <a:tabLst/>
              <a:defRPr lang="en-US" sz="16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800"/>
              </a:spcBef>
              <a:spcAft>
                <a:spcPts val="0"/>
              </a:spcAft>
              <a:buClr>
                <a:schemeClr val="tx1"/>
              </a:buClr>
              <a:buSzPct val="100000"/>
              <a:buFont typeface="Arial" panose="020B0604020202020204" pitchFamily="34" charset="0"/>
              <a:buNone/>
              <a:tabLst/>
              <a:defRPr lang="en-US" sz="16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800"/>
              </a:spcBef>
              <a:spcAft>
                <a:spcPts val="0"/>
              </a:spcAft>
              <a:buClrTx/>
              <a:buSzPct val="100000"/>
              <a:buFont typeface="Arial" panose="020B0604020202020204" pitchFamily="34" charset="0"/>
              <a:buNone/>
              <a:tabLst/>
              <a:defRPr lang="en-US" sz="1600" kern="0" baseline="0" dirty="0" smtClean="0">
                <a:solidFill>
                  <a:srgbClr val="000000"/>
                </a:solidFill>
                <a:latin typeface="+mn-lt"/>
                <a:ea typeface="+mn-ea"/>
                <a:cs typeface="+mn-cs"/>
              </a:defRPr>
            </a:lvl9pPr>
          </a:lstStyle>
          <a:p>
            <a:pPr marL="0" indent="0">
              <a:buNone/>
            </a:pPr>
            <a:r>
              <a:rPr lang="en-US" noProof="0" dirty="0"/>
              <a:t>Our CIO framework: Three perspectives </a:t>
            </a:r>
          </a:p>
          <a:p>
            <a:endParaRPr lang="en-US" noProof="0" dirty="0"/>
          </a:p>
        </p:txBody>
      </p:sp>
      <p:pic>
        <p:nvPicPr>
          <p:cNvPr id="29" name="Picture 28">
            <a:extLst>
              <a:ext uri="{FF2B5EF4-FFF2-40B4-BE49-F238E27FC236}">
                <a16:creationId xmlns:a16="http://schemas.microsoft.com/office/drawing/2014/main" id="{AF284C3D-2DE4-834A-078A-988E6E045C01}"/>
              </a:ext>
            </a:extLst>
          </p:cNvPr>
          <p:cNvPicPr>
            <a:picLocks noChangeAspect="1"/>
          </p:cNvPicPr>
          <p:nvPr/>
        </p:nvPicPr>
        <p:blipFill>
          <a:blip r:embed="rId4"/>
          <a:stretch>
            <a:fillRect/>
          </a:stretch>
        </p:blipFill>
        <p:spPr>
          <a:xfrm>
            <a:off x="560565" y="5338121"/>
            <a:ext cx="939656" cy="936000"/>
          </a:xfrm>
          <a:prstGeom prst="rect">
            <a:avLst/>
          </a:prstGeom>
        </p:spPr>
      </p:pic>
      <p:grpSp>
        <p:nvGrpSpPr>
          <p:cNvPr id="33" name="Group 32">
            <a:extLst>
              <a:ext uri="{FF2B5EF4-FFF2-40B4-BE49-F238E27FC236}">
                <a16:creationId xmlns:a16="http://schemas.microsoft.com/office/drawing/2014/main" id="{EC018C69-2680-80CE-FBB6-6EE8912BA1AF}"/>
              </a:ext>
            </a:extLst>
          </p:cNvPr>
          <p:cNvGrpSpPr/>
          <p:nvPr/>
        </p:nvGrpSpPr>
        <p:grpSpPr>
          <a:xfrm>
            <a:off x="1783494" y="5330991"/>
            <a:ext cx="1945823" cy="950260"/>
            <a:chOff x="1893115" y="4806388"/>
            <a:chExt cx="1945823" cy="950260"/>
          </a:xfrm>
        </p:grpSpPr>
        <p:sp>
          <p:nvSpPr>
            <p:cNvPr id="30" name="TextBox 29">
              <a:extLst>
                <a:ext uri="{FF2B5EF4-FFF2-40B4-BE49-F238E27FC236}">
                  <a16:creationId xmlns:a16="http://schemas.microsoft.com/office/drawing/2014/main" id="{819C658A-95D9-85EE-9169-806424DD8D02}"/>
                </a:ext>
              </a:extLst>
            </p:cNvPr>
            <p:cNvSpPr txBox="1"/>
            <p:nvPr/>
          </p:nvSpPr>
          <p:spPr>
            <a:xfrm>
              <a:off x="1894724" y="5510427"/>
              <a:ext cx="1800200" cy="246221"/>
            </a:xfrm>
            <a:prstGeom prst="rect">
              <a:avLst/>
            </a:prstGeom>
            <a:noFill/>
          </p:spPr>
          <p:txBody>
            <a:bodyPr wrap="square">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utiger 45 Light"/>
                  <a:ea typeface="+mn-ea"/>
                  <a:cs typeface="+mn-cs"/>
                </a:rPr>
                <a:t>Link to publication</a:t>
              </a:r>
            </a:p>
          </p:txBody>
        </p:sp>
        <p:sp>
          <p:nvSpPr>
            <p:cNvPr id="31" name="TextBox 30">
              <a:extLst>
                <a:ext uri="{FF2B5EF4-FFF2-40B4-BE49-F238E27FC236}">
                  <a16:creationId xmlns:a16="http://schemas.microsoft.com/office/drawing/2014/main" id="{13B0CD11-86FA-7270-67CC-DE6886961F16}"/>
                </a:ext>
              </a:extLst>
            </p:cNvPr>
            <p:cNvSpPr txBox="1"/>
            <p:nvPr/>
          </p:nvSpPr>
          <p:spPr>
            <a:xfrm>
              <a:off x="1893115" y="4806388"/>
              <a:ext cx="1945823" cy="704039"/>
            </a:xfrm>
            <a:prstGeom prst="rect">
              <a:avLst/>
            </a:prstGeom>
            <a:noFill/>
          </p:spPr>
          <p:txBody>
            <a:bodyPr wrap="square">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Frutiger 45 Light"/>
                  <a:ea typeface="+mn-ea"/>
                  <a:cs typeface="+mn-cs"/>
                </a:rPr>
                <a:t>How we cover equities </a:t>
              </a:r>
              <a:br>
                <a:rPr kumimoji="0" lang="en-US" sz="1200" b="0" i="0" u="none" strike="noStrike" kern="1200" cap="none" spc="0" normalizeH="0" baseline="0" noProof="0" dirty="0">
                  <a:ln>
                    <a:noFill/>
                  </a:ln>
                  <a:solidFill>
                    <a:prstClr val="black"/>
                  </a:solidFill>
                  <a:effectLst/>
                  <a:uLnTx/>
                  <a:uFillTx/>
                  <a:latin typeface="Frutiger 45 Light"/>
                  <a:ea typeface="+mn-ea"/>
                  <a:cs typeface="+mn-cs"/>
                </a:rPr>
              </a:br>
              <a:r>
                <a:rPr kumimoji="0" lang="en-US" sz="1200" b="0" i="0" u="none" strike="noStrike" kern="1200" cap="none" spc="0" normalizeH="0" baseline="0" noProof="0" dirty="0">
                  <a:ln>
                    <a:noFill/>
                  </a:ln>
                  <a:solidFill>
                    <a:prstClr val="black"/>
                  </a:solidFill>
                  <a:effectLst/>
                  <a:uLnTx/>
                  <a:uFillTx/>
                  <a:latin typeface="Frutiger 45 Light"/>
                  <a:ea typeface="+mn-ea"/>
                  <a:cs typeface="+mn-cs"/>
                </a:rPr>
                <a:t>Our CIO Framework </a:t>
              </a:r>
            </a:p>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Frutiger 45 Light"/>
                  <a:ea typeface="+mn-ea"/>
                  <a:cs typeface="+mn-cs"/>
                </a:rPr>
                <a:t>Published: 17 October 2024</a:t>
              </a:r>
            </a:p>
          </p:txBody>
        </p:sp>
      </p:grpSp>
      <p:sp>
        <p:nvSpPr>
          <p:cNvPr id="32" name="TextBox 31">
            <a:extLst>
              <a:ext uri="{FF2B5EF4-FFF2-40B4-BE49-F238E27FC236}">
                <a16:creationId xmlns:a16="http://schemas.microsoft.com/office/drawing/2014/main" id="{76310528-5CDA-DD92-1895-8A88976891D8}"/>
              </a:ext>
            </a:extLst>
          </p:cNvPr>
          <p:cNvSpPr txBox="1"/>
          <p:nvPr>
            <p:custDataLst>
              <p:tags r:id="rId2"/>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noProof="0" dirty="0">
                <a:latin typeface="Frutiger 45 Light" panose="020B0603020202020204" pitchFamily="34" charset="0"/>
              </a:rPr>
              <a:t>Source: UBS, as of September 2025</a:t>
            </a:r>
            <a:br>
              <a:rPr lang="en-US" sz="800" kern="0" noProof="0" dirty="0">
                <a:latin typeface="Frutiger 45 Light" panose="020B0603020202020204" pitchFamily="34" charset="0"/>
              </a:rPr>
            </a:br>
            <a:r>
              <a:rPr lang="en-US" sz="800" kern="0" noProof="0" dirty="0">
                <a:latin typeface="Frutiger 45 Light" panose="020B0603020202020204" pitchFamily="34" charset="0"/>
              </a:rPr>
              <a:t>Charts and scenarios are for illustrative purposes only. Historical performance and forecasts are no guarantee for future performance.</a:t>
            </a:r>
            <a:br>
              <a:rPr lang="en-US" sz="800" kern="0" noProof="0" dirty="0">
                <a:latin typeface="Frutiger 45 Light" panose="020B0603020202020204" pitchFamily="34" charset="0"/>
              </a:rPr>
            </a:br>
            <a:r>
              <a:rPr lang="en-US" sz="800" kern="0" noProof="0" dirty="0">
                <a:latin typeface="Frutiger 45 Light" panose="020B0603020202020204" pitchFamily="34" charset="0"/>
              </a:rPr>
              <a:t>Please see important disclaimer at the end of the document.</a:t>
            </a:r>
          </a:p>
        </p:txBody>
      </p:sp>
    </p:spTree>
    <p:custDataLst>
      <p:tags r:id="rId1"/>
    </p:custDataLst>
    <p:extLst>
      <p:ext uri="{BB962C8B-B14F-4D97-AF65-F5344CB8AC3E}">
        <p14:creationId xmlns:p14="http://schemas.microsoft.com/office/powerpoint/2010/main" val="14500028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PAGE HEADING">
            <a:extLst>
              <a:ext uri="{FF2B5EF4-FFF2-40B4-BE49-F238E27FC236}">
                <a16:creationId xmlns:a16="http://schemas.microsoft.com/office/drawing/2014/main" id="{65357C14-1B4F-8707-5A19-C8883E08A249}"/>
              </a:ext>
            </a:extLst>
          </p:cNvPr>
          <p:cNvSpPr>
            <a:spLocks noGrp="1"/>
          </p:cNvSpPr>
          <p:nvPr>
            <p:ph type="title"/>
            <p:custDataLst>
              <p:tags r:id="rId2"/>
            </p:custDataLst>
          </p:nvPr>
        </p:nvSpPr>
        <p:spPr>
          <a:xfrm>
            <a:off x="770332" y="264896"/>
            <a:ext cx="9076201" cy="710863"/>
          </a:xfrm>
        </p:spPr>
        <p:txBody>
          <a:bodyPr>
            <a:normAutofit/>
          </a:bodyPr>
          <a:lstStyle/>
          <a:p>
            <a:pPr eaLnBrk="1" hangingPunct="1">
              <a:defRPr/>
            </a:pPr>
            <a:r>
              <a:rPr altLang="zh-TW" dirty="0">
                <a:latin typeface="Frutiger 45 Light" panose="020B0603020202020204" pitchFamily="34" charset="0"/>
              </a:rPr>
              <a:t>Risk information</a:t>
            </a:r>
            <a:r>
              <a:rPr altLang="zh-TW" dirty="0">
                <a:latin typeface="UBSHeadline" panose="020B0603020202020204" pitchFamily="34" charset="0"/>
              </a:rPr>
              <a:t>                                                 </a:t>
            </a:r>
          </a:p>
        </p:txBody>
      </p:sp>
      <p:sp>
        <p:nvSpPr>
          <p:cNvPr id="8195" name="TextBox 2">
            <a:extLst>
              <a:ext uri="{FF2B5EF4-FFF2-40B4-BE49-F238E27FC236}">
                <a16:creationId xmlns:a16="http://schemas.microsoft.com/office/drawing/2014/main" id="{48521D94-5663-01F7-672F-B13BF7479AD6}"/>
              </a:ext>
            </a:extLst>
          </p:cNvPr>
          <p:cNvSpPr txBox="1">
            <a:spLocks noChangeArrowheads="1"/>
          </p:cNvSpPr>
          <p:nvPr/>
        </p:nvSpPr>
        <p:spPr bwMode="auto">
          <a:xfrm>
            <a:off x="770333" y="1211179"/>
            <a:ext cx="11905993" cy="547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400"/>
              </a:spcBef>
              <a:buClr>
                <a:schemeClr val="tx2"/>
              </a:buClr>
              <a:buSzPct val="100000"/>
              <a:buFont typeface="Symbol" panose="05050102010706020507" pitchFamily="18" charset="2"/>
              <a:buChar char="·"/>
              <a:defRPr>
                <a:solidFill>
                  <a:schemeClr val="tx1"/>
                </a:solidFill>
                <a:latin typeface="Frutiger 55 Roman" pitchFamily="34" charset="0"/>
                <a:ea typeface="MS PGothic" panose="020B0600070205080204" pitchFamily="34" charset="-128"/>
              </a:defRPr>
            </a:lvl1pPr>
            <a:lvl2pPr marL="742950" indent="-285750">
              <a:spcBef>
                <a:spcPts val="700"/>
              </a:spcBef>
              <a:buClr>
                <a:schemeClr val="tx1"/>
              </a:buClr>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2pPr>
            <a:lvl3pPr marL="1143000" indent="-228600">
              <a:spcBef>
                <a:spcPts val="700"/>
              </a:spcBef>
              <a:buClr>
                <a:schemeClr val="tx1"/>
              </a:buClr>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3pPr>
            <a:lvl4pPr marL="1600200" indent="-228600">
              <a:spcBef>
                <a:spcPts val="300"/>
              </a:spcBef>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4pPr>
            <a:lvl5pPr marL="2057400" indent="-228600">
              <a:spcBef>
                <a:spcPts val="300"/>
              </a:spcBef>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5pPr>
            <a:lvl6pPr marL="2514600" indent="-228600" eaLnBrk="0" fontAlgn="base" hangingPunct="0">
              <a:spcBef>
                <a:spcPts val="300"/>
              </a:spcBef>
              <a:spcAft>
                <a:spcPct val="0"/>
              </a:spcAft>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6pPr>
            <a:lvl7pPr marL="2971800" indent="-228600" eaLnBrk="0" fontAlgn="base" hangingPunct="0">
              <a:spcBef>
                <a:spcPts val="300"/>
              </a:spcBef>
              <a:spcAft>
                <a:spcPct val="0"/>
              </a:spcAft>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7pPr>
            <a:lvl8pPr marL="3429000" indent="-228600" eaLnBrk="0" fontAlgn="base" hangingPunct="0">
              <a:spcBef>
                <a:spcPts val="300"/>
              </a:spcBef>
              <a:spcAft>
                <a:spcPct val="0"/>
              </a:spcAft>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8pPr>
            <a:lvl9pPr marL="3886200" indent="-228600" eaLnBrk="0" fontAlgn="base" hangingPunct="0">
              <a:spcBef>
                <a:spcPts val="300"/>
              </a:spcBef>
              <a:spcAft>
                <a:spcPct val="0"/>
              </a:spcAft>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9pPr>
          </a:lstStyle>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UBS Chief Investment Office's ("CIO") investment views are prepared and published by the Global Wealth Management business of UBS Switzerland AG (regulated by FINMA in Switzerland) or its affiliates ("UBS")</a:t>
            </a:r>
            <a:r>
              <a:rPr lang="en-US" altLang="en-US" sz="899" dirty="0">
                <a:latin typeface="Frutiger 45 Light" pitchFamily="34" charset="0"/>
                <a:ea typeface="MS Mincho" panose="02020609040205080304" pitchFamily="49" charset="-128"/>
                <a:cs typeface="Times New Roman" panose="02020603050405020304" pitchFamily="18" charset="0"/>
              </a:rPr>
              <a:t>, part of UBS Group AG (</a:t>
            </a:r>
            <a:r>
              <a:rPr lang="en-GB" altLang="en-US" sz="899" dirty="0">
                <a:latin typeface="Frutiger 45 Light" pitchFamily="34" charset="0"/>
                <a:ea typeface="MS Mincho" panose="02020609040205080304" pitchFamily="49" charset="-128"/>
                <a:cs typeface="Times New Roman" panose="02020603050405020304" pitchFamily="18" charset="0"/>
              </a:rPr>
              <a:t>"</a:t>
            </a:r>
            <a:r>
              <a:rPr lang="en-US" altLang="en-US" sz="899" dirty="0">
                <a:latin typeface="Frutiger 45 Light" pitchFamily="34" charset="0"/>
                <a:ea typeface="MS Mincho" panose="02020609040205080304" pitchFamily="49" charset="-128"/>
                <a:cs typeface="Times New Roman" panose="02020603050405020304" pitchFamily="18" charset="0"/>
              </a:rPr>
              <a:t>UBS Group</a:t>
            </a:r>
            <a:r>
              <a:rPr lang="en-GB" altLang="en-US" sz="899" dirty="0">
                <a:latin typeface="Frutiger 45 Light" pitchFamily="34" charset="0"/>
                <a:ea typeface="MS Mincho" panose="02020609040205080304" pitchFamily="49" charset="-128"/>
                <a:cs typeface="Times New Roman" panose="02020603050405020304" pitchFamily="18" charset="0"/>
              </a:rPr>
              <a:t>"</a:t>
            </a:r>
            <a:r>
              <a:rPr lang="en-US" altLang="en-US" sz="899" dirty="0">
                <a:latin typeface="Frutiger 45 Light" pitchFamily="34" charset="0"/>
                <a:ea typeface="MS Mincho" panose="02020609040205080304" pitchFamily="49" charset="-128"/>
                <a:cs typeface="Times New Roman" panose="02020603050405020304" pitchFamily="18" charset="0"/>
              </a:rPr>
              <a:t>). UBS Group includes former Credit Suisse AG, its subsidiaries, branches and affiliates</a:t>
            </a:r>
            <a:r>
              <a:rPr lang="en-GB" altLang="en-US" sz="899" dirty="0">
                <a:latin typeface="Frutiger 45 Light" pitchFamily="34" charset="0"/>
                <a:ea typeface="MS Mincho" panose="02020609040205080304" pitchFamily="49" charset="-128"/>
                <a:cs typeface="Times New Roman" panose="02020603050405020304" pitchFamily="18" charset="0"/>
              </a:rPr>
              <a:t>. </a:t>
            </a:r>
            <a:r>
              <a:rPr lang="en-US" altLang="en-US" sz="899" dirty="0">
                <a:latin typeface="Frutiger 45 Light" pitchFamily="34" charset="0"/>
                <a:ea typeface="MS Mincho" panose="02020609040205080304" pitchFamily="49" charset="-128"/>
                <a:cs typeface="Times New Roman" panose="02020603050405020304" pitchFamily="18" charset="0"/>
              </a:rPr>
              <a:t>Additional disclaimer relevant to Credit Suisse Wealth Management follows at the end of this section.</a:t>
            </a: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The investment views have been prepared in accordance with legal requirements designed to promote the </a:t>
            </a:r>
            <a:r>
              <a:rPr lang="en-GB" altLang="en-US" sz="899" b="1" dirty="0">
                <a:latin typeface="Frutiger 45 Light" pitchFamily="34" charset="0"/>
                <a:ea typeface="MS Mincho" panose="02020609040205080304" pitchFamily="49" charset="-128"/>
                <a:cs typeface="Times New Roman" panose="02020603050405020304" pitchFamily="18" charset="0"/>
              </a:rPr>
              <a:t>independence of investment research</a:t>
            </a:r>
            <a:r>
              <a:rPr lang="en-GB" altLang="en-US" sz="899" dirty="0">
                <a:latin typeface="Frutiger 45 Light" pitchFamily="34" charset="0"/>
                <a:ea typeface="MS Mincho" panose="02020609040205080304" pitchFamily="49" charset="-128"/>
                <a:cs typeface="Times New Roman" panose="02020603050405020304" pitchFamily="18" charset="0"/>
              </a:rPr>
              <a:t>.</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b="1" dirty="0">
                <a:latin typeface="Frutiger 45 Light" pitchFamily="34" charset="0"/>
                <a:ea typeface="MS Mincho" panose="02020609040205080304" pitchFamily="49" charset="-128"/>
                <a:cs typeface="Times New Roman" panose="02020603050405020304" pitchFamily="18" charset="0"/>
              </a:rPr>
              <a:t>Generic investment research – Risk information:</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This publication is </a:t>
            </a:r>
            <a:r>
              <a:rPr lang="en-GB" altLang="en-US" sz="899" b="1" dirty="0">
                <a:latin typeface="Frutiger 45 Light" pitchFamily="34" charset="0"/>
                <a:ea typeface="MS Mincho" panose="02020609040205080304" pitchFamily="49" charset="-128"/>
                <a:cs typeface="Times New Roman" panose="02020603050405020304" pitchFamily="18" charset="0"/>
              </a:rPr>
              <a:t>for your</a:t>
            </a:r>
            <a:r>
              <a:rPr lang="en-GB" altLang="en-US" sz="899" dirty="0">
                <a:latin typeface="Frutiger 45 Light" pitchFamily="34" charset="0"/>
                <a:ea typeface="MS Mincho" panose="02020609040205080304" pitchFamily="49" charset="-128"/>
                <a:cs typeface="Times New Roman" panose="02020603050405020304" pitchFamily="18" charset="0"/>
              </a:rPr>
              <a:t> </a:t>
            </a:r>
            <a:r>
              <a:rPr lang="en-GB" altLang="en-US" sz="899" b="1" dirty="0">
                <a:latin typeface="Frutiger 45 Light" pitchFamily="34" charset="0"/>
                <a:ea typeface="MS Mincho" panose="02020609040205080304" pitchFamily="49" charset="-128"/>
                <a:cs typeface="Times New Roman" panose="02020603050405020304" pitchFamily="18" charset="0"/>
              </a:rPr>
              <a:t>information only</a:t>
            </a:r>
            <a:r>
              <a:rPr lang="en-GB" altLang="en-US" sz="899" dirty="0">
                <a:latin typeface="Frutiger 45 Light" pitchFamily="34" charset="0"/>
                <a:ea typeface="MS Mincho" panose="02020609040205080304" pitchFamily="49" charset="-128"/>
                <a:cs typeface="Times New Roman" panose="02020603050405020304" pitchFamily="18" charset="0"/>
              </a:rPr>
              <a:t> and is not intended as an offer, or a solicitation of an offer, to buy or sell any investment or other specific product. The analysis contained herein does not constitute a personal recommendation or take into account the particular investment objectives, investment strategies, financial situation and needs of any specific recipient. It is based on numerous assumptions. Different assumptions could result in materially different results. Certain services and products are subject to legal restrictions and cannot be offered worldwide on an unrestricted basis and/or may not be eligible for sale to all investors. All information and opinions expressed in this document were obtained from sources believed to be reliable and in good faith, but no representation or warranty, express or implied, is made as to its accuracy or completeness (other than disclosures relating to UBS). All information and opinions as well as any forecasts, estimates and market prices indicated are current as of the date of this report, and are subject to change without notice. Opinions expressed herein may differ or be contrary to those expressed by other business areas or divisions of UBS as a result of using different assumptions and/or criteria. </a:t>
            </a:r>
            <a:r>
              <a:rPr lang="en-US" altLang="en-US" sz="899" dirty="0">
                <a:latin typeface="Frutiger 45 Light" pitchFamily="34" charset="0"/>
                <a:ea typeface="MS Mincho" panose="02020609040205080304" pitchFamily="49" charset="-128"/>
                <a:cs typeface="Times New Roman" panose="02020603050405020304" pitchFamily="18" charset="0"/>
              </a:rPr>
              <a:t>UBS may </a:t>
            </a:r>
            <a:r>
              <a:rPr lang="en-US" altLang="en-US" sz="899" dirty="0" err="1">
                <a:latin typeface="Frutiger 45 Light" pitchFamily="34" charset="0"/>
                <a:ea typeface="MS Mincho" panose="02020609040205080304" pitchFamily="49" charset="-128"/>
                <a:cs typeface="Times New Roman" panose="02020603050405020304" pitchFamily="18" charset="0"/>
              </a:rPr>
              <a:t>utilise</a:t>
            </a:r>
            <a:r>
              <a:rPr lang="en-US" altLang="en-US" sz="899" dirty="0">
                <a:latin typeface="Frutiger 45 Light" pitchFamily="34" charset="0"/>
                <a:ea typeface="MS Mincho" panose="02020609040205080304" pitchFamily="49" charset="-128"/>
                <a:cs typeface="Times New Roman" panose="02020603050405020304" pitchFamily="18" charset="0"/>
              </a:rPr>
              <a:t> artificial intelligence tools (“AI Tools”) in the preparation of this document. Notwithstanding any such use of AI Tools, this document has undergone human review.</a:t>
            </a: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In no circumstances may this document or any of the information (including any forecast, value, index or other calculated amount ("Values")) be used for any of the following purposes (</a:t>
            </a:r>
            <a:r>
              <a:rPr lang="en-GB" altLang="en-US" sz="899" dirty="0" err="1">
                <a:latin typeface="Frutiger 45 Light" pitchFamily="34" charset="0"/>
                <a:ea typeface="MS Mincho" panose="02020609040205080304" pitchFamily="49" charset="-128"/>
                <a:cs typeface="Times New Roman" panose="02020603050405020304" pitchFamily="18" charset="0"/>
              </a:rPr>
              <a:t>i</a:t>
            </a:r>
            <a:r>
              <a:rPr lang="en-GB" altLang="en-US" sz="899" dirty="0">
                <a:latin typeface="Frutiger 45 Light" pitchFamily="34" charset="0"/>
                <a:ea typeface="MS Mincho" panose="02020609040205080304" pitchFamily="49" charset="-128"/>
                <a:cs typeface="Times New Roman" panose="02020603050405020304" pitchFamily="18" charset="0"/>
              </a:rPr>
              <a:t>) valuation or accounting purposes; (ii) to determine the amounts due or payable, the price or the value of any financial instrument or financial contract; or (iii) to measure the performance of any financial instrument including, without limitation, for the purpose of tracking the return or performance of any Value or of defining the asset allocation of portfolio or of computing performance fees. By receiving this document and the information you will be deemed to represent and warrant to UBS that you will not use this document or otherwise rely on any of the information for any of the above purposes. UBS and any of its directors or employees may be entitled at any time to hold long or short positions in investment instruments referred to herein, carry out transactions involving relevant investment instruments in the capacity of principal or agent, or provide any other services or have officers, who serve as directors, either to/for the issuer, the investment instrument itself or to/for any company commercially or financially affiliated to such issuers. At any time, investment decisions (including whether to buy, sell or hold securities) made by UBS and its employees may differ from or be contrary to the opinions expressed in UBS research publications. Some investments may not be readily realizable since the market in the securities is illiquid and therefore valuing the investment and identifying the risk to which you are exposed may be difficult to quantify. UBS relies on information barriers to control the flow of information contained in one or more areas within UBS, into other areas, units, divisions or affiliates of UBS. Futures and options trading is not suitable for every investor as there is a substantial risk of loss, and losses in excess of an initial investment may occur. Past performance of an investment is no guarantee for its future performance. Additional information will be made available upon request. Some investments may be subject to sudden and large falls in value and on realization you may receive back less than you invested or may be required to pay more. Changes in foreign exchange rates may have an adverse effect on the price, value or income of an investment. The analyst(s) responsible for the preparation of this report may interact with trading desk personnel, sales personnel and other constituencies for the purpose of gathering, synthesizing and interpreting market information.</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US" altLang="en-US" sz="899" dirty="0">
                <a:solidFill>
                  <a:srgbClr val="1C1C1C"/>
                </a:solidFill>
                <a:latin typeface="Frutiger 45 Light" pitchFamily="34" charset="0"/>
                <a:ea typeface="MS Mincho" panose="02020609040205080304" pitchFamily="49" charset="-128"/>
                <a:cs typeface="Times New Roman" panose="02020603050405020304" pitchFamily="18" charset="0"/>
              </a:rPr>
              <a:t>Different areas, groups, and personnel within UBS Group may produce and distribute separate research products</a:t>
            </a:r>
            <a:r>
              <a:rPr lang="en-US" altLang="en-US" sz="899" b="1" dirty="0">
                <a:solidFill>
                  <a:srgbClr val="1C1C1C"/>
                </a:solidFill>
                <a:latin typeface="Frutiger 45 Light" pitchFamily="34" charset="0"/>
                <a:ea typeface="MS Mincho" panose="02020609040205080304" pitchFamily="49" charset="-128"/>
                <a:cs typeface="Times New Roman" panose="02020603050405020304" pitchFamily="18" charset="0"/>
              </a:rPr>
              <a:t> independently of each other</a:t>
            </a:r>
            <a:r>
              <a:rPr lang="en-US" altLang="en-US" sz="899" dirty="0">
                <a:solidFill>
                  <a:srgbClr val="1C1C1C"/>
                </a:solidFill>
                <a:latin typeface="Frutiger 45 Light" pitchFamily="34" charset="0"/>
                <a:ea typeface="MS Mincho" panose="02020609040205080304" pitchFamily="49" charset="-128"/>
                <a:cs typeface="Times New Roman" panose="02020603050405020304" pitchFamily="18" charset="0"/>
              </a:rPr>
              <a:t>. For example, research publications from </a:t>
            </a:r>
            <a:r>
              <a:rPr lang="en-US" altLang="en-US" sz="899" b="1" dirty="0">
                <a:solidFill>
                  <a:srgbClr val="1C1C1C"/>
                </a:solidFill>
                <a:latin typeface="Frutiger 45 Light" pitchFamily="34" charset="0"/>
                <a:ea typeface="MS Mincho" panose="02020609040205080304" pitchFamily="49" charset="-128"/>
                <a:cs typeface="Times New Roman" panose="02020603050405020304" pitchFamily="18" charset="0"/>
              </a:rPr>
              <a:t>CIO </a:t>
            </a:r>
            <a:r>
              <a:rPr lang="en-US" altLang="en-US" sz="899" dirty="0">
                <a:solidFill>
                  <a:srgbClr val="1C1C1C"/>
                </a:solidFill>
                <a:latin typeface="Frutiger 45 Light" pitchFamily="34" charset="0"/>
                <a:ea typeface="MS Mincho" panose="02020609040205080304" pitchFamily="49" charset="-128"/>
                <a:cs typeface="Times New Roman" panose="02020603050405020304" pitchFamily="18" charset="0"/>
              </a:rPr>
              <a:t>are produced by UBS Global Wealth Management. </a:t>
            </a:r>
            <a:r>
              <a:rPr lang="en-US" altLang="en-US" sz="899" b="1" dirty="0">
                <a:solidFill>
                  <a:srgbClr val="1C1C1C"/>
                </a:solidFill>
                <a:latin typeface="Frutiger 45 Light" pitchFamily="34" charset="0"/>
                <a:ea typeface="MS Mincho" panose="02020609040205080304" pitchFamily="49" charset="-128"/>
                <a:cs typeface="Times New Roman" panose="02020603050405020304" pitchFamily="18" charset="0"/>
              </a:rPr>
              <a:t>UBS Global Research </a:t>
            </a:r>
            <a:r>
              <a:rPr lang="en-US" altLang="en-US" sz="899" dirty="0">
                <a:solidFill>
                  <a:srgbClr val="1C1C1C"/>
                </a:solidFill>
                <a:latin typeface="Frutiger 45 Light" pitchFamily="34" charset="0"/>
                <a:ea typeface="MS Mincho" panose="02020609040205080304" pitchFamily="49" charset="-128"/>
                <a:cs typeface="Times New Roman" panose="02020603050405020304" pitchFamily="18" charset="0"/>
              </a:rPr>
              <a:t>is produced by UBS Investment Bank. </a:t>
            </a:r>
            <a:r>
              <a:rPr lang="en-US" altLang="en-US" sz="899" b="1" dirty="0">
                <a:solidFill>
                  <a:srgbClr val="1C1C1C"/>
                </a:solidFill>
                <a:latin typeface="Frutiger 45 Light" pitchFamily="34" charset="0"/>
                <a:ea typeface="MS Mincho" panose="02020609040205080304" pitchFamily="49" charset="-128"/>
                <a:cs typeface="Times New Roman" panose="02020603050405020304" pitchFamily="18" charset="0"/>
              </a:rPr>
              <a:t>Research methodologies and rating systems of each separate research organization may differ</a:t>
            </a:r>
            <a:r>
              <a:rPr lang="en-US" altLang="en-US" sz="899" dirty="0">
                <a:solidFill>
                  <a:srgbClr val="1C1C1C"/>
                </a:solidFill>
                <a:latin typeface="Frutiger 45 Light" pitchFamily="34" charset="0"/>
                <a:ea typeface="MS Mincho" panose="02020609040205080304" pitchFamily="49" charset="-128"/>
                <a:cs typeface="Times New Roman" panose="02020603050405020304" pitchFamily="18" charset="0"/>
              </a:rPr>
              <a:t>, for example, in terms of investment recommendations, investment horizon, model assumptions, and valuation methods. As a consequence, except for certain economic forecasts (for which UBS CIO and UBS Global Research may collaborate), investment recommendations, ratings, price targets, and valuations provided by each of the separate research organizations may be different, or inconsistent. You should refer to each relevant research product for the details as to their methodologies and rating system. Not all clients may have access to all products from every organization. Each research product is subject to the policies and procedures of the organization that produces it.</a:t>
            </a:r>
            <a:r>
              <a:rPr lang="en-US" altLang="en-US" sz="899" dirty="0">
                <a:solidFill>
                  <a:srgbClr val="002060"/>
                </a:solidFill>
                <a:latin typeface="Frutiger 45 Light" pitchFamily="34" charset="0"/>
                <a:ea typeface="MS Mincho" panose="02020609040205080304" pitchFamily="49" charset="-128"/>
                <a:cs typeface="Times New Roman" panose="02020603050405020304" pitchFamily="18" charset="0"/>
              </a:rPr>
              <a:t> </a:t>
            </a:r>
            <a:r>
              <a:rPr lang="en-US" altLang="en-US" sz="899" dirty="0">
                <a:latin typeface="Frutiger 45 Light" pitchFamily="34" charset="0"/>
                <a:ea typeface="MS Mincho" panose="02020609040205080304" pitchFamily="49" charset="-128"/>
                <a:cs typeface="Times New Roman" panose="02020603050405020304" pitchFamily="18" charset="0"/>
              </a:rPr>
              <a:t>The compensation of the analyst(s) who prepared this report is determined exclusively by research management and senior management (not including investment banking). Analyst compensation is not based on investment banking, sales and trading or principal trading revenues, however, compensation may relate to the revenues of UBS Group as a whole, of which investment banking, sales and trading and principal trading are a part.</a:t>
            </a: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Tax treatment depends on the individual circumstances and may be subject to change in the future. UBS does not provide legal or tax advice and makes no representations as to the tax treatment of assets or the investment returns thereon both in general or with reference to specific client's circumstances and needs. We are of necessity unable to take into account the particular investment objectives, financial situation and needs of our individual clients and we would recommend that you take financial and/or tax advice as to the implications (including tax) of investing in any of the products mentioned herein.</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p:txBody>
      </p:sp>
    </p:spTree>
    <p:custDataLst>
      <p:tags r:id="rId1"/>
    </p:custData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PAGE HEADING">
            <a:extLst>
              <a:ext uri="{FF2B5EF4-FFF2-40B4-BE49-F238E27FC236}">
                <a16:creationId xmlns:a16="http://schemas.microsoft.com/office/drawing/2014/main" id="{5A33DB44-0127-AA02-BC2D-051D8A99DC11}"/>
              </a:ext>
            </a:extLst>
          </p:cNvPr>
          <p:cNvSpPr>
            <a:spLocks noGrp="1"/>
          </p:cNvSpPr>
          <p:nvPr>
            <p:ph type="title"/>
            <p:custDataLst>
              <p:tags r:id="rId2"/>
            </p:custDataLst>
          </p:nvPr>
        </p:nvSpPr>
        <p:spPr>
          <a:xfrm>
            <a:off x="659964" y="163635"/>
            <a:ext cx="9076201" cy="710863"/>
          </a:xfrm>
        </p:spPr>
        <p:txBody>
          <a:bodyPr>
            <a:normAutofit/>
          </a:bodyPr>
          <a:lstStyle/>
          <a:p>
            <a:pPr eaLnBrk="1" hangingPunct="1">
              <a:defRPr/>
            </a:pPr>
            <a:r>
              <a:rPr altLang="zh-TW" dirty="0">
                <a:latin typeface="Frutiger 45 Light" panose="020B0603020202020204" pitchFamily="34" charset="0"/>
              </a:rPr>
              <a:t>Risk information</a:t>
            </a:r>
            <a:endParaRPr altLang="zh-TW" dirty="0">
              <a:latin typeface="UBSHeadline" panose="020B0603020202020204" pitchFamily="34" charset="0"/>
            </a:endParaRPr>
          </a:p>
        </p:txBody>
      </p:sp>
      <p:sp>
        <p:nvSpPr>
          <p:cNvPr id="10243" name="TextBox 2">
            <a:extLst>
              <a:ext uri="{FF2B5EF4-FFF2-40B4-BE49-F238E27FC236}">
                <a16:creationId xmlns:a16="http://schemas.microsoft.com/office/drawing/2014/main" id="{E48129A8-E9E7-C119-5F88-7F7CE9B9EC2B}"/>
              </a:ext>
            </a:extLst>
          </p:cNvPr>
          <p:cNvSpPr txBox="1">
            <a:spLocks noChangeArrowheads="1"/>
          </p:cNvSpPr>
          <p:nvPr/>
        </p:nvSpPr>
        <p:spPr bwMode="auto">
          <a:xfrm>
            <a:off x="659965" y="1225613"/>
            <a:ext cx="12089213" cy="563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400"/>
              </a:spcBef>
              <a:buClr>
                <a:schemeClr val="tx2"/>
              </a:buClr>
              <a:buSzPct val="100000"/>
              <a:buFont typeface="Symbol" panose="05050102010706020507" pitchFamily="18" charset="2"/>
              <a:buChar char="·"/>
              <a:defRPr>
                <a:solidFill>
                  <a:schemeClr val="tx1"/>
                </a:solidFill>
                <a:latin typeface="Frutiger 55 Roman" pitchFamily="34" charset="0"/>
                <a:ea typeface="MS PGothic" panose="020B0600070205080204" pitchFamily="34" charset="-128"/>
              </a:defRPr>
            </a:lvl1pPr>
            <a:lvl2pPr marL="742950" indent="-285750">
              <a:spcBef>
                <a:spcPts val="700"/>
              </a:spcBef>
              <a:buClr>
                <a:schemeClr val="tx1"/>
              </a:buClr>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2pPr>
            <a:lvl3pPr marL="1143000" indent="-228600">
              <a:spcBef>
                <a:spcPts val="700"/>
              </a:spcBef>
              <a:buClr>
                <a:schemeClr val="tx1"/>
              </a:buClr>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3pPr>
            <a:lvl4pPr marL="1600200" indent="-228600">
              <a:spcBef>
                <a:spcPts val="300"/>
              </a:spcBef>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4pPr>
            <a:lvl5pPr marL="2057400" indent="-228600">
              <a:spcBef>
                <a:spcPts val="300"/>
              </a:spcBef>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5pPr>
            <a:lvl6pPr marL="2514600" indent="-228600" eaLnBrk="0" fontAlgn="base" hangingPunct="0">
              <a:spcBef>
                <a:spcPts val="300"/>
              </a:spcBef>
              <a:spcAft>
                <a:spcPct val="0"/>
              </a:spcAft>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6pPr>
            <a:lvl7pPr marL="2971800" indent="-228600" eaLnBrk="0" fontAlgn="base" hangingPunct="0">
              <a:spcBef>
                <a:spcPts val="300"/>
              </a:spcBef>
              <a:spcAft>
                <a:spcPct val="0"/>
              </a:spcAft>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7pPr>
            <a:lvl8pPr marL="3429000" indent="-228600" eaLnBrk="0" fontAlgn="base" hangingPunct="0">
              <a:spcBef>
                <a:spcPts val="300"/>
              </a:spcBef>
              <a:spcAft>
                <a:spcPct val="0"/>
              </a:spcAft>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8pPr>
            <a:lvl9pPr marL="3886200" indent="-228600" eaLnBrk="0" fontAlgn="base" hangingPunct="0">
              <a:spcBef>
                <a:spcPts val="300"/>
              </a:spcBef>
              <a:spcAft>
                <a:spcPct val="0"/>
              </a:spcAft>
              <a:buClr>
                <a:schemeClr val="tx1"/>
              </a:buClr>
              <a:buSzPct val="84000"/>
              <a:buFont typeface="Arial" panose="020B0604020202020204" pitchFamily="34" charset="0"/>
              <a:buChar char="–"/>
              <a:defRPr sz="1600">
                <a:solidFill>
                  <a:schemeClr val="tx1"/>
                </a:solidFill>
                <a:latin typeface="Frutiger 55 Roman" pitchFamily="34" charset="0"/>
                <a:ea typeface="MS PGothic" panose="020B0600070205080204" pitchFamily="34" charset="-128"/>
              </a:defRPr>
            </a:lvl9pPr>
          </a:lstStyle>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This material may not be reproduced or copies circulated without prior authority of UBS. Unless otherwise agreed in writing UBS expressly prohibits the distribution and transfer of this material to third parties for any reason. UBS accepts no liability whatsoever for any claims or lawsuits from any third parties arising from the use or distribution of this material. This report is for distribution only under such circumstances as may be permitted by applicable law. For information on the ways in which CIO manages conflicts and maintains independence of its investment views and publication offering, and research and rating methodologies, please visit </a:t>
            </a:r>
            <a:r>
              <a:rPr lang="en-GB" altLang="en-US" sz="899" u="sng" dirty="0">
                <a:solidFill>
                  <a:srgbClr val="0000FF"/>
                </a:solidFill>
                <a:latin typeface="Frutiger 45 Light" pitchFamily="34" charset="0"/>
                <a:ea typeface="MS Mincho" panose="02020609040205080304" pitchFamily="49" charset="-128"/>
                <a:cs typeface="Calibri" panose="020F0502020204030204" pitchFamily="34" charset="0"/>
                <a:hlinkClick r:id="rId5"/>
              </a:rPr>
              <a:t>www.ubs.com/research-methodology</a:t>
            </a:r>
            <a:r>
              <a:rPr lang="en-GB" altLang="en-US" sz="899" dirty="0">
                <a:latin typeface="Frutiger 45 Light" pitchFamily="34" charset="0"/>
                <a:ea typeface="MS Mincho" panose="02020609040205080304" pitchFamily="49" charset="-128"/>
                <a:cs typeface="Times New Roman" panose="02020603050405020304" pitchFamily="18" charset="0"/>
              </a:rPr>
              <a:t>. Additional information on the relevant authors of this publication and other CIO publication(s) referenced in this report; and copies of any past reports on this topic; are available upon request from your client advisor.</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b="1" dirty="0">
                <a:latin typeface="Frutiger 45 Light" pitchFamily="34" charset="0"/>
                <a:ea typeface="MS Mincho" panose="02020609040205080304" pitchFamily="49" charset="-128"/>
                <a:cs typeface="Times New Roman" panose="02020603050405020304" pitchFamily="18" charset="0"/>
              </a:rPr>
              <a:t>Important Information About Sustainable Investing Strategies</a:t>
            </a:r>
            <a:r>
              <a:rPr lang="en-GB" altLang="en-US" sz="899" dirty="0">
                <a:latin typeface="Frutiger 45 Light" pitchFamily="34" charset="0"/>
                <a:ea typeface="MS Mincho" panose="02020609040205080304" pitchFamily="49" charset="-128"/>
                <a:cs typeface="Times New Roman" panose="02020603050405020304" pitchFamily="18" charset="0"/>
              </a:rPr>
              <a:t>: Sustainable investing strategies aim to consider and incorporate environmental, social and governance (ESG) factors into investment process and portfolio construction. Strategies across geographies approach ESG analysis and incorporate the findings in a variety of ways. Incorporating ESG factors or Sustainable Investing considerations may inhibit UBS’s ability to participate in or to advise on certain investment opportunities that otherwise would be consistent with </a:t>
            </a:r>
            <a:r>
              <a:rPr lang="en-US" altLang="en-US" sz="899" dirty="0">
                <a:latin typeface="Frutiger 45 Light" pitchFamily="34" charset="0"/>
                <a:ea typeface="MS Mincho" panose="02020609040205080304" pitchFamily="49" charset="-128"/>
                <a:cs typeface="Times New Roman" panose="02020603050405020304" pitchFamily="18" charset="0"/>
              </a:rPr>
              <a:t>the Client’</a:t>
            </a:r>
            <a:r>
              <a:rPr lang="en-GB" altLang="en-US" sz="899" dirty="0">
                <a:latin typeface="Frutiger 45 Light" pitchFamily="34" charset="0"/>
                <a:ea typeface="MS Mincho" panose="02020609040205080304" pitchFamily="49" charset="-128"/>
                <a:cs typeface="Times New Roman" panose="02020603050405020304" pitchFamily="18" charset="0"/>
              </a:rPr>
              <a:t>s investment objectives. The returns on a portfolio </a:t>
            </a:r>
            <a:r>
              <a:rPr lang="en-US" altLang="en-US" sz="899" dirty="0">
                <a:latin typeface="Frutiger 45 Light" pitchFamily="34" charset="0"/>
                <a:ea typeface="MS Mincho" panose="02020609040205080304" pitchFamily="49" charset="-128"/>
                <a:cs typeface="Times New Roman" panose="02020603050405020304" pitchFamily="18" charset="0"/>
              </a:rPr>
              <a:t>incorporating ESG factors or Sustainable Investing considerations</a:t>
            </a:r>
            <a:r>
              <a:rPr lang="en-GB" altLang="en-US" sz="899" dirty="0">
                <a:latin typeface="Frutiger 45 Light" pitchFamily="34" charset="0"/>
                <a:ea typeface="MS Mincho" panose="02020609040205080304" pitchFamily="49" charset="-128"/>
                <a:cs typeface="Times New Roman" panose="02020603050405020304" pitchFamily="18" charset="0"/>
              </a:rPr>
              <a:t> may be lower or higher than portfolios where ESG factors, exclusions, or other sustainability issues are not considered by UBS, and the investment opportunities available to such portfolios may differ.</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b="1"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b="1" dirty="0">
                <a:latin typeface="Frutiger 45 Light" pitchFamily="34" charset="0"/>
                <a:ea typeface="MS Mincho" panose="02020609040205080304" pitchFamily="49" charset="-128"/>
                <a:cs typeface="Times New Roman" panose="02020603050405020304" pitchFamily="18" charset="0"/>
              </a:rPr>
              <a:t>External Asset Managers / External Financial Consultants:</a:t>
            </a:r>
            <a:r>
              <a:rPr lang="en-GB" altLang="en-US" sz="899" dirty="0">
                <a:latin typeface="Frutiger 45 Light" pitchFamily="34" charset="0"/>
                <a:ea typeface="MS Mincho" panose="02020609040205080304" pitchFamily="49" charset="-128"/>
                <a:cs typeface="Times New Roman" panose="02020603050405020304" pitchFamily="18" charset="0"/>
              </a:rPr>
              <a:t> In case this research or publication is provided to an External Asset Manager or an External Financial Consultant, UBS expressly prohibits that it is redistributed by the External Asset Manager or the External Financial Consultant and is made available to their clients and/or third parties.</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114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799"/>
              </a:lnSpc>
              <a:spcBef>
                <a:spcPct val="0"/>
              </a:spcBef>
              <a:spcAft>
                <a:spcPts val="200"/>
              </a:spcAft>
              <a:buNone/>
            </a:pPr>
            <a:r>
              <a:rPr lang="en-US" altLang="en-US" sz="899" b="1" dirty="0">
                <a:latin typeface="Frutiger 45 Light" pitchFamily="34" charset="0"/>
                <a:ea typeface="MS Mincho" panose="02020609040205080304" pitchFamily="49" charset="-128"/>
                <a:cs typeface="Times New Roman" panose="02020603050405020304" pitchFamily="18" charset="0"/>
              </a:rPr>
              <a:t>USA:</a:t>
            </a:r>
            <a:r>
              <a:rPr lang="en-US" altLang="en-US" sz="899" dirty="0">
                <a:latin typeface="Frutiger 45 Light" pitchFamily="34" charset="0"/>
                <a:ea typeface="MS Mincho" panose="02020609040205080304" pitchFamily="49" charset="-128"/>
                <a:cs typeface="Times New Roman" panose="02020603050405020304" pitchFamily="18" charset="0"/>
              </a:rPr>
              <a:t> Distributed to US persons only by UBS Financial Services Inc. or UBS Securities LLC, subsidiaries of UBS AG. UBS Switzerland AG, UBS Europe SE, UBS Bank, S.A., UBS </a:t>
            </a:r>
            <a:r>
              <a:rPr lang="en-US" altLang="en-US" sz="899" dirty="0" err="1">
                <a:latin typeface="Frutiger 45 Light" pitchFamily="34" charset="0"/>
                <a:ea typeface="MS Mincho" panose="02020609040205080304" pitchFamily="49" charset="-128"/>
                <a:cs typeface="Times New Roman" panose="02020603050405020304" pitchFamily="18" charset="0"/>
              </a:rPr>
              <a:t>Brasil</a:t>
            </a:r>
            <a:r>
              <a:rPr lang="en-US" altLang="en-US" sz="899" dirty="0">
                <a:latin typeface="Frutiger 45 Light" pitchFamily="34" charset="0"/>
                <a:ea typeface="MS Mincho" panose="02020609040205080304" pitchFamily="49" charset="-128"/>
                <a:cs typeface="Times New Roman" panose="02020603050405020304" pitchFamily="18" charset="0"/>
              </a:rPr>
              <a:t> Administradora de Valores </a:t>
            </a:r>
            <a:r>
              <a:rPr lang="en-US" altLang="en-US" sz="899" dirty="0" err="1">
                <a:latin typeface="Frutiger 45 Light" pitchFamily="34" charset="0"/>
                <a:ea typeface="MS Mincho" panose="02020609040205080304" pitchFamily="49" charset="-128"/>
                <a:cs typeface="Times New Roman" panose="02020603050405020304" pitchFamily="18" charset="0"/>
              </a:rPr>
              <a:t>Mobiliarios</a:t>
            </a:r>
            <a:r>
              <a:rPr lang="en-US" altLang="en-US" sz="899" dirty="0">
                <a:latin typeface="Frutiger 45 Light" pitchFamily="34" charset="0"/>
                <a:ea typeface="MS Mincho" panose="02020609040205080304" pitchFamily="49" charset="-128"/>
                <a:cs typeface="Times New Roman" panose="02020603050405020304" pitchFamily="18" charset="0"/>
              </a:rPr>
              <a:t> </a:t>
            </a:r>
            <a:r>
              <a:rPr lang="en-US" altLang="en-US" sz="899" dirty="0" err="1">
                <a:latin typeface="Frutiger 45 Light" pitchFamily="34" charset="0"/>
                <a:ea typeface="MS Mincho" panose="02020609040205080304" pitchFamily="49" charset="-128"/>
                <a:cs typeface="Times New Roman" panose="02020603050405020304" pitchFamily="18" charset="0"/>
              </a:rPr>
              <a:t>Ltda</a:t>
            </a:r>
            <a:r>
              <a:rPr lang="en-US" altLang="en-US" sz="899" dirty="0">
                <a:latin typeface="Frutiger 45 Light" pitchFamily="34" charset="0"/>
                <a:ea typeface="MS Mincho" panose="02020609040205080304" pitchFamily="49" charset="-128"/>
                <a:cs typeface="Times New Roman" panose="02020603050405020304" pitchFamily="18" charset="0"/>
              </a:rPr>
              <a:t>, UBS (</a:t>
            </a:r>
            <a:r>
              <a:rPr lang="en-US" altLang="en-US" sz="899" dirty="0" err="1">
                <a:latin typeface="Frutiger 45 Light" pitchFamily="34" charset="0"/>
                <a:ea typeface="MS Mincho" panose="02020609040205080304" pitchFamily="49" charset="-128"/>
                <a:cs typeface="Times New Roman" panose="02020603050405020304" pitchFamily="18" charset="0"/>
              </a:rPr>
              <a:t>Brasil</a:t>
            </a:r>
            <a:r>
              <a:rPr lang="en-US" altLang="en-US" sz="899" dirty="0">
                <a:latin typeface="Frutiger 45 Light" pitchFamily="34" charset="0"/>
                <a:ea typeface="MS Mincho" panose="02020609040205080304" pitchFamily="49" charset="-128"/>
                <a:cs typeface="Times New Roman" panose="02020603050405020304" pitchFamily="18" charset="0"/>
              </a:rPr>
              <a:t>) </a:t>
            </a:r>
            <a:r>
              <a:rPr lang="en-US" altLang="en-US" sz="899" dirty="0" err="1">
                <a:latin typeface="Frutiger 45 Light" pitchFamily="34" charset="0"/>
                <a:ea typeface="MS Mincho" panose="02020609040205080304" pitchFamily="49" charset="-128"/>
                <a:cs typeface="Times New Roman" panose="02020603050405020304" pitchFamily="18" charset="0"/>
              </a:rPr>
              <a:t>Corretora</a:t>
            </a:r>
            <a:r>
              <a:rPr lang="en-US" altLang="en-US" sz="899" dirty="0">
                <a:latin typeface="Frutiger 45 Light" pitchFamily="34" charset="0"/>
                <a:ea typeface="MS Mincho" panose="02020609040205080304" pitchFamily="49" charset="-128"/>
                <a:cs typeface="Times New Roman" panose="02020603050405020304" pitchFamily="18" charset="0"/>
              </a:rPr>
              <a:t> de Valores S.A., UBS </a:t>
            </a:r>
            <a:r>
              <a:rPr lang="en-US" altLang="en-US" sz="899" dirty="0" err="1">
                <a:latin typeface="Frutiger 45 Light" pitchFamily="34" charset="0"/>
                <a:ea typeface="MS Mincho" panose="02020609040205080304" pitchFamily="49" charset="-128"/>
                <a:cs typeface="Times New Roman" panose="02020603050405020304" pitchFamily="18" charset="0"/>
              </a:rPr>
              <a:t>Asesores</a:t>
            </a:r>
            <a:r>
              <a:rPr lang="en-US" altLang="en-US" sz="899" dirty="0">
                <a:latin typeface="Frutiger 45 Light" pitchFamily="34" charset="0"/>
                <a:ea typeface="MS Mincho" panose="02020609040205080304" pitchFamily="49" charset="-128"/>
                <a:cs typeface="Times New Roman" panose="02020603050405020304" pitchFamily="18" charset="0"/>
              </a:rPr>
              <a:t> Mexico, S.A. de C.V., UBS </a:t>
            </a:r>
            <a:r>
              <a:rPr lang="en-US" altLang="en-US" sz="899" dirty="0" err="1">
                <a:latin typeface="Frutiger 45 Light" pitchFamily="34" charset="0"/>
                <a:ea typeface="MS Mincho" panose="02020609040205080304" pitchFamily="49" charset="-128"/>
                <a:cs typeface="Times New Roman" panose="02020603050405020304" pitchFamily="18" charset="0"/>
              </a:rPr>
              <a:t>SuMi</a:t>
            </a:r>
            <a:r>
              <a:rPr lang="en-US" altLang="en-US" sz="899" dirty="0">
                <a:latin typeface="Frutiger 45 Light" pitchFamily="34" charset="0"/>
                <a:ea typeface="MS Mincho" panose="02020609040205080304" pitchFamily="49" charset="-128"/>
                <a:cs typeface="Times New Roman" panose="02020603050405020304" pitchFamily="18" charset="0"/>
              </a:rPr>
              <a:t> TRUST Wealth Management Co., Ltd., UBS Wealth Management Israel Ltd and UBS </a:t>
            </a:r>
            <a:r>
              <a:rPr lang="en-US" altLang="en-US" sz="899" dirty="0" err="1">
                <a:latin typeface="Frutiger 45 Light" pitchFamily="34" charset="0"/>
                <a:ea typeface="MS Mincho" panose="02020609040205080304" pitchFamily="49" charset="-128"/>
                <a:cs typeface="Times New Roman" panose="02020603050405020304" pitchFamily="18" charset="0"/>
              </a:rPr>
              <a:t>Menkul</a:t>
            </a:r>
            <a:r>
              <a:rPr lang="en-US" altLang="en-US" sz="899" dirty="0">
                <a:latin typeface="Frutiger 45 Light" pitchFamily="34" charset="0"/>
                <a:ea typeface="MS Mincho" panose="02020609040205080304" pitchFamily="49" charset="-128"/>
                <a:cs typeface="Times New Roman" panose="02020603050405020304" pitchFamily="18" charset="0"/>
              </a:rPr>
              <a:t> </a:t>
            </a:r>
            <a:r>
              <a:rPr lang="en-US" altLang="en-US" sz="899" dirty="0" err="1">
                <a:latin typeface="Frutiger 45 Light" pitchFamily="34" charset="0"/>
                <a:ea typeface="MS Mincho" panose="02020609040205080304" pitchFamily="49" charset="-128"/>
                <a:cs typeface="Times New Roman" panose="02020603050405020304" pitchFamily="18" charset="0"/>
              </a:rPr>
              <a:t>Degerler</a:t>
            </a:r>
            <a:r>
              <a:rPr lang="en-US" altLang="en-US" sz="899" dirty="0">
                <a:latin typeface="Frutiger 45 Light" pitchFamily="34" charset="0"/>
                <a:ea typeface="MS Mincho" panose="02020609040205080304" pitchFamily="49" charset="-128"/>
                <a:cs typeface="Times New Roman" panose="02020603050405020304" pitchFamily="18" charset="0"/>
              </a:rPr>
              <a:t> AS are affiliates of UBS AG. </a:t>
            </a:r>
            <a:r>
              <a:rPr lang="en-US" altLang="en-US" sz="899" b="1" dirty="0">
                <a:latin typeface="Frutiger 45 Light" pitchFamily="34" charset="0"/>
                <a:ea typeface="MS Mincho" panose="02020609040205080304" pitchFamily="49" charset="-128"/>
                <a:cs typeface="Times New Roman" panose="02020603050405020304" pitchFamily="18" charset="0"/>
              </a:rPr>
              <a:t>UBS Financial Services Inc. accepts responsibility for the content of a report prepared by a non-US affiliate when it distributes reports to US persons. All transactions by a US person in the securities mentioned in this report should be effected through a US-registered broker dealer affiliated with UBS, and not through a non-US affiliate. The contents of this report have not been and will not be approved by any securities or investment authority in the United States or elsewhere. UBS Financial Services Inc. is not acting as a municipal advisor to any municipal entity or obligated person within the meaning of Section 15B of the Securities Exchange Act (the "Municipal Advisor Rule") and the opinions or views contained herein are not intended to be, and do not constitute, advice within the meaning of the Municipal Advisor Rule.</a:t>
            </a:r>
            <a:r>
              <a:rPr lang="en-GB" altLang="en-US" sz="899" b="1" dirty="0">
                <a:latin typeface="Frutiger 45 Light" pitchFamily="34" charset="0"/>
                <a:ea typeface="MS Mincho" panose="02020609040205080304" pitchFamily="49" charset="-128"/>
                <a:cs typeface="Times New Roman" panose="02020603050405020304" pitchFamily="18" charset="0"/>
              </a:rPr>
              <a:t> </a:t>
            </a:r>
            <a:endParaRPr lang="en-US" altLang="en-US" sz="899" b="1" dirty="0">
              <a:latin typeface="Frutiger 45 Light" pitchFamily="34" charset="0"/>
              <a:ea typeface="MS Mincho" panose="02020609040205080304" pitchFamily="49" charset="-128"/>
              <a:cs typeface="Times New Roman" panose="02020603050405020304" pitchFamily="18" charset="0"/>
            </a:endParaRPr>
          </a:p>
          <a:p>
            <a:pPr algn="just">
              <a:lnSpc>
                <a:spcPts val="1149"/>
              </a:lnSpc>
              <a:spcBef>
                <a:spcPct val="0"/>
              </a:spcBef>
              <a:spcAft>
                <a:spcPts val="200"/>
              </a:spcAft>
              <a:buNone/>
            </a:pPr>
            <a:r>
              <a:rPr lang="en-GB" altLang="en-US" sz="899" dirty="0">
                <a:latin typeface="Frutiger 45 Light" pitchFamily="34" charset="0"/>
                <a:ea typeface="MS Mincho" panose="02020609040205080304" pitchFamily="49" charset="-128"/>
                <a:cs typeface="Times New Roman" panose="02020603050405020304" pitchFamily="18" charset="0"/>
              </a:rPr>
              <a:t>For country information, please visit </a:t>
            </a:r>
            <a:r>
              <a:rPr lang="en-GB" altLang="en-US" sz="899" u="sng" dirty="0">
                <a:solidFill>
                  <a:srgbClr val="0000FF"/>
                </a:solidFill>
                <a:latin typeface="Frutiger 45 Light" pitchFamily="34" charset="0"/>
                <a:ea typeface="MS Mincho" panose="02020609040205080304" pitchFamily="49" charset="-128"/>
                <a:cs typeface="Times New Roman" panose="02020603050405020304" pitchFamily="18" charset="0"/>
                <a:hlinkClick r:id="rId6"/>
              </a:rPr>
              <a:t>ubs.com/</a:t>
            </a:r>
            <a:r>
              <a:rPr lang="en-GB" altLang="en-US" sz="899" u="sng" dirty="0" err="1">
                <a:solidFill>
                  <a:srgbClr val="0000FF"/>
                </a:solidFill>
                <a:latin typeface="Frutiger 45 Light" pitchFamily="34" charset="0"/>
                <a:ea typeface="MS Mincho" panose="02020609040205080304" pitchFamily="49" charset="-128"/>
                <a:cs typeface="Times New Roman" panose="02020603050405020304" pitchFamily="18" charset="0"/>
                <a:hlinkClick r:id="rId6"/>
              </a:rPr>
              <a:t>cio</a:t>
            </a:r>
            <a:r>
              <a:rPr lang="en-GB" altLang="en-US" sz="899" u="sng" dirty="0">
                <a:solidFill>
                  <a:srgbClr val="0000FF"/>
                </a:solidFill>
                <a:latin typeface="Frutiger 45 Light" pitchFamily="34" charset="0"/>
                <a:ea typeface="MS Mincho" panose="02020609040205080304" pitchFamily="49" charset="-128"/>
                <a:cs typeface="Times New Roman" panose="02020603050405020304" pitchFamily="18" charset="0"/>
                <a:hlinkClick r:id="rId6"/>
              </a:rPr>
              <a:t>-country-disclaimer-gr</a:t>
            </a:r>
            <a:r>
              <a:rPr lang="en-GB" altLang="en-US" sz="899" dirty="0">
                <a:latin typeface="Frutiger 45 Light" pitchFamily="34" charset="0"/>
                <a:ea typeface="MS Mincho" panose="02020609040205080304" pitchFamily="49" charset="-128"/>
                <a:cs typeface="Times New Roman" panose="02020603050405020304" pitchFamily="18" charset="0"/>
              </a:rPr>
              <a:t> or ask your client advisor for the full disclaimer.</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114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b="1" dirty="0">
                <a:latin typeface="Frutiger 45 Light" pitchFamily="34" charset="0"/>
                <a:ea typeface="MS Mincho" panose="02020609040205080304" pitchFamily="49" charset="-128"/>
                <a:cs typeface="Times New Roman" panose="02020603050405020304" pitchFamily="18" charset="0"/>
              </a:rPr>
              <a:t>Additional Disclaimer relevant to Credit Suisse Wealth Management</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You receive this document in your capacity as a client of Credit Suisse Wealth Management. Your personal data will be processed in accordance with the Credit Suisse privacy statement accessible at your domicile through the official Credit Suisse website. In order to provide you with marketing materials concerning our products and services, UBS Group AG and its subsidiaries may process your basic personal data (i.e. contact details such as name, e-mail address) until you notify us that you no longer wish to receive them. You can optout from receiving these materials at any time by informing your Relationship Manager.</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Except as otherwise specified herein and/or depending on the local Credit Suisse entity from which you are receiving this report, this report is distributed by UBS Switzerland AG, authorised and regulated by the Swiss Financial Market Supervisory Authority (FINMA).</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 </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rPr>
              <a:t>Version A/2026. CIO82652744</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lnSpc>
                <a:spcPts val="999"/>
              </a:lnSpc>
              <a:spcBef>
                <a:spcPct val="0"/>
              </a:spcBef>
              <a:buNone/>
            </a:pPr>
            <a:r>
              <a:rPr lang="en-GB" altLang="en-US" sz="899" dirty="0">
                <a:latin typeface="Frutiger 45 Light" pitchFamily="34" charset="0"/>
                <a:ea typeface="MS Mincho" panose="02020609040205080304" pitchFamily="49" charset="-128"/>
                <a:cs typeface="Times New Roman" panose="02020603050405020304" pitchFamily="18" charset="0"/>
                <a:sym typeface="Symbol" panose="05050102010706020507" pitchFamily="18" charset="2"/>
              </a:rPr>
              <a:t></a:t>
            </a:r>
            <a:r>
              <a:rPr lang="en-GB" altLang="en-US" sz="899" dirty="0">
                <a:latin typeface="Frutiger 45 Light" pitchFamily="34" charset="0"/>
                <a:ea typeface="MS Mincho" panose="02020609040205080304" pitchFamily="49" charset="-128"/>
                <a:cs typeface="Times New Roman" panose="02020603050405020304" pitchFamily="18" charset="0"/>
              </a:rPr>
              <a:t> UBS 2026. The key symbol and UBS are among the registered and unregistered trademarks of UBS. </a:t>
            </a:r>
            <a:r>
              <a:rPr lang="de-DE" altLang="en-US" sz="899" dirty="0">
                <a:latin typeface="Frutiger 45 Light" pitchFamily="34" charset="0"/>
                <a:ea typeface="MS Mincho" panose="02020609040205080304" pitchFamily="49" charset="-128"/>
                <a:cs typeface="Times New Roman" panose="02020603050405020304" pitchFamily="18" charset="0"/>
              </a:rPr>
              <a:t>All </a:t>
            </a:r>
            <a:r>
              <a:rPr lang="de-DE" altLang="en-US" sz="899" dirty="0" err="1">
                <a:latin typeface="Frutiger 45 Light" pitchFamily="34" charset="0"/>
                <a:ea typeface="MS Mincho" panose="02020609040205080304" pitchFamily="49" charset="-128"/>
                <a:cs typeface="Times New Roman" panose="02020603050405020304" pitchFamily="18" charset="0"/>
              </a:rPr>
              <a:t>rights</a:t>
            </a:r>
            <a:r>
              <a:rPr lang="de-DE" altLang="en-US" sz="899" dirty="0">
                <a:latin typeface="Frutiger 45 Light" pitchFamily="34" charset="0"/>
                <a:ea typeface="MS Mincho" panose="02020609040205080304" pitchFamily="49" charset="-128"/>
                <a:cs typeface="Times New Roman" panose="02020603050405020304" pitchFamily="18" charset="0"/>
              </a:rPr>
              <a:t> </a:t>
            </a:r>
            <a:r>
              <a:rPr lang="de-DE" altLang="en-US" sz="899" dirty="0" err="1">
                <a:latin typeface="Frutiger 45 Light" pitchFamily="34" charset="0"/>
                <a:ea typeface="MS Mincho" panose="02020609040205080304" pitchFamily="49" charset="-128"/>
                <a:cs typeface="Times New Roman" panose="02020603050405020304" pitchFamily="18" charset="0"/>
              </a:rPr>
              <a:t>reserved</a:t>
            </a:r>
            <a:r>
              <a:rPr lang="de-DE" altLang="en-US" sz="899" dirty="0">
                <a:latin typeface="Frutiger 45 Light" pitchFamily="34" charset="0"/>
                <a:ea typeface="MS Mincho" panose="02020609040205080304" pitchFamily="49" charset="-128"/>
                <a:cs typeface="Times New Roman" panose="02020603050405020304" pitchFamily="18" charset="0"/>
              </a:rPr>
              <a:t>.</a:t>
            </a:r>
            <a:endParaRPr lang="en-US" altLang="en-US" sz="899" dirty="0">
              <a:latin typeface="Frutiger 45 Light" pitchFamily="34" charset="0"/>
              <a:ea typeface="MS Mincho" panose="02020609040205080304" pitchFamily="49" charset="-128"/>
              <a:cs typeface="Times New Roman" panose="02020603050405020304" pitchFamily="18" charset="0"/>
            </a:endParaRPr>
          </a:p>
          <a:p>
            <a:pPr algn="just">
              <a:spcBef>
                <a:spcPct val="0"/>
              </a:spcBef>
              <a:buFont typeface="Symbol" panose="05050102010706020507" pitchFamily="18" charset="2"/>
              <a:buNone/>
            </a:pPr>
            <a:endParaRPr lang="en-GB" altLang="en-US" sz="899" dirty="0">
              <a:latin typeface="Frutiger 45 Light" pitchFamily="34" charset="0"/>
              <a:ea typeface="MS Mincho" panose="02020609040205080304" pitchFamily="49" charset="-128"/>
              <a:cs typeface="Times New Roman" panose="02020603050405020304" pitchFamily="18" charset="0"/>
            </a:endParaRPr>
          </a:p>
        </p:txBody>
      </p:sp>
    </p:spTree>
    <p:custDataLst>
      <p:tags r:id="rId1"/>
    </p:custData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DAA91-28FF-E16D-AFE7-951D68B43A4A}"/>
            </a:ext>
          </a:extLst>
        </p:cNvPr>
        <p:cNvGrpSpPr/>
        <p:nvPr/>
      </p:nvGrpSpPr>
      <p:grpSpPr>
        <a:xfrm>
          <a:off x="0" y="0"/>
          <a:ext cx="0" cy="0"/>
          <a:chOff x="0" y="0"/>
          <a:chExt cx="0" cy="0"/>
        </a:xfrm>
      </p:grpSpPr>
      <p:graphicFrame>
        <p:nvGraphicFramePr>
          <p:cNvPr id="12" name="Chart 11"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V&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553104AE-D3A2-8B9B-B541-D1E282C8ADFC}"/>
              </a:ext>
            </a:extLst>
          </p:cNvPr>
          <p:cNvGraphicFramePr>
            <a:graphicFrameLocks/>
          </p:cNvGraphicFramePr>
          <p:nvPr>
            <p:extLst>
              <p:ext uri="{D42A27DB-BD31-4B8C-83A1-F6EECF244321}">
                <p14:modId xmlns:p14="http://schemas.microsoft.com/office/powerpoint/2010/main" val="2111260429"/>
              </p:ext>
            </p:extLst>
          </p:nvPr>
        </p:nvGraphicFramePr>
        <p:xfrm>
          <a:off x="7548930" y="2309446"/>
          <a:ext cx="4932000" cy="4186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C908EADE-EE50-8906-E053-0A2E5FA26805}"/>
              </a:ext>
            </a:extLst>
          </p:cNvPr>
          <p:cNvGraphicFramePr>
            <a:graphicFrameLocks/>
          </p:cNvGraphicFramePr>
          <p:nvPr>
            <p:extLst>
              <p:ext uri="{D42A27DB-BD31-4B8C-83A1-F6EECF244321}">
                <p14:modId xmlns:p14="http://schemas.microsoft.com/office/powerpoint/2010/main" val="663973266"/>
              </p:ext>
            </p:extLst>
          </p:nvPr>
        </p:nvGraphicFramePr>
        <p:xfrm>
          <a:off x="434595" y="2309446"/>
          <a:ext cx="5979600" cy="4186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9" name="think-cell data - do not delete" hidden="1">
            <a:extLst>
              <a:ext uri="{FF2B5EF4-FFF2-40B4-BE49-F238E27FC236}">
                <a16:creationId xmlns:a16="http://schemas.microsoft.com/office/drawing/2014/main" id="{07EC8A31-C043-988E-207F-AE33FF006DEF}"/>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11" imgW="361" imgH="373" progId="TCLayout.ActiveDocument.1">
                  <p:embed/>
                </p:oleObj>
              </mc:Choice>
              <mc:Fallback>
                <p:oleObj name="think-cell Slide" r:id="rId11" imgW="361" imgH="373" progId="TCLayout.ActiveDocument.1">
                  <p:embed/>
                  <p:pic>
                    <p:nvPicPr>
                      <p:cNvPr id="19" name="think-cell data - do not delete" hidden="1">
                        <a:extLst>
                          <a:ext uri="{FF2B5EF4-FFF2-40B4-BE49-F238E27FC236}">
                            <a16:creationId xmlns:a16="http://schemas.microsoft.com/office/drawing/2014/main" id="{F170F451-7151-B0A2-0113-F77A46B54044}"/>
                          </a:ext>
                        </a:extLst>
                      </p:cNvPr>
                      <p:cNvPicPr/>
                      <p:nvPr/>
                    </p:nvPicPr>
                    <p:blipFill>
                      <a:blip r:embed="rId12"/>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DF618DE2-600E-47E8-A480-F91902E5911C}"/>
              </a:ext>
            </a:extLst>
          </p:cNvPr>
          <p:cNvSpPr>
            <a:spLocks noGrp="1"/>
          </p:cNvSpPr>
          <p:nvPr>
            <p:ph type="title"/>
            <p:custDataLst>
              <p:tags r:id="rId3"/>
            </p:custDataLst>
          </p:nvPr>
        </p:nvSpPr>
        <p:spPr>
          <a:xfrm>
            <a:off x="582528" y="1786"/>
            <a:ext cx="12238019" cy="941386"/>
          </a:xfrm>
        </p:spPr>
        <p:txBody>
          <a:bodyPr vert="horz">
            <a:normAutofit/>
          </a:bodyPr>
          <a:lstStyle/>
          <a:p>
            <a:r>
              <a:rPr lang="en-US" dirty="0"/>
              <a:t>History suggests looking beyond geopolitical escalations</a:t>
            </a:r>
            <a:endParaRPr lang="en-US" spc="-50" dirty="0"/>
          </a:p>
        </p:txBody>
      </p:sp>
      <p:sp>
        <p:nvSpPr>
          <p:cNvPr id="3" name="TextBox 2">
            <a:extLst>
              <a:ext uri="{FF2B5EF4-FFF2-40B4-BE49-F238E27FC236}">
                <a16:creationId xmlns:a16="http://schemas.microsoft.com/office/drawing/2014/main" id="{E079F575-48AB-AA8C-EC08-F49FC44245F4}"/>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Refinitiv, UBS, as of 09 February 2026</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7" name="TextBox 6">
            <a:extLst>
              <a:ext uri="{FF2B5EF4-FFF2-40B4-BE49-F238E27FC236}">
                <a16:creationId xmlns:a16="http://schemas.microsoft.com/office/drawing/2014/main" id="{70913B73-136F-0CE6-99AC-BC0AA3B51087}"/>
              </a:ext>
            </a:extLst>
          </p:cNvPr>
          <p:cNvSpPr txBox="1"/>
          <p:nvPr>
            <p:custDataLst>
              <p:tags r:id="rId5"/>
            </p:custDataLst>
          </p:nvPr>
        </p:nvSpPr>
        <p:spPr>
          <a:xfrm>
            <a:off x="582528" y="1411176"/>
            <a:ext cx="4520414" cy="365587"/>
          </a:xfrm>
          <a:prstGeom prst="rect">
            <a:avLst/>
          </a:prstGeom>
          <a:noFill/>
        </p:spPr>
        <p:txBody>
          <a:bodyPr vert="horz" wrap="square" lIns="0" tIns="0" rIns="0" bIns="0" rtlCol="0" anchor="t">
            <a:noAutofit/>
          </a:bodyPr>
          <a:lstStyle/>
          <a:p>
            <a:pPr eaLnBrk="1">
              <a:spcBef>
                <a:spcPts val="0"/>
              </a:spcBef>
              <a:spcAft>
                <a:spcPts val="600"/>
              </a:spcAft>
            </a:pPr>
            <a:r>
              <a:rPr lang="en-US" sz="1400" b="1" dirty="0"/>
              <a:t>Markets have shown resilience to geopolitical escalations</a:t>
            </a:r>
          </a:p>
          <a:p>
            <a:pPr eaLnBrk="1">
              <a:spcBef>
                <a:spcPts val="0"/>
              </a:spcBef>
              <a:spcAft>
                <a:spcPts val="600"/>
              </a:spcAft>
            </a:pPr>
            <a:r>
              <a:rPr lang="en-US" sz="1400" dirty="0"/>
              <a:t>Price evolution across oil-related geopolitical events since 1990</a:t>
            </a:r>
          </a:p>
        </p:txBody>
      </p:sp>
      <p:sp>
        <p:nvSpPr>
          <p:cNvPr id="8" name="TextBox 7">
            <a:extLst>
              <a:ext uri="{FF2B5EF4-FFF2-40B4-BE49-F238E27FC236}">
                <a16:creationId xmlns:a16="http://schemas.microsoft.com/office/drawing/2014/main" id="{D469BED7-A88F-3881-CED9-546D9BB78E22}"/>
              </a:ext>
            </a:extLst>
          </p:cNvPr>
          <p:cNvSpPr txBox="1"/>
          <p:nvPr>
            <p:custDataLst>
              <p:tags r:id="rId6"/>
            </p:custDataLst>
          </p:nvPr>
        </p:nvSpPr>
        <p:spPr>
          <a:xfrm>
            <a:off x="7745757" y="1411176"/>
            <a:ext cx="4520414" cy="365587"/>
          </a:xfrm>
          <a:prstGeom prst="rect">
            <a:avLst/>
          </a:prstGeom>
          <a:noFill/>
        </p:spPr>
        <p:txBody>
          <a:bodyPr vert="horz" wrap="square" lIns="0" tIns="0" rIns="0" bIns="0" rtlCol="0" anchor="t">
            <a:noAutofit/>
          </a:bodyPr>
          <a:lstStyle/>
          <a:p>
            <a:pPr eaLnBrk="1">
              <a:spcBef>
                <a:spcPts val="0"/>
              </a:spcBef>
              <a:spcAft>
                <a:spcPts val="600"/>
              </a:spcAft>
            </a:pPr>
            <a:r>
              <a:rPr lang="en-US" sz="1400" b="1" dirty="0">
                <a:solidFill>
                  <a:srgbClr val="000000"/>
                </a:solidFill>
              </a:rPr>
              <a:t>Oil-related disruptions tend to be short-lived across regions</a:t>
            </a:r>
          </a:p>
          <a:p>
            <a:pPr eaLnBrk="1">
              <a:spcBef>
                <a:spcPts val="0"/>
              </a:spcBef>
              <a:spcAft>
                <a:spcPts val="600"/>
              </a:spcAft>
            </a:pPr>
            <a:r>
              <a:rPr lang="en-US" sz="1400" dirty="0"/>
              <a:t>Average returns across oil-related geopolitical events since 1990</a:t>
            </a:r>
          </a:p>
        </p:txBody>
      </p:sp>
      <p:grpSp>
        <p:nvGrpSpPr>
          <p:cNvPr id="5" name="Group 4">
            <a:extLst>
              <a:ext uri="{FF2B5EF4-FFF2-40B4-BE49-F238E27FC236}">
                <a16:creationId xmlns:a16="http://schemas.microsoft.com/office/drawing/2014/main" id="{A479DCEE-9123-24E4-DA49-E31646129151}"/>
              </a:ext>
            </a:extLst>
          </p:cNvPr>
          <p:cNvGrpSpPr>
            <a:grpSpLocks/>
          </p:cNvGrpSpPr>
          <p:nvPr/>
        </p:nvGrpSpPr>
        <p:grpSpPr bwMode="auto">
          <a:xfrm>
            <a:off x="12436207" y="243879"/>
            <a:ext cx="676910" cy="676420"/>
            <a:chOff x="3955" y="2484"/>
            <a:chExt cx="1814" cy="1813"/>
          </a:xfrm>
          <a:solidFill>
            <a:srgbClr val="BEBEBE"/>
          </a:solidFill>
        </p:grpSpPr>
        <p:sp>
          <p:nvSpPr>
            <p:cNvPr id="6" name="Freeform 17">
              <a:extLst>
                <a:ext uri="{FF2B5EF4-FFF2-40B4-BE49-F238E27FC236}">
                  <a16:creationId xmlns:a16="http://schemas.microsoft.com/office/drawing/2014/main" id="{D663339D-8651-EB27-FB0B-7A378C3FFAC7}"/>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chemeClr val="accent3"/>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9" name="Freeform 18">
              <a:extLst>
                <a:ext uri="{FF2B5EF4-FFF2-40B4-BE49-F238E27FC236}">
                  <a16:creationId xmlns:a16="http://schemas.microsoft.com/office/drawing/2014/main" id="{CBF4541C-8266-92FB-5888-F827759E1349}"/>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10" name="Freeform 19">
              <a:extLst>
                <a:ext uri="{FF2B5EF4-FFF2-40B4-BE49-F238E27FC236}">
                  <a16:creationId xmlns:a16="http://schemas.microsoft.com/office/drawing/2014/main" id="{17E68805-8033-158D-51C2-984ED500B3AA}"/>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11" name="TextBox 10">
            <a:extLst>
              <a:ext uri="{FF2B5EF4-FFF2-40B4-BE49-F238E27FC236}">
                <a16:creationId xmlns:a16="http://schemas.microsoft.com/office/drawing/2014/main" id="{BBC6A489-467D-45EC-B882-C266A8E415A1}"/>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acro</a:t>
            </a:r>
          </a:p>
        </p:txBody>
      </p:sp>
    </p:spTree>
    <p:custDataLst>
      <p:tags r:id="rId1"/>
    </p:custDataLst>
    <p:extLst>
      <p:ext uri="{BB962C8B-B14F-4D97-AF65-F5344CB8AC3E}">
        <p14:creationId xmlns:p14="http://schemas.microsoft.com/office/powerpoint/2010/main" val="3606212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91473-BA63-9D93-36F3-AE8E845D3260}"/>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1F69790-21DA-55FA-831F-F8A72145998E}"/>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10" imgW="361" imgH="373" progId="TCLayout.ActiveDocument.1">
                  <p:embed/>
                </p:oleObj>
              </mc:Choice>
              <mc:Fallback>
                <p:oleObj name="think-cell Slide" r:id="rId10" imgW="361" imgH="373" progId="TCLayout.ActiveDocument.1">
                  <p:embed/>
                  <p:pic>
                    <p:nvPicPr>
                      <p:cNvPr id="19" name="think-cell data - do not delete" hidden="1">
                        <a:extLst>
                          <a:ext uri="{FF2B5EF4-FFF2-40B4-BE49-F238E27FC236}">
                            <a16:creationId xmlns:a16="http://schemas.microsoft.com/office/drawing/2014/main" id="{B1F69790-21DA-55FA-831F-F8A72145998E}"/>
                          </a:ext>
                        </a:extLst>
                      </p:cNvPr>
                      <p:cNvPicPr/>
                      <p:nvPr/>
                    </p:nvPicPr>
                    <p:blipFill>
                      <a:blip r:embed="rId11"/>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F6197D29-4545-1C76-AC2C-58559F9620A6}"/>
              </a:ext>
            </a:extLst>
          </p:cNvPr>
          <p:cNvSpPr>
            <a:spLocks noGrp="1"/>
          </p:cNvSpPr>
          <p:nvPr>
            <p:ph type="title"/>
            <p:custDataLst>
              <p:tags r:id="rId3"/>
            </p:custDataLst>
          </p:nvPr>
        </p:nvSpPr>
        <p:spPr>
          <a:xfrm>
            <a:off x="582528" y="30234"/>
            <a:ext cx="12238019" cy="941386"/>
          </a:xfrm>
        </p:spPr>
        <p:txBody>
          <a:bodyPr vert="horz">
            <a:normAutofit/>
          </a:bodyPr>
          <a:lstStyle/>
          <a:p>
            <a:r>
              <a:rPr lang="en-US" dirty="0"/>
              <a:t>Global growth set to pick up</a:t>
            </a:r>
          </a:p>
        </p:txBody>
      </p:sp>
      <p:sp>
        <p:nvSpPr>
          <p:cNvPr id="3" name="TextBox 2">
            <a:extLst>
              <a:ext uri="{FF2B5EF4-FFF2-40B4-BE49-F238E27FC236}">
                <a16:creationId xmlns:a16="http://schemas.microsoft.com/office/drawing/2014/main" id="{6AA1C546-4E04-AA2E-6CDB-E75111EE96F6}"/>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Bloomberg, </a:t>
            </a:r>
            <a:r>
              <a:rPr lang="en-US" sz="800" kern="0">
                <a:solidFill>
                  <a:prstClr val="black"/>
                </a:solidFill>
                <a:latin typeface="Frutiger 45 Light" panose="020B0603020202020204" pitchFamily="34" charset="0"/>
              </a:rPr>
              <a:t>Haver</a:t>
            </a:r>
            <a:r>
              <a:rPr lang="en-US" sz="800" kern="0">
                <a:latin typeface="Frutiger 45 Light" panose="020B0603020202020204" pitchFamily="34" charset="0"/>
              </a:rPr>
              <a:t>, UBS, as of 09 February 2026</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7" name="TextBox 6">
            <a:extLst>
              <a:ext uri="{FF2B5EF4-FFF2-40B4-BE49-F238E27FC236}">
                <a16:creationId xmlns:a16="http://schemas.microsoft.com/office/drawing/2014/main" id="{F96713C6-D9E5-CBA9-FCFC-4A4B4C5D0762}"/>
              </a:ext>
            </a:extLst>
          </p:cNvPr>
          <p:cNvSpPr txBox="1">
            <a:spLocks/>
          </p:cNvSpPr>
          <p:nvPr>
            <p:custDataLst>
              <p:tags r:id="rId5"/>
            </p:custDataLst>
          </p:nvPr>
        </p:nvSpPr>
        <p:spPr>
          <a:xfrm>
            <a:off x="4873603"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dirty="0">
                <a:solidFill>
                  <a:srgbClr val="E60000"/>
                </a:solidFill>
              </a:rPr>
              <a:t>Monetary policy </a:t>
            </a:r>
            <a:r>
              <a:rPr lang="en-US" sz="1399" b="1" dirty="0"/>
              <a:t>remains supportive</a:t>
            </a:r>
          </a:p>
          <a:p>
            <a:pPr eaLnBrk="1">
              <a:spcBef>
                <a:spcPts val="0"/>
              </a:spcBef>
              <a:spcAft>
                <a:spcPts val="600"/>
              </a:spcAft>
            </a:pPr>
            <a:r>
              <a:rPr lang="en-US" sz="1400" dirty="0"/>
              <a:t>Central bank target rates and CIO December 2026 forecasts, in %</a:t>
            </a:r>
          </a:p>
        </p:txBody>
      </p:sp>
      <p:sp>
        <p:nvSpPr>
          <p:cNvPr id="9" name="TextBox 8">
            <a:extLst>
              <a:ext uri="{FF2B5EF4-FFF2-40B4-BE49-F238E27FC236}">
                <a16:creationId xmlns:a16="http://schemas.microsoft.com/office/drawing/2014/main" id="{18A9A602-305B-A477-EFEB-5E4C012D296B}"/>
              </a:ext>
            </a:extLst>
          </p:cNvPr>
          <p:cNvSpPr txBox="1">
            <a:spLocks/>
          </p:cNvSpPr>
          <p:nvPr>
            <p:custDataLst>
              <p:tags r:id="rId6"/>
            </p:custDataLst>
          </p:nvPr>
        </p:nvSpPr>
        <p:spPr>
          <a:xfrm>
            <a:off x="9164679"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a:solidFill>
                  <a:srgbClr val="E60000"/>
                </a:solidFill>
              </a:rPr>
              <a:t>Manufacturing sentiment </a:t>
            </a:r>
            <a:r>
              <a:rPr lang="en-US" sz="1399" b="1"/>
              <a:t>slowly recovering</a:t>
            </a:r>
          </a:p>
          <a:p>
            <a:pPr eaLnBrk="1">
              <a:spcBef>
                <a:spcPts val="0"/>
              </a:spcBef>
              <a:spcAft>
                <a:spcPts val="600"/>
              </a:spcAft>
            </a:pPr>
            <a:r>
              <a:rPr lang="en-US" altLang="en-US" sz="1400" kern="0"/>
              <a:t>Manufacturing PMIs by region</a:t>
            </a:r>
          </a:p>
        </p:txBody>
      </p:sp>
      <p:sp>
        <p:nvSpPr>
          <p:cNvPr id="10" name="TextBox 9">
            <a:extLst>
              <a:ext uri="{FF2B5EF4-FFF2-40B4-BE49-F238E27FC236}">
                <a16:creationId xmlns:a16="http://schemas.microsoft.com/office/drawing/2014/main" id="{6A07CB67-EBAB-2C5C-B3CD-41791B69F726}"/>
              </a:ext>
            </a:extLst>
          </p:cNvPr>
          <p:cNvSpPr txBox="1"/>
          <p:nvPr>
            <p:custDataLst>
              <p:tags r:id="rId7"/>
            </p:custDataLst>
          </p:nvPr>
        </p:nvSpPr>
        <p:spPr>
          <a:xfrm>
            <a:off x="582528" y="1420697"/>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kern="0"/>
              <a:t>F</a:t>
            </a:r>
            <a:r>
              <a:rPr lang="qaa-Latn-001" sz="1399" b="1" kern="0"/>
              <a:t>iscal stimulus</a:t>
            </a:r>
            <a:r>
              <a:rPr lang="en-US" sz="1399" b="1" kern="0"/>
              <a:t> to boost global </a:t>
            </a:r>
            <a:r>
              <a:rPr lang="en-US" sz="1399" b="1" kern="0">
                <a:solidFill>
                  <a:schemeClr val="tx2"/>
                </a:solidFill>
              </a:rPr>
              <a:t>growth</a:t>
            </a:r>
            <a:endParaRPr lang="en-US" sz="1399" b="1" kern="0" dirty="0">
              <a:solidFill>
                <a:schemeClr val="tx2"/>
              </a:solidFill>
            </a:endParaRPr>
          </a:p>
          <a:p>
            <a:pPr eaLnBrk="1">
              <a:spcBef>
                <a:spcPts val="0"/>
              </a:spcBef>
              <a:spcAft>
                <a:spcPts val="600"/>
              </a:spcAft>
            </a:pPr>
            <a:r>
              <a:rPr lang="en-US" altLang="en-US" sz="1400" kern="0" dirty="0"/>
              <a:t>Fiscal contribution to real GDP, in pp</a:t>
            </a:r>
          </a:p>
        </p:txBody>
      </p:sp>
      <p:grpSp>
        <p:nvGrpSpPr>
          <p:cNvPr id="5" name="Group 4">
            <a:extLst>
              <a:ext uri="{FF2B5EF4-FFF2-40B4-BE49-F238E27FC236}">
                <a16:creationId xmlns:a16="http://schemas.microsoft.com/office/drawing/2014/main" id="{7211A2DF-8077-F304-404B-A464F7320AFE}"/>
              </a:ext>
            </a:extLst>
          </p:cNvPr>
          <p:cNvGrpSpPr/>
          <p:nvPr/>
        </p:nvGrpSpPr>
        <p:grpSpPr>
          <a:xfrm>
            <a:off x="12354286" y="243881"/>
            <a:ext cx="804112" cy="922082"/>
            <a:chOff x="12354286" y="243881"/>
            <a:chExt cx="804112" cy="922082"/>
          </a:xfrm>
        </p:grpSpPr>
        <p:grpSp>
          <p:nvGrpSpPr>
            <p:cNvPr id="17" name="Group 16">
              <a:extLst>
                <a:ext uri="{FF2B5EF4-FFF2-40B4-BE49-F238E27FC236}">
                  <a16:creationId xmlns:a16="http://schemas.microsoft.com/office/drawing/2014/main" id="{FFF4CFBF-674F-261A-0130-14858E8C5EAC}"/>
                </a:ext>
              </a:extLst>
            </p:cNvPr>
            <p:cNvGrpSpPr>
              <a:grpSpLocks/>
            </p:cNvGrpSpPr>
            <p:nvPr/>
          </p:nvGrpSpPr>
          <p:grpSpPr bwMode="auto">
            <a:xfrm>
              <a:off x="12436207" y="243881"/>
              <a:ext cx="676910" cy="676421"/>
              <a:chOff x="3955" y="2484"/>
              <a:chExt cx="1814" cy="1813"/>
            </a:xfrm>
            <a:solidFill>
              <a:srgbClr val="BEBEBE"/>
            </a:solidFill>
          </p:grpSpPr>
          <p:sp>
            <p:nvSpPr>
              <p:cNvPr id="18" name="Freeform 17">
                <a:extLst>
                  <a:ext uri="{FF2B5EF4-FFF2-40B4-BE49-F238E27FC236}">
                    <a16:creationId xmlns:a16="http://schemas.microsoft.com/office/drawing/2014/main" id="{99F75D19-F6B0-ADEF-719F-B0ABF01DFA84}"/>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chemeClr val="accent3"/>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20" name="Freeform 18">
                <a:extLst>
                  <a:ext uri="{FF2B5EF4-FFF2-40B4-BE49-F238E27FC236}">
                    <a16:creationId xmlns:a16="http://schemas.microsoft.com/office/drawing/2014/main" id="{23F5010F-ECBB-01BB-45D8-617EE1AA4236}"/>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21" name="Freeform 19">
                <a:extLst>
                  <a:ext uri="{FF2B5EF4-FFF2-40B4-BE49-F238E27FC236}">
                    <a16:creationId xmlns:a16="http://schemas.microsoft.com/office/drawing/2014/main" id="{7BD4A679-B230-9F2A-160E-2E835ACF4D17}"/>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23" name="TextBox 22">
              <a:extLst>
                <a:ext uri="{FF2B5EF4-FFF2-40B4-BE49-F238E27FC236}">
                  <a16:creationId xmlns:a16="http://schemas.microsoft.com/office/drawing/2014/main" id="{3CBBE947-E110-3ECF-76B9-12AB1DD84AAD}"/>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acro</a:t>
              </a:r>
            </a:p>
          </p:txBody>
        </p:sp>
      </p:grpSp>
      <p:graphicFrame>
        <p:nvGraphicFramePr>
          <p:cNvPr id="8" name="Chart 7"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25CA2AE4-A044-4DEA-BC85-0DF866BEE02B}"/>
              </a:ext>
            </a:extLst>
          </p:cNvPr>
          <p:cNvGraphicFramePr>
            <a:graphicFrameLocks/>
          </p:cNvGraphicFramePr>
          <p:nvPr>
            <p:extLst>
              <p:ext uri="{D42A27DB-BD31-4B8C-83A1-F6EECF244321}">
                <p14:modId xmlns:p14="http://schemas.microsoft.com/office/powerpoint/2010/main" val="453711736"/>
              </p:ext>
            </p:extLst>
          </p:nvPr>
        </p:nvGraphicFramePr>
        <p:xfrm>
          <a:off x="468874" y="2472508"/>
          <a:ext cx="3657600" cy="36576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 name="Chart 1">
            <a:extLst>
              <a:ext uri="{FF2B5EF4-FFF2-40B4-BE49-F238E27FC236}">
                <a16:creationId xmlns:a16="http://schemas.microsoft.com/office/drawing/2014/main" id="{788C9819-B761-4315-9C30-B19B9BFEA1EF}"/>
              </a:ext>
            </a:extLst>
          </p:cNvPr>
          <p:cNvGraphicFramePr>
            <a:graphicFrameLocks/>
          </p:cNvGraphicFramePr>
          <p:nvPr>
            <p:extLst>
              <p:ext uri="{D42A27DB-BD31-4B8C-83A1-F6EECF244321}">
                <p14:modId xmlns:p14="http://schemas.microsoft.com/office/powerpoint/2010/main" val="3628539474"/>
              </p:ext>
            </p:extLst>
          </p:nvPr>
        </p:nvGraphicFramePr>
        <p:xfrm>
          <a:off x="4875471" y="2288748"/>
          <a:ext cx="3654000" cy="38952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1" name="Chart 10">
            <a:extLst>
              <a:ext uri="{FF2B5EF4-FFF2-40B4-BE49-F238E27FC236}">
                <a16:creationId xmlns:a16="http://schemas.microsoft.com/office/drawing/2014/main" id="{0C9B4410-E5CC-4925-A434-7869152BF221}"/>
              </a:ext>
            </a:extLst>
          </p:cNvPr>
          <p:cNvGraphicFramePr>
            <a:graphicFrameLocks/>
          </p:cNvGraphicFramePr>
          <p:nvPr>
            <p:extLst>
              <p:ext uri="{D42A27DB-BD31-4B8C-83A1-F6EECF244321}">
                <p14:modId xmlns:p14="http://schemas.microsoft.com/office/powerpoint/2010/main" val="3471470968"/>
              </p:ext>
            </p:extLst>
          </p:nvPr>
        </p:nvGraphicFramePr>
        <p:xfrm>
          <a:off x="9004547" y="2288748"/>
          <a:ext cx="3816000" cy="3657600"/>
        </p:xfrm>
        <a:graphic>
          <a:graphicData uri="http://schemas.openxmlformats.org/drawingml/2006/chart">
            <c:chart xmlns:c="http://schemas.openxmlformats.org/drawingml/2006/chart" xmlns:r="http://schemas.openxmlformats.org/officeDocument/2006/relationships" r:id="rId14"/>
          </a:graphicData>
        </a:graphic>
      </p:graphicFrame>
    </p:spTree>
    <p:custDataLst>
      <p:tags r:id="rId1"/>
    </p:custDataLst>
    <p:extLst>
      <p:ext uri="{BB962C8B-B14F-4D97-AF65-F5344CB8AC3E}">
        <p14:creationId xmlns:p14="http://schemas.microsoft.com/office/powerpoint/2010/main" val="13776796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C996EC-4CE5-E6D8-9664-F36B492ED18F}"/>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6F1A8818-FF48-A0B6-80AA-72A6779FAEE3}"/>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9" imgW="361" imgH="373" progId="TCLayout.ActiveDocument.1">
                  <p:embed/>
                </p:oleObj>
              </mc:Choice>
              <mc:Fallback>
                <p:oleObj name="think-cell Slide" r:id="rId9" imgW="361" imgH="373" progId="TCLayout.ActiveDocument.1">
                  <p:embed/>
                  <p:pic>
                    <p:nvPicPr>
                      <p:cNvPr id="19" name="think-cell data - do not delete" hidden="1">
                        <a:extLst>
                          <a:ext uri="{FF2B5EF4-FFF2-40B4-BE49-F238E27FC236}">
                            <a16:creationId xmlns:a16="http://schemas.microsoft.com/office/drawing/2014/main" id="{6F1A8818-FF48-A0B6-80AA-72A6779FAEE3}"/>
                          </a:ext>
                        </a:extLst>
                      </p:cNvPr>
                      <p:cNvPicPr/>
                      <p:nvPr/>
                    </p:nvPicPr>
                    <p:blipFill>
                      <a:blip r:embed="rId10"/>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141EFF56-D154-E416-33CC-CFF084156568}"/>
              </a:ext>
            </a:extLst>
          </p:cNvPr>
          <p:cNvSpPr>
            <a:spLocks noGrp="1"/>
          </p:cNvSpPr>
          <p:nvPr>
            <p:ph type="title"/>
            <p:custDataLst>
              <p:tags r:id="rId3"/>
            </p:custDataLst>
          </p:nvPr>
        </p:nvSpPr>
        <p:spPr>
          <a:xfrm>
            <a:off x="582528" y="1786"/>
            <a:ext cx="12238019" cy="941386"/>
          </a:xfrm>
        </p:spPr>
        <p:txBody>
          <a:bodyPr vert="horz">
            <a:normAutofit/>
          </a:bodyPr>
          <a:lstStyle/>
          <a:p>
            <a:pPr>
              <a:lnSpc>
                <a:spcPct val="107000"/>
              </a:lnSpc>
              <a:spcBef>
                <a:spcPts val="0"/>
              </a:spcBef>
            </a:pPr>
            <a:r>
              <a:rPr lang="en-US" spc="-70"/>
              <a:t>Strong corporate earnings across the board</a:t>
            </a:r>
            <a:endParaRPr lang="en-GB" spc="-50"/>
          </a:p>
        </p:txBody>
      </p:sp>
      <p:sp>
        <p:nvSpPr>
          <p:cNvPr id="3" name="TextBox 2">
            <a:extLst>
              <a:ext uri="{FF2B5EF4-FFF2-40B4-BE49-F238E27FC236}">
                <a16:creationId xmlns:a16="http://schemas.microsoft.com/office/drawing/2014/main" id="{3B86F80A-AE4D-1DBB-3D46-72CE275F8C71}"/>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DataStream, UBS, as of 02 February 2026</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9" name="TextBox 8">
            <a:extLst>
              <a:ext uri="{FF2B5EF4-FFF2-40B4-BE49-F238E27FC236}">
                <a16:creationId xmlns:a16="http://schemas.microsoft.com/office/drawing/2014/main" id="{1A801B7F-075C-A775-0CFA-8BB564D06356}"/>
              </a:ext>
            </a:extLst>
          </p:cNvPr>
          <p:cNvSpPr txBox="1"/>
          <p:nvPr>
            <p:custDataLst>
              <p:tags r:id="rId5"/>
            </p:custDataLst>
          </p:nvPr>
        </p:nvSpPr>
        <p:spPr>
          <a:xfrm>
            <a:off x="6867526" y="1420697"/>
            <a:ext cx="5953022"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dirty="0">
                <a:solidFill>
                  <a:srgbClr val="E60000"/>
                </a:solidFill>
              </a:rPr>
              <a:t>Valuations </a:t>
            </a:r>
            <a:r>
              <a:rPr lang="en-US" sz="1399" b="1" dirty="0">
                <a:solidFill>
                  <a:srgbClr val="000000"/>
                </a:solidFill>
              </a:rPr>
              <a:t>are higher than average in many regions</a:t>
            </a:r>
          </a:p>
          <a:p>
            <a:pPr eaLnBrk="1">
              <a:spcBef>
                <a:spcPts val="0"/>
              </a:spcBef>
              <a:spcAft>
                <a:spcPts val="600"/>
              </a:spcAft>
            </a:pPr>
            <a:r>
              <a:rPr lang="en-US" altLang="en-US" sz="1400" kern="0" dirty="0"/>
              <a:t>Consensus 12m forward P/Es</a:t>
            </a:r>
          </a:p>
        </p:txBody>
      </p:sp>
      <p:sp>
        <p:nvSpPr>
          <p:cNvPr id="10" name="TextBox 9">
            <a:extLst>
              <a:ext uri="{FF2B5EF4-FFF2-40B4-BE49-F238E27FC236}">
                <a16:creationId xmlns:a16="http://schemas.microsoft.com/office/drawing/2014/main" id="{6C7A545B-D5ED-8957-480C-D4733C944DD1}"/>
              </a:ext>
            </a:extLst>
          </p:cNvPr>
          <p:cNvSpPr txBox="1"/>
          <p:nvPr>
            <p:custDataLst>
              <p:tags r:id="rId6"/>
            </p:custDataLst>
          </p:nvPr>
        </p:nvSpPr>
        <p:spPr>
          <a:xfrm>
            <a:off x="582528" y="1420697"/>
            <a:ext cx="5400000"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kern="0">
                <a:solidFill>
                  <a:srgbClr val="000000"/>
                </a:solidFill>
              </a:rPr>
              <a:t>Robust and broad-based </a:t>
            </a:r>
            <a:r>
              <a:rPr lang="en-US" sz="1399" b="1" kern="0">
                <a:solidFill>
                  <a:srgbClr val="E60000"/>
                </a:solidFill>
              </a:rPr>
              <a:t>earnings growth </a:t>
            </a:r>
            <a:r>
              <a:rPr lang="en-US" sz="1399" b="1" kern="0">
                <a:solidFill>
                  <a:srgbClr val="000000"/>
                </a:solidFill>
              </a:rPr>
              <a:t>expected in 2026</a:t>
            </a:r>
          </a:p>
          <a:p>
            <a:pPr eaLnBrk="1">
              <a:spcBef>
                <a:spcPts val="0"/>
              </a:spcBef>
              <a:spcAft>
                <a:spcPts val="600"/>
              </a:spcAft>
            </a:pPr>
            <a:r>
              <a:rPr lang="en-US" altLang="en-US" sz="1400" kern="0"/>
              <a:t>UBS CIO earnings per share (EPS) growth forecasts, in %</a:t>
            </a:r>
          </a:p>
        </p:txBody>
      </p:sp>
      <p:grpSp>
        <p:nvGrpSpPr>
          <p:cNvPr id="2" name="Group 1">
            <a:extLst>
              <a:ext uri="{FF2B5EF4-FFF2-40B4-BE49-F238E27FC236}">
                <a16:creationId xmlns:a16="http://schemas.microsoft.com/office/drawing/2014/main" id="{A4663529-53D9-0E6D-78AA-5B6971FF7E98}"/>
              </a:ext>
            </a:extLst>
          </p:cNvPr>
          <p:cNvGrpSpPr>
            <a:grpSpLocks/>
          </p:cNvGrpSpPr>
          <p:nvPr/>
        </p:nvGrpSpPr>
        <p:grpSpPr bwMode="auto">
          <a:xfrm>
            <a:off x="12436207" y="243879"/>
            <a:ext cx="676910" cy="676420"/>
            <a:chOff x="3955" y="2484"/>
            <a:chExt cx="1814" cy="1813"/>
          </a:xfrm>
          <a:solidFill>
            <a:srgbClr val="BEBEBE"/>
          </a:solidFill>
        </p:grpSpPr>
        <p:sp>
          <p:nvSpPr>
            <p:cNvPr id="5" name="Freeform 17">
              <a:extLst>
                <a:ext uri="{FF2B5EF4-FFF2-40B4-BE49-F238E27FC236}">
                  <a16:creationId xmlns:a16="http://schemas.microsoft.com/office/drawing/2014/main" id="{BF7A52C7-47A5-79D5-5247-BA5710D6A995}"/>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6" name="Freeform 18">
              <a:extLst>
                <a:ext uri="{FF2B5EF4-FFF2-40B4-BE49-F238E27FC236}">
                  <a16:creationId xmlns:a16="http://schemas.microsoft.com/office/drawing/2014/main" id="{BEB31C33-C362-D9D4-FB38-740FB321FB5D}"/>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7" name="Freeform 19">
              <a:extLst>
                <a:ext uri="{FF2B5EF4-FFF2-40B4-BE49-F238E27FC236}">
                  <a16:creationId xmlns:a16="http://schemas.microsoft.com/office/drawing/2014/main" id="{175CFB37-2313-D634-2CCB-5BD31EAAEFC1}"/>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CCCABC"/>
            </a:solidFill>
            <a:ln w="19050" cap="flat" cmpd="sng">
              <a:solidFill>
                <a:srgbClr val="CCCABC"/>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13" name="TextBox 12">
            <a:extLst>
              <a:ext uri="{FF2B5EF4-FFF2-40B4-BE49-F238E27FC236}">
                <a16:creationId xmlns:a16="http://schemas.microsoft.com/office/drawing/2014/main" id="{698315E1-B1DF-BA4B-3DEF-EBD2BFFC531D}"/>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icro</a:t>
            </a:r>
          </a:p>
        </p:txBody>
      </p:sp>
      <p:graphicFrame>
        <p:nvGraphicFramePr>
          <p:cNvPr id="14" name="Graphique 2"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E571B066-53D4-4EEA-80A1-660D9F991784}"/>
              </a:ext>
              <a:ext uri="{147F2762-F138-4A5C-976F-8EAC2B608ADB}">
                <a16:predDERef xmlns:a16="http://schemas.microsoft.com/office/drawing/2014/main" pred="{A916DC2B-9D1D-4EC0-9CD5-831605193B2F}"/>
              </a:ext>
            </a:extLst>
          </p:cNvPr>
          <p:cNvGraphicFramePr>
            <a:graphicFrameLocks/>
          </p:cNvGraphicFramePr>
          <p:nvPr>
            <p:extLst>
              <p:ext uri="{D42A27DB-BD31-4B8C-83A1-F6EECF244321}">
                <p14:modId xmlns:p14="http://schemas.microsoft.com/office/powerpoint/2010/main" val="3695937495"/>
              </p:ext>
            </p:extLst>
          </p:nvPr>
        </p:nvGraphicFramePr>
        <p:xfrm>
          <a:off x="619125" y="2305050"/>
          <a:ext cx="5611177" cy="42672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5" name="Content Placeholder 5"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V&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F24849A4-317E-C034-F08F-9EB1426758AA}"/>
              </a:ext>
            </a:extLst>
          </p:cNvPr>
          <p:cNvGraphicFramePr>
            <a:graphicFrameLocks/>
          </p:cNvGraphicFramePr>
          <p:nvPr>
            <p:extLst>
              <p:ext uri="{D42A27DB-BD31-4B8C-83A1-F6EECF244321}">
                <p14:modId xmlns:p14="http://schemas.microsoft.com/office/powerpoint/2010/main" val="40624852"/>
              </p:ext>
            </p:extLst>
          </p:nvPr>
        </p:nvGraphicFramePr>
        <p:xfrm>
          <a:off x="6880122" y="2114550"/>
          <a:ext cx="6016728" cy="4743450"/>
        </p:xfrm>
        <a:graphic>
          <a:graphicData uri="http://schemas.openxmlformats.org/drawingml/2006/chart">
            <c:chart xmlns:c="http://schemas.openxmlformats.org/drawingml/2006/chart" xmlns:r="http://schemas.openxmlformats.org/officeDocument/2006/relationships" r:id="rId12"/>
          </a:graphicData>
        </a:graphic>
      </p:graphicFrame>
    </p:spTree>
    <p:custDataLst>
      <p:tags r:id="rId1"/>
    </p:custDataLst>
    <p:extLst>
      <p:ext uri="{BB962C8B-B14F-4D97-AF65-F5344CB8AC3E}">
        <p14:creationId xmlns:p14="http://schemas.microsoft.com/office/powerpoint/2010/main" val="13056285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A9D74-91B0-F533-6D7C-C74D0BA3A79E}"/>
            </a:ext>
          </a:extLst>
        </p:cNvPr>
        <p:cNvGrpSpPr/>
        <p:nvPr/>
      </p:nvGrpSpPr>
      <p:grpSpPr>
        <a:xfrm>
          <a:off x="0" y="0"/>
          <a:ext cx="0" cy="0"/>
          <a:chOff x="0" y="0"/>
          <a:chExt cx="0" cy="0"/>
        </a:xfrm>
      </p:grpSpPr>
      <p:graphicFrame>
        <p:nvGraphicFramePr>
          <p:cNvPr id="18" name="Chart 17"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15FE0710-7EF4-BFB1-0203-B43680651346}"/>
              </a:ext>
            </a:extLst>
          </p:cNvPr>
          <p:cNvGraphicFramePr>
            <a:graphicFrameLocks/>
          </p:cNvGraphicFramePr>
          <p:nvPr>
            <p:extLst>
              <p:ext uri="{D42A27DB-BD31-4B8C-83A1-F6EECF244321}">
                <p14:modId xmlns:p14="http://schemas.microsoft.com/office/powerpoint/2010/main" val="2760117604"/>
              </p:ext>
            </p:extLst>
          </p:nvPr>
        </p:nvGraphicFramePr>
        <p:xfrm>
          <a:off x="582529" y="2590921"/>
          <a:ext cx="3657600" cy="36576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Chart 16"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V&quot;,&quot;OutlineColorRef&quot;:null,&quot;HasMarker&quot;:null,&quot;MarkerStyle&quot;:null,&quot;MarkerSize&quot;:null,&quot;MarkerFillColorRef&quot;:null,&quot;MarkerBorderColorRef&quot;:null,&quot;DataLabelColorRef&quot;:null,&quot;PatternType&quot;:null,&quot;PatternBackgroundColorRef&quot;:null},{&quot;PrimaryColorRef&quot;:&quot;Black&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18F737A2-AAA7-421E-BA19-771C6B83ACDE}"/>
              </a:ext>
            </a:extLst>
          </p:cNvPr>
          <p:cNvGraphicFramePr>
            <a:graphicFrameLocks/>
          </p:cNvGraphicFramePr>
          <p:nvPr>
            <p:extLst>
              <p:ext uri="{D42A27DB-BD31-4B8C-83A1-F6EECF244321}">
                <p14:modId xmlns:p14="http://schemas.microsoft.com/office/powerpoint/2010/main" val="3200442927"/>
              </p:ext>
            </p:extLst>
          </p:nvPr>
        </p:nvGraphicFramePr>
        <p:xfrm>
          <a:off x="4780085" y="2590921"/>
          <a:ext cx="3916240" cy="4219453"/>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Chart 15"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DEF35FF4-DD75-DC76-FBE9-4CC7B9CDF2CA}"/>
              </a:ext>
            </a:extLst>
          </p:cNvPr>
          <p:cNvGraphicFramePr>
            <a:graphicFrameLocks/>
          </p:cNvGraphicFramePr>
          <p:nvPr>
            <p:extLst>
              <p:ext uri="{D42A27DB-BD31-4B8C-83A1-F6EECF244321}">
                <p14:modId xmlns:p14="http://schemas.microsoft.com/office/powerpoint/2010/main" val="2048075254"/>
              </p:ext>
            </p:extLst>
          </p:nvPr>
        </p:nvGraphicFramePr>
        <p:xfrm>
          <a:off x="9162947" y="2590921"/>
          <a:ext cx="3657600" cy="4143254"/>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9" name="think-cell data - do not delete" hidden="1">
            <a:extLst>
              <a:ext uri="{FF2B5EF4-FFF2-40B4-BE49-F238E27FC236}">
                <a16:creationId xmlns:a16="http://schemas.microsoft.com/office/drawing/2014/main" id="{C6668B81-2076-C76C-1C36-0971A5505C36}"/>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13" imgW="361" imgH="373" progId="TCLayout.ActiveDocument.1">
                  <p:embed/>
                </p:oleObj>
              </mc:Choice>
              <mc:Fallback>
                <p:oleObj name="think-cell Slide" r:id="rId13" imgW="361" imgH="373" progId="TCLayout.ActiveDocument.1">
                  <p:embed/>
                  <p:pic>
                    <p:nvPicPr>
                      <p:cNvPr id="19" name="think-cell data - do not delete" hidden="1">
                        <a:extLst>
                          <a:ext uri="{FF2B5EF4-FFF2-40B4-BE49-F238E27FC236}">
                            <a16:creationId xmlns:a16="http://schemas.microsoft.com/office/drawing/2014/main" id="{C6668B81-2076-C76C-1C36-0971A5505C36}"/>
                          </a:ext>
                        </a:extLst>
                      </p:cNvPr>
                      <p:cNvPicPr/>
                      <p:nvPr/>
                    </p:nvPicPr>
                    <p:blipFill>
                      <a:blip r:embed="rId14"/>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4DD0DBB8-EE4F-4C19-8C3D-54F7E1393E13}"/>
              </a:ext>
            </a:extLst>
          </p:cNvPr>
          <p:cNvSpPr>
            <a:spLocks noGrp="1"/>
          </p:cNvSpPr>
          <p:nvPr>
            <p:ph type="title"/>
            <p:custDataLst>
              <p:tags r:id="rId3"/>
            </p:custDataLst>
          </p:nvPr>
        </p:nvSpPr>
        <p:spPr>
          <a:xfrm>
            <a:off x="582528" y="1786"/>
            <a:ext cx="12238019" cy="941386"/>
          </a:xfrm>
        </p:spPr>
        <p:txBody>
          <a:bodyPr vert="horz">
            <a:normAutofit/>
          </a:bodyPr>
          <a:lstStyle/>
          <a:p>
            <a:pPr>
              <a:lnSpc>
                <a:spcPct val="107000"/>
              </a:lnSpc>
              <a:spcBef>
                <a:spcPts val="0"/>
              </a:spcBef>
            </a:pPr>
            <a:r>
              <a:rPr lang="en-US" spc="-70"/>
              <a:t>Structural innovation will drive equity market returns over the long run</a:t>
            </a:r>
            <a:endParaRPr lang="en-GB" spc="-50"/>
          </a:p>
        </p:txBody>
      </p:sp>
      <p:sp>
        <p:nvSpPr>
          <p:cNvPr id="3" name="TextBox 2">
            <a:extLst>
              <a:ext uri="{FF2B5EF4-FFF2-40B4-BE49-F238E27FC236}">
                <a16:creationId xmlns:a16="http://schemas.microsoft.com/office/drawing/2014/main" id="{6DA69D3D-1D6B-26C8-B1E6-727DD3C7EACB}"/>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a:t>
            </a:r>
            <a:r>
              <a:rPr lang="en-US" sz="800" kern="0">
                <a:solidFill>
                  <a:prstClr val="black"/>
                </a:solidFill>
                <a:latin typeface="Frutiger 45 Light" panose="020B0603020202020204" pitchFamily="34" charset="0"/>
              </a:rPr>
              <a:t>Company data, IEA </a:t>
            </a:r>
            <a:r>
              <a:rPr lang="en-US" sz="800" kern="0" dirty="0">
                <a:solidFill>
                  <a:prstClr val="black"/>
                </a:solidFill>
                <a:latin typeface="Frutiger 45 Light" panose="020B0603020202020204" pitchFamily="34" charset="0"/>
              </a:rPr>
              <a:t>World Energy Outlook, Bloomberg </a:t>
            </a:r>
            <a:r>
              <a:rPr lang="en-US" sz="800" kern="0">
                <a:solidFill>
                  <a:prstClr val="black"/>
                </a:solidFill>
                <a:latin typeface="Frutiger 45 Light" panose="020B0603020202020204" pitchFamily="34" charset="0"/>
              </a:rPr>
              <a:t>NEF, </a:t>
            </a:r>
            <a:r>
              <a:rPr lang="en-US" sz="800" kern="0">
                <a:latin typeface="Frutiger 45 Light" panose="020B0603020202020204" pitchFamily="34" charset="0"/>
              </a:rPr>
              <a:t>Bloomberg, UBS, as of 17 September 2025</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7" name="TextBox 6">
            <a:extLst>
              <a:ext uri="{FF2B5EF4-FFF2-40B4-BE49-F238E27FC236}">
                <a16:creationId xmlns:a16="http://schemas.microsoft.com/office/drawing/2014/main" id="{21F345F3-6465-55F4-A1FF-2BFDA62404D9}"/>
              </a:ext>
            </a:extLst>
          </p:cNvPr>
          <p:cNvSpPr txBox="1">
            <a:spLocks/>
          </p:cNvSpPr>
          <p:nvPr>
            <p:custDataLst>
              <p:tags r:id="rId5"/>
            </p:custDataLst>
          </p:nvPr>
        </p:nvSpPr>
        <p:spPr>
          <a:xfrm>
            <a:off x="4873603"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a:solidFill>
                  <a:srgbClr val="000000"/>
                </a:solidFill>
              </a:rPr>
              <a:t>Investment in </a:t>
            </a:r>
            <a:r>
              <a:rPr lang="en-US" sz="1399" b="1">
                <a:solidFill>
                  <a:srgbClr val="E60000"/>
                </a:solidFill>
              </a:rPr>
              <a:t>Power and resources </a:t>
            </a:r>
            <a:r>
              <a:rPr lang="en-US" sz="1399" b="1">
                <a:solidFill>
                  <a:srgbClr val="000000"/>
                </a:solidFill>
              </a:rPr>
              <a:t>is increasing</a:t>
            </a:r>
          </a:p>
          <a:p>
            <a:pPr eaLnBrk="1">
              <a:spcBef>
                <a:spcPts val="0"/>
              </a:spcBef>
              <a:spcAft>
                <a:spcPts val="600"/>
              </a:spcAft>
            </a:pPr>
            <a:r>
              <a:rPr lang="en-US" sz="1400">
                <a:solidFill>
                  <a:prstClr val="black"/>
                </a:solidFill>
              </a:rPr>
              <a:t>CIO forecasts for global spending in electrical infrastructure in USD bn</a:t>
            </a:r>
            <a:endParaRPr lang="en-US" sz="1400"/>
          </a:p>
        </p:txBody>
      </p:sp>
      <p:sp>
        <p:nvSpPr>
          <p:cNvPr id="9" name="TextBox 8">
            <a:extLst>
              <a:ext uri="{FF2B5EF4-FFF2-40B4-BE49-F238E27FC236}">
                <a16:creationId xmlns:a16="http://schemas.microsoft.com/office/drawing/2014/main" id="{052BBCD5-16A9-2786-FF2E-E9ABB94493FF}"/>
              </a:ext>
            </a:extLst>
          </p:cNvPr>
          <p:cNvSpPr txBox="1">
            <a:spLocks/>
          </p:cNvSpPr>
          <p:nvPr>
            <p:custDataLst>
              <p:tags r:id="rId6"/>
            </p:custDataLst>
          </p:nvPr>
        </p:nvSpPr>
        <p:spPr>
          <a:xfrm>
            <a:off x="9164679" y="1411176"/>
            <a:ext cx="3655868" cy="365587"/>
          </a:xfrm>
          <a:prstGeom prst="rect">
            <a:avLst/>
          </a:prstGeom>
          <a:noFill/>
        </p:spPr>
        <p:txBody>
          <a:bodyPr vert="horz" wrap="square" lIns="0" tIns="0" rIns="0" bIns="0" rtlCol="0" anchor="t">
            <a:noAutofit/>
          </a:bodyPr>
          <a:lstStyle/>
          <a:p>
            <a:pPr>
              <a:spcAft>
                <a:spcPts val="600"/>
              </a:spcAft>
            </a:pPr>
            <a:r>
              <a:rPr lang="en-US" sz="1400" b="1">
                <a:solidFill>
                  <a:schemeClr val="tx2"/>
                </a:solidFill>
              </a:rPr>
              <a:t>Longevity: </a:t>
            </a:r>
            <a:r>
              <a:rPr lang="en-US" sz="1400" b="1" kern="0">
                <a:solidFill>
                  <a:schemeClr val="tx1">
                    <a:lumMod val="95000"/>
                    <a:lumOff val="5000"/>
                  </a:schemeClr>
                </a:solidFill>
              </a:rPr>
              <a:t>We expect </a:t>
            </a:r>
            <a:r>
              <a:rPr lang="en-US" sz="1400" b="1" kern="0"/>
              <a:t>annual revenues in the longevity market to surge</a:t>
            </a:r>
          </a:p>
          <a:p>
            <a:pPr eaLnBrk="1">
              <a:spcBef>
                <a:spcPts val="0"/>
              </a:spcBef>
              <a:spcAft>
                <a:spcPts val="600"/>
              </a:spcAft>
            </a:pPr>
            <a:r>
              <a:rPr lang="en-US" sz="1400" kern="0"/>
              <a:t>Sales for select Longevity segments in USD bn and 2023-30 CAGR, including CIO forecasts</a:t>
            </a:r>
            <a:endParaRPr lang="en-US" sz="1400">
              <a:solidFill>
                <a:prstClr val="black"/>
              </a:solidFill>
            </a:endParaRPr>
          </a:p>
        </p:txBody>
      </p:sp>
      <p:sp>
        <p:nvSpPr>
          <p:cNvPr id="10" name="TextBox 9">
            <a:extLst>
              <a:ext uri="{FF2B5EF4-FFF2-40B4-BE49-F238E27FC236}">
                <a16:creationId xmlns:a16="http://schemas.microsoft.com/office/drawing/2014/main" id="{D793C223-6523-5542-4984-EDD3382844F3}"/>
              </a:ext>
            </a:extLst>
          </p:cNvPr>
          <p:cNvSpPr txBox="1"/>
          <p:nvPr>
            <p:custDataLst>
              <p:tags r:id="rId7"/>
            </p:custDataLst>
          </p:nvPr>
        </p:nvSpPr>
        <p:spPr>
          <a:xfrm>
            <a:off x="582528" y="1420697"/>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kern="0">
                <a:solidFill>
                  <a:srgbClr val="000000"/>
                </a:solidFill>
              </a:rPr>
              <a:t>Investment into </a:t>
            </a:r>
            <a:r>
              <a:rPr lang="en-US" sz="1399" b="1" kern="0">
                <a:solidFill>
                  <a:srgbClr val="E60000"/>
                </a:solidFill>
              </a:rPr>
              <a:t>AI </a:t>
            </a:r>
            <a:r>
              <a:rPr lang="en-US" sz="1399" b="1" kern="0">
                <a:solidFill>
                  <a:srgbClr val="000000"/>
                </a:solidFill>
              </a:rPr>
              <a:t>is robust</a:t>
            </a:r>
          </a:p>
          <a:p>
            <a:pPr eaLnBrk="1">
              <a:spcBef>
                <a:spcPts val="0"/>
              </a:spcBef>
              <a:spcAft>
                <a:spcPts val="600"/>
              </a:spcAft>
            </a:pPr>
            <a:r>
              <a:rPr lang="en-US" sz="1400">
                <a:solidFill>
                  <a:prstClr val="black"/>
                </a:solidFill>
              </a:rPr>
              <a:t>Global AI capex in USD bn, including CIO forecasts</a:t>
            </a:r>
          </a:p>
        </p:txBody>
      </p:sp>
      <p:grpSp>
        <p:nvGrpSpPr>
          <p:cNvPr id="2" name="Group 1">
            <a:extLst>
              <a:ext uri="{FF2B5EF4-FFF2-40B4-BE49-F238E27FC236}">
                <a16:creationId xmlns:a16="http://schemas.microsoft.com/office/drawing/2014/main" id="{3A4E9D4B-E3AD-4F84-F809-32B44D835A4C}"/>
              </a:ext>
            </a:extLst>
          </p:cNvPr>
          <p:cNvGrpSpPr>
            <a:grpSpLocks/>
          </p:cNvGrpSpPr>
          <p:nvPr/>
        </p:nvGrpSpPr>
        <p:grpSpPr bwMode="auto">
          <a:xfrm>
            <a:off x="12436207" y="243879"/>
            <a:ext cx="676910" cy="676420"/>
            <a:chOff x="3955" y="2484"/>
            <a:chExt cx="1814" cy="1813"/>
          </a:xfrm>
          <a:solidFill>
            <a:srgbClr val="BEBEBE"/>
          </a:solidFill>
        </p:grpSpPr>
        <p:sp>
          <p:nvSpPr>
            <p:cNvPr id="5" name="Freeform 17">
              <a:extLst>
                <a:ext uri="{FF2B5EF4-FFF2-40B4-BE49-F238E27FC236}">
                  <a16:creationId xmlns:a16="http://schemas.microsoft.com/office/drawing/2014/main" id="{4BA773FF-A102-D7DD-D3BA-B5CA85B02C27}"/>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6" name="Freeform 18">
              <a:extLst>
                <a:ext uri="{FF2B5EF4-FFF2-40B4-BE49-F238E27FC236}">
                  <a16:creationId xmlns:a16="http://schemas.microsoft.com/office/drawing/2014/main" id="{163BB0B3-9B3D-44C8-D2E0-F7152F630E4A}"/>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chemeClr val="tx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13" name="Freeform 19">
              <a:extLst>
                <a:ext uri="{FF2B5EF4-FFF2-40B4-BE49-F238E27FC236}">
                  <a16:creationId xmlns:a16="http://schemas.microsoft.com/office/drawing/2014/main" id="{6A963DA2-3D97-F4CD-06F4-D5DFDD9DCE9D}"/>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14" name="TextBox 13">
            <a:extLst>
              <a:ext uri="{FF2B5EF4-FFF2-40B4-BE49-F238E27FC236}">
                <a16:creationId xmlns:a16="http://schemas.microsoft.com/office/drawing/2014/main" id="{2DCBD0EE-9332-D398-6882-777AE8CD78DF}"/>
              </a:ext>
            </a:extLst>
          </p:cNvPr>
          <p:cNvSpPr txBox="1"/>
          <p:nvPr/>
        </p:nvSpPr>
        <p:spPr>
          <a:xfrm>
            <a:off x="12354286" y="919742"/>
            <a:ext cx="804112" cy="400110"/>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Innovation TRIOs</a:t>
            </a:r>
          </a:p>
        </p:txBody>
      </p:sp>
    </p:spTree>
    <p:custDataLst>
      <p:tags r:id="rId1"/>
    </p:custDataLst>
    <p:extLst>
      <p:ext uri="{BB962C8B-B14F-4D97-AF65-F5344CB8AC3E}">
        <p14:creationId xmlns:p14="http://schemas.microsoft.com/office/powerpoint/2010/main" val="1339323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351CA6-7418-DA85-196C-20EC2675D8C8}"/>
            </a:ext>
          </a:extLst>
        </p:cNvPr>
        <p:cNvGrpSpPr/>
        <p:nvPr/>
      </p:nvGrpSpPr>
      <p:grpSpPr>
        <a:xfrm>
          <a:off x="0" y="0"/>
          <a:ext cx="0" cy="0"/>
          <a:chOff x="0" y="0"/>
          <a:chExt cx="0" cy="0"/>
        </a:xfrm>
      </p:grpSpPr>
      <p:sp>
        <p:nvSpPr>
          <p:cNvPr id="4" name="PAGE HEADING">
            <a:extLst>
              <a:ext uri="{FF2B5EF4-FFF2-40B4-BE49-F238E27FC236}">
                <a16:creationId xmlns:a16="http://schemas.microsoft.com/office/drawing/2014/main" id="{089EC35A-AA7F-D4D1-A04E-3646DDD1B07B}"/>
              </a:ext>
            </a:extLst>
          </p:cNvPr>
          <p:cNvSpPr txBox="1">
            <a:spLocks/>
          </p:cNvSpPr>
          <p:nvPr>
            <p:custDataLst>
              <p:tags r:id="rId3"/>
            </p:custDataLst>
          </p:nvPr>
        </p:nvSpPr>
        <p:spPr>
          <a:xfrm>
            <a:off x="582528" y="1786"/>
            <a:ext cx="12238019" cy="941386"/>
          </a:xfrm>
          <a:prstGeom prst="rect">
            <a:avLst/>
          </a:prstGeom>
        </p:spPr>
        <p:txBody>
          <a:bodyPr vert="horz" lIns="0" tIns="0" rIns="0" bIns="0" rtlCol="0" anchor="b" anchorCtr="0">
            <a:normAutofit/>
          </a:bodyPr>
          <a:lstStyle>
            <a:lvl1pPr algn="l" defTabSz="1005505" rtl="0" eaLnBrk="1" latinLnBrk="0" hangingPunct="1">
              <a:spcBef>
                <a:spcPct val="0"/>
              </a:spcBef>
              <a:buNone/>
              <a:defRPr lang="en-US" sz="2800" b="0" kern="1200" baseline="0">
                <a:solidFill>
                  <a:schemeClr val="tx1"/>
                </a:solidFill>
                <a:latin typeface="+mn-lt"/>
                <a:ea typeface="+mn-ea"/>
                <a:cs typeface="+mj-cs"/>
              </a:defRPr>
            </a:lvl1pPr>
          </a:lstStyle>
          <a:p>
            <a:pPr fontAlgn="auto">
              <a:lnSpc>
                <a:spcPct val="107000"/>
              </a:lnSpc>
              <a:spcBef>
                <a:spcPts val="0"/>
              </a:spcBef>
              <a:spcAft>
                <a:spcPts val="0"/>
              </a:spcAft>
            </a:pPr>
            <a:r>
              <a:rPr lang="en-US"/>
              <a:t>Our Equities </a:t>
            </a:r>
            <a:r>
              <a:rPr lang="en-US">
                <a:solidFill>
                  <a:srgbClr val="E60000"/>
                </a:solidFill>
              </a:rPr>
              <a:t>preferences</a:t>
            </a:r>
            <a:endParaRPr lang="en-US" spc="-50" dirty="0"/>
          </a:p>
        </p:txBody>
      </p:sp>
      <p:sp>
        <p:nvSpPr>
          <p:cNvPr id="34" name="TextBox 33">
            <a:extLst>
              <a:ext uri="{FF2B5EF4-FFF2-40B4-BE49-F238E27FC236}">
                <a16:creationId xmlns:a16="http://schemas.microsoft.com/office/drawing/2014/main" id="{E095B3EB-4E81-54DE-695A-BF440958CAE4}"/>
              </a:ext>
            </a:extLst>
          </p:cNvPr>
          <p:cNvSpPr txBox="1"/>
          <p:nvPr>
            <p:custDataLst>
              <p:tags r:id="rId4"/>
            </p:custDataLst>
          </p:nvPr>
        </p:nvSpPr>
        <p:spPr>
          <a:xfrm>
            <a:off x="9803756" y="3471361"/>
            <a:ext cx="2723255" cy="2117093"/>
          </a:xfrm>
          <a:prstGeom prst="rect">
            <a:avLst/>
          </a:prstGeom>
          <a:noFill/>
        </p:spPr>
        <p:txBody>
          <a:bodyPr vert="horz" wrap="square" lIns="0" tIns="0" rIns="0" bIns="0" rtlCol="0" anchor="b" anchorCtr="0">
            <a:noAutofit/>
          </a:bodyPr>
          <a:lstStyle/>
          <a:p>
            <a:pPr defTabSz="830043">
              <a:spcBef>
                <a:spcPts val="0"/>
              </a:spcBef>
              <a:spcAft>
                <a:spcPts val="100"/>
              </a:spcAft>
              <a:defRPr/>
            </a:pPr>
            <a:r>
              <a:rPr lang="en-US" sz="800" b="1" kern="0" dirty="0">
                <a:latin typeface="Frutiger 45 Light" panose="020B0603020202020204" pitchFamily="34" charset="0"/>
              </a:rPr>
              <a:t>Most attractive:</a:t>
            </a:r>
            <a:r>
              <a:rPr lang="en-US" sz="800" kern="0" dirty="0">
                <a:latin typeface="Frutiger 45 Light" panose="020B0603020202020204" pitchFamily="34" charset="0"/>
              </a:rPr>
              <a:t> We consider this asset class to be among the most attractive. Investors should seek opportunities to add exposure.</a:t>
            </a:r>
          </a:p>
          <a:p>
            <a:pPr defTabSz="830043">
              <a:spcBef>
                <a:spcPts val="0"/>
              </a:spcBef>
              <a:spcAft>
                <a:spcPts val="100"/>
              </a:spcAft>
              <a:defRPr/>
            </a:pPr>
            <a:endParaRPr lang="en-US" sz="800" kern="0" dirty="0">
              <a:latin typeface="Frutiger 45 Light" panose="020B0603020202020204" pitchFamily="34" charset="0"/>
            </a:endParaRPr>
          </a:p>
          <a:p>
            <a:pPr defTabSz="830043">
              <a:spcBef>
                <a:spcPts val="0"/>
              </a:spcBef>
              <a:spcAft>
                <a:spcPts val="100"/>
              </a:spcAft>
              <a:defRPr/>
            </a:pPr>
            <a:r>
              <a:rPr lang="en-US" sz="800" b="1" kern="0" dirty="0">
                <a:latin typeface="Frutiger 45 Light" panose="020B0603020202020204" pitchFamily="34" charset="0"/>
              </a:rPr>
              <a:t>Attractive:</a:t>
            </a:r>
            <a:r>
              <a:rPr lang="en-US" sz="800" kern="0" dirty="0">
                <a:latin typeface="Frutiger 45 Light" panose="020B0603020202020204" pitchFamily="34" charset="0"/>
              </a:rPr>
              <a:t> We consider this asset class to be attractive. Consider opportunities in this asset class.</a:t>
            </a:r>
          </a:p>
          <a:p>
            <a:pPr defTabSz="830043">
              <a:spcBef>
                <a:spcPts val="0"/>
              </a:spcBef>
              <a:spcAft>
                <a:spcPts val="100"/>
              </a:spcAft>
              <a:defRPr/>
            </a:pPr>
            <a:endParaRPr lang="en-US" sz="800" kern="0" dirty="0">
              <a:latin typeface="Frutiger 45 Light" panose="020B0603020202020204" pitchFamily="34" charset="0"/>
            </a:endParaRPr>
          </a:p>
          <a:p>
            <a:pPr defTabSz="830043">
              <a:spcBef>
                <a:spcPts val="0"/>
              </a:spcBef>
              <a:spcAft>
                <a:spcPts val="100"/>
              </a:spcAft>
              <a:defRPr/>
            </a:pPr>
            <a:r>
              <a:rPr lang="en-US" sz="800" b="1" kern="0" dirty="0">
                <a:latin typeface="Frutiger 45 Light" panose="020B0603020202020204" pitchFamily="34" charset="0"/>
              </a:rPr>
              <a:t>Neutral:</a:t>
            </a:r>
            <a:r>
              <a:rPr lang="en-US" sz="800" kern="0" dirty="0">
                <a:latin typeface="Frutiger 45 Light" panose="020B0603020202020204" pitchFamily="34" charset="0"/>
              </a:rPr>
              <a:t> We have a ‘neutral’ view on the asset class. No strong reason to adjust exposure.</a:t>
            </a:r>
          </a:p>
          <a:p>
            <a:pPr defTabSz="830043">
              <a:spcBef>
                <a:spcPts val="0"/>
              </a:spcBef>
              <a:spcAft>
                <a:spcPts val="100"/>
              </a:spcAft>
              <a:defRPr/>
            </a:pPr>
            <a:endParaRPr lang="en-US" sz="800" kern="0" dirty="0">
              <a:latin typeface="Frutiger 45 Light" panose="020B0603020202020204" pitchFamily="34" charset="0"/>
            </a:endParaRPr>
          </a:p>
          <a:p>
            <a:pPr defTabSz="830043">
              <a:spcBef>
                <a:spcPts val="0"/>
              </a:spcBef>
              <a:spcAft>
                <a:spcPts val="100"/>
              </a:spcAft>
              <a:defRPr/>
            </a:pPr>
            <a:r>
              <a:rPr lang="en-US" sz="800" b="1" kern="0" dirty="0">
                <a:latin typeface="Frutiger 45 Light" panose="020B0603020202020204" pitchFamily="34" charset="0"/>
              </a:rPr>
              <a:t>Unattractive:</a:t>
            </a:r>
            <a:r>
              <a:rPr lang="en-US" sz="800" kern="0" dirty="0">
                <a:latin typeface="Frutiger 45 Light" panose="020B0603020202020204" pitchFamily="34" charset="0"/>
              </a:rPr>
              <a:t> We consider this asset class to be unattractive. Consider alternative opportunities.</a:t>
            </a:r>
          </a:p>
          <a:p>
            <a:pPr defTabSz="830043">
              <a:spcBef>
                <a:spcPts val="0"/>
              </a:spcBef>
              <a:spcAft>
                <a:spcPts val="100"/>
              </a:spcAft>
              <a:defRPr/>
            </a:pPr>
            <a:endParaRPr lang="en-US" sz="800" kern="0" dirty="0">
              <a:latin typeface="Frutiger 45 Light" panose="020B0603020202020204" pitchFamily="34" charset="0"/>
            </a:endParaRPr>
          </a:p>
          <a:p>
            <a:pPr defTabSz="830043">
              <a:spcBef>
                <a:spcPts val="0"/>
              </a:spcBef>
              <a:spcAft>
                <a:spcPts val="100"/>
              </a:spcAft>
              <a:defRPr/>
            </a:pPr>
            <a:r>
              <a:rPr lang="en-US" sz="800" b="1" kern="0" dirty="0">
                <a:latin typeface="Frutiger 45 Light" panose="020B0603020202020204" pitchFamily="34" charset="0"/>
              </a:rPr>
              <a:t>Least attractive:</a:t>
            </a:r>
            <a:r>
              <a:rPr lang="en-US" sz="800" kern="0" dirty="0">
                <a:latin typeface="Frutiger 45 Light" panose="020B0603020202020204" pitchFamily="34" charset="0"/>
              </a:rPr>
              <a:t> We consider this asset class to be among the least attractive. Investors should seek more favorable alternative opportunities.</a:t>
            </a:r>
          </a:p>
        </p:txBody>
      </p:sp>
      <p:sp>
        <p:nvSpPr>
          <p:cNvPr id="3" name="TextBox 2">
            <a:extLst>
              <a:ext uri="{FF2B5EF4-FFF2-40B4-BE49-F238E27FC236}">
                <a16:creationId xmlns:a16="http://schemas.microsoft.com/office/drawing/2014/main" id="{02EE863D-ED98-2828-D31A-ADF5C33D2C54}"/>
              </a:ext>
            </a:extLst>
          </p:cNvPr>
          <p:cNvSpPr txBox="1"/>
          <p:nvPr>
            <p:custDataLst>
              <p:tags r:id="rId5"/>
            </p:custDataLst>
          </p:nvPr>
        </p:nvSpPr>
        <p:spPr>
          <a:xfrm>
            <a:off x="1867678" y="5995686"/>
            <a:ext cx="10659334" cy="1303998"/>
          </a:xfrm>
          <a:prstGeom prst="rect">
            <a:avLst/>
          </a:prstGeom>
          <a:noFill/>
        </p:spPr>
        <p:txBody>
          <a:bodyPr vert="horz" wrap="square" lIns="0" tIns="0" rIns="0" bIns="0" rtlCol="0" anchor="b" anchorCtr="0">
            <a:noAutofit/>
          </a:bodyPr>
          <a:lstStyle/>
          <a:p>
            <a:pPr algn="r" defTabSz="830043">
              <a:spcBef>
                <a:spcPts val="0"/>
              </a:spcBef>
              <a:spcAft>
                <a:spcPts val="100"/>
              </a:spcAft>
              <a:defRPr/>
            </a:pPr>
            <a:br>
              <a:rPr lang="en-US" sz="900">
                <a:solidFill>
                  <a:srgbClr val="000000"/>
                </a:solidFill>
              </a:rPr>
            </a:br>
            <a:endParaRPr lang="en-US" sz="900">
              <a:solidFill>
                <a:srgbClr val="000000"/>
              </a:solidFill>
            </a:endParaRPr>
          </a:p>
          <a:p>
            <a:pPr algn="r" defTabSz="830043">
              <a:spcBef>
                <a:spcPts val="0"/>
              </a:spcBef>
              <a:spcAft>
                <a:spcPts val="100"/>
              </a:spcAft>
              <a:defRPr/>
            </a:pPr>
            <a:r>
              <a:rPr lang="en-US" sz="800" kern="0">
                <a:latin typeface="Frutiger 45 Light" panose="020B0603020202020204" pitchFamily="34" charset="0"/>
              </a:rPr>
              <a:t>Note: Preferences are in local currencies and rated from least to most attractive based on absolute expected return over the next 12 months. </a:t>
            </a:r>
          </a:p>
          <a:p>
            <a:pPr algn="r" defTabSz="830043">
              <a:spcBef>
                <a:spcPts val="0"/>
              </a:spcBef>
              <a:spcAft>
                <a:spcPts val="100"/>
              </a:spcAft>
              <a:defRPr/>
            </a:pPr>
            <a:r>
              <a:rPr lang="en-US" sz="800" kern="0">
                <a:latin typeface="Frutiger 45 Light" panose="020B0603020202020204" pitchFamily="34" charset="0"/>
              </a:rPr>
              <a:t>Arrows denote change in preference since the last UBS Equity Compass.</a:t>
            </a:r>
          </a:p>
          <a:p>
            <a:pPr algn="r" defTabSz="830043">
              <a:spcBef>
                <a:spcPts val="0"/>
              </a:spcBef>
              <a:spcAft>
                <a:spcPts val="100"/>
              </a:spcAft>
              <a:defRPr/>
            </a:pPr>
            <a:r>
              <a:rPr lang="en-US" sz="800" kern="0">
                <a:latin typeface="Frutiger 45 Light" panose="020B0603020202020204" pitchFamily="34" charset="0"/>
              </a:rPr>
              <a:t>The asset class preferences provide high-level guidance to make investment decisions. The preferences reflect the collective judgement of the members of the House View meeting, primarily based on assessments of expected total returns on liquid, commonly known stock indexes, House View scenarios, and analyst convictions over the next 12 months. Note that the tactical asset allocation (TAA) positioning of our different investment strategies may differ from these views due to factors including portfolio construction, concentration, and borrowing constraints.</a:t>
            </a:r>
          </a:p>
          <a:p>
            <a:pPr algn="r" defTabSz="830043">
              <a:spcBef>
                <a:spcPts val="0"/>
              </a:spcBef>
              <a:spcAft>
                <a:spcPts val="100"/>
              </a:spcAft>
              <a:defRPr/>
            </a:pPr>
            <a:r>
              <a:rPr lang="en-US" sz="800" kern="0">
                <a:latin typeface="Frutiger 45 Light" panose="020B0603020202020204" pitchFamily="34" charset="0"/>
              </a:rPr>
              <a:t>Source: UBS</a:t>
            </a:r>
          </a:p>
          <a:p>
            <a:pPr algn="r" eaLnBrk="1">
              <a:spcBef>
                <a:spcPts val="0"/>
              </a:spcBef>
              <a:spcAft>
                <a:spcPts val="100"/>
              </a:spcAft>
            </a:pP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grpSp>
        <p:nvGrpSpPr>
          <p:cNvPr id="12" name="Group 11">
            <a:extLst>
              <a:ext uri="{FF2B5EF4-FFF2-40B4-BE49-F238E27FC236}">
                <a16:creationId xmlns:a16="http://schemas.microsoft.com/office/drawing/2014/main" id="{86EF5276-23B8-A192-112C-2B5E2380E8B4}"/>
              </a:ext>
            </a:extLst>
          </p:cNvPr>
          <p:cNvGrpSpPr/>
          <p:nvPr/>
        </p:nvGrpSpPr>
        <p:grpSpPr>
          <a:xfrm>
            <a:off x="582527" y="1398054"/>
            <a:ext cx="8006332" cy="4488396"/>
            <a:chOff x="582527" y="1398054"/>
            <a:chExt cx="8006332" cy="4190400"/>
          </a:xfrm>
        </p:grpSpPr>
        <p:pic>
          <p:nvPicPr>
            <p:cNvPr id="7" name="Picture 6">
              <a:extLst>
                <a:ext uri="{FF2B5EF4-FFF2-40B4-BE49-F238E27FC236}">
                  <a16:creationId xmlns:a16="http://schemas.microsoft.com/office/drawing/2014/main" id="{4B32D972-82AF-1049-6557-517F62DD2451}"/>
                </a:ext>
              </a:extLst>
            </p:cNvPr>
            <p:cNvPicPr>
              <a:picLocks noChangeAspect="1"/>
            </p:cNvPicPr>
            <p:nvPr/>
          </p:nvPicPr>
          <p:blipFill>
            <a:blip r:embed="rId7"/>
            <a:stretch>
              <a:fillRect/>
            </a:stretch>
          </p:blipFill>
          <p:spPr>
            <a:xfrm>
              <a:off x="582528" y="5285138"/>
              <a:ext cx="6649450" cy="303316"/>
            </a:xfrm>
            <a:prstGeom prst="rect">
              <a:avLst/>
            </a:prstGeom>
          </p:spPr>
        </p:pic>
        <p:pic>
          <p:nvPicPr>
            <p:cNvPr id="11" name="Picture 10">
              <a:extLst>
                <a:ext uri="{FF2B5EF4-FFF2-40B4-BE49-F238E27FC236}">
                  <a16:creationId xmlns:a16="http://schemas.microsoft.com/office/drawing/2014/main" id="{4826A315-55E4-20B8-37CF-DA3BDF930029}"/>
                </a:ext>
              </a:extLst>
            </p:cNvPr>
            <p:cNvPicPr>
              <a:picLocks noChangeAspect="1"/>
            </p:cNvPicPr>
            <p:nvPr/>
          </p:nvPicPr>
          <p:blipFill>
            <a:blip r:embed="rId8"/>
            <a:stretch>
              <a:fillRect/>
            </a:stretch>
          </p:blipFill>
          <p:spPr>
            <a:xfrm>
              <a:off x="582527" y="1398054"/>
              <a:ext cx="8006332" cy="3837600"/>
            </a:xfrm>
            <a:prstGeom prst="rect">
              <a:avLst/>
            </a:prstGeom>
          </p:spPr>
        </p:pic>
      </p:grpSp>
    </p:spTree>
    <p:custDataLst>
      <p:custData r:id="rId1"/>
      <p:custData r:id="rId2"/>
    </p:custDataLst>
    <p:extLst>
      <p:ext uri="{BB962C8B-B14F-4D97-AF65-F5344CB8AC3E}">
        <p14:creationId xmlns:p14="http://schemas.microsoft.com/office/powerpoint/2010/main" val="21239574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012AB-07BD-7DBE-B562-E0F3586E5330}"/>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EFF4ACC-33E6-5FE6-B23D-B2E143CEA97E}"/>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10" imgW="361" imgH="373" progId="TCLayout.ActiveDocument.1">
                  <p:embed/>
                </p:oleObj>
              </mc:Choice>
              <mc:Fallback>
                <p:oleObj name="think-cell Slide" r:id="rId10" imgW="361" imgH="373" progId="TCLayout.ActiveDocument.1">
                  <p:embed/>
                  <p:pic>
                    <p:nvPicPr>
                      <p:cNvPr id="19" name="think-cell data - do not delete" hidden="1">
                        <a:extLst>
                          <a:ext uri="{FF2B5EF4-FFF2-40B4-BE49-F238E27FC236}">
                            <a16:creationId xmlns:a16="http://schemas.microsoft.com/office/drawing/2014/main" id="{FEFF4ACC-33E6-5FE6-B23D-B2E143CEA97E}"/>
                          </a:ext>
                        </a:extLst>
                      </p:cNvPr>
                      <p:cNvPicPr/>
                      <p:nvPr/>
                    </p:nvPicPr>
                    <p:blipFill>
                      <a:blip r:embed="rId11"/>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0E9E8E1D-6075-D798-65A3-B5C877551737}"/>
              </a:ext>
            </a:extLst>
          </p:cNvPr>
          <p:cNvSpPr>
            <a:spLocks noGrp="1"/>
          </p:cNvSpPr>
          <p:nvPr>
            <p:ph type="title"/>
            <p:custDataLst>
              <p:tags r:id="rId3"/>
            </p:custDataLst>
          </p:nvPr>
        </p:nvSpPr>
        <p:spPr>
          <a:xfrm>
            <a:off x="582528" y="1786"/>
            <a:ext cx="12238019" cy="941386"/>
          </a:xfrm>
        </p:spPr>
        <p:txBody>
          <a:bodyPr vert="horz">
            <a:normAutofit/>
          </a:bodyPr>
          <a:lstStyle/>
          <a:p>
            <a:pPr>
              <a:lnSpc>
                <a:spcPct val="107000"/>
              </a:lnSpc>
              <a:spcBef>
                <a:spcPts val="0"/>
              </a:spcBef>
            </a:pPr>
            <a:r>
              <a:rPr lang="en-US" dirty="0">
                <a:solidFill>
                  <a:srgbClr val="E60000"/>
                </a:solidFill>
              </a:rPr>
              <a:t>US equities: </a:t>
            </a:r>
            <a:r>
              <a:rPr lang="en-US" dirty="0"/>
              <a:t>Supportive macro backdrop</a:t>
            </a:r>
            <a:endParaRPr lang="en-GB" spc="-50" dirty="0"/>
          </a:p>
        </p:txBody>
      </p:sp>
      <p:sp>
        <p:nvSpPr>
          <p:cNvPr id="3" name="TextBox 2">
            <a:extLst>
              <a:ext uri="{FF2B5EF4-FFF2-40B4-BE49-F238E27FC236}">
                <a16:creationId xmlns:a16="http://schemas.microsoft.com/office/drawing/2014/main" id="{787B4EF8-B7FF-4582-1E3A-73A776FDCFCA}"/>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FactSet, Bloomberg, UBS, as of 02 February 2026</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7" name="TextBox 6">
            <a:extLst>
              <a:ext uri="{FF2B5EF4-FFF2-40B4-BE49-F238E27FC236}">
                <a16:creationId xmlns:a16="http://schemas.microsoft.com/office/drawing/2014/main" id="{9513B2F1-071C-DA4E-E1D9-4B3FCE5137DE}"/>
              </a:ext>
            </a:extLst>
          </p:cNvPr>
          <p:cNvSpPr txBox="1"/>
          <p:nvPr>
            <p:custDataLst>
              <p:tags r:id="rId5"/>
            </p:custDataLst>
          </p:nvPr>
        </p:nvSpPr>
        <p:spPr>
          <a:xfrm>
            <a:off x="582528"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dirty="0">
                <a:solidFill>
                  <a:srgbClr val="FF0000"/>
                </a:solidFill>
              </a:rPr>
              <a:t>Fed cuts </a:t>
            </a:r>
            <a:r>
              <a:rPr lang="en-US" sz="1399" b="1" dirty="0">
                <a:solidFill>
                  <a:srgbClr val="000000"/>
                </a:solidFill>
              </a:rPr>
              <a:t>and no recession tend to be good for stocks</a:t>
            </a:r>
          </a:p>
          <a:p>
            <a:pPr eaLnBrk="1">
              <a:spcBef>
                <a:spcPts val="0"/>
              </a:spcBef>
              <a:spcAft>
                <a:spcPts val="600"/>
              </a:spcAft>
            </a:pPr>
            <a:r>
              <a:rPr lang="en-US" sz="1399" dirty="0"/>
              <a:t>S&amp;P 500 performance since 1970, indexed </a:t>
            </a:r>
            <a:endParaRPr lang="en-US" sz="1399" dirty="0">
              <a:highlight>
                <a:srgbClr val="FFFF00"/>
              </a:highlight>
            </a:endParaRPr>
          </a:p>
        </p:txBody>
      </p:sp>
      <p:sp>
        <p:nvSpPr>
          <p:cNvPr id="8" name="TextBox 7">
            <a:extLst>
              <a:ext uri="{FF2B5EF4-FFF2-40B4-BE49-F238E27FC236}">
                <a16:creationId xmlns:a16="http://schemas.microsoft.com/office/drawing/2014/main" id="{3BE90499-2E44-F035-E36A-5C38503755E3}"/>
              </a:ext>
            </a:extLst>
          </p:cNvPr>
          <p:cNvSpPr txBox="1"/>
          <p:nvPr>
            <p:custDataLst>
              <p:tags r:id="rId6"/>
            </p:custDataLst>
          </p:nvPr>
        </p:nvSpPr>
        <p:spPr>
          <a:xfrm>
            <a:off x="4873602" y="1411176"/>
            <a:ext cx="3870347"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dirty="0">
                <a:solidFill>
                  <a:srgbClr val="000000"/>
                </a:solidFill>
              </a:rPr>
              <a:t>OBBBA bill to </a:t>
            </a:r>
            <a:r>
              <a:rPr lang="en-US" sz="1399" b="1" dirty="0">
                <a:solidFill>
                  <a:srgbClr val="FF0000"/>
                </a:solidFill>
              </a:rPr>
              <a:t>boost growth</a:t>
            </a:r>
          </a:p>
          <a:p>
            <a:pPr eaLnBrk="1">
              <a:spcBef>
                <a:spcPts val="0"/>
              </a:spcBef>
              <a:spcAft>
                <a:spcPts val="600"/>
              </a:spcAft>
            </a:pPr>
            <a:r>
              <a:rPr lang="en-US" altLang="en-US" sz="1400" kern="0" dirty="0"/>
              <a:t>Fiscal policy (pp contribution to real GDP growth)</a:t>
            </a:r>
          </a:p>
        </p:txBody>
      </p:sp>
      <p:sp>
        <p:nvSpPr>
          <p:cNvPr id="9" name="TextBox 8">
            <a:extLst>
              <a:ext uri="{FF2B5EF4-FFF2-40B4-BE49-F238E27FC236}">
                <a16:creationId xmlns:a16="http://schemas.microsoft.com/office/drawing/2014/main" id="{E20402CF-77C4-7034-15C4-638E30A74FAE}"/>
              </a:ext>
            </a:extLst>
          </p:cNvPr>
          <p:cNvSpPr txBox="1"/>
          <p:nvPr>
            <p:custDataLst>
              <p:tags r:id="rId7"/>
            </p:custDataLst>
          </p:nvPr>
        </p:nvSpPr>
        <p:spPr>
          <a:xfrm>
            <a:off x="9164679" y="1411176"/>
            <a:ext cx="3655868" cy="365587"/>
          </a:xfrm>
          <a:prstGeom prst="rect">
            <a:avLst/>
          </a:prstGeom>
          <a:noFill/>
        </p:spPr>
        <p:txBody>
          <a:bodyPr vert="horz" wrap="square" lIns="0" tIns="0" rIns="0" bIns="0" rtlCol="0" anchor="t">
            <a:noAutofit/>
          </a:bodyPr>
          <a:lstStyle/>
          <a:p>
            <a:pPr defTabSz="912176">
              <a:spcBef>
                <a:spcPts val="0"/>
              </a:spcBef>
              <a:spcAft>
                <a:spcPts val="600"/>
              </a:spcAft>
            </a:pPr>
            <a:r>
              <a:rPr lang="en-US" sz="1399" b="1" dirty="0">
                <a:solidFill>
                  <a:srgbClr val="FF0000"/>
                </a:solidFill>
              </a:rPr>
              <a:t>Tariff</a:t>
            </a:r>
            <a:r>
              <a:rPr lang="en-US" sz="1399" b="1" dirty="0"/>
              <a:t> </a:t>
            </a:r>
            <a:r>
              <a:rPr lang="qaa-Latn-001" sz="1399" b="1" dirty="0"/>
              <a:t>headwinds to fade</a:t>
            </a:r>
            <a:endParaRPr lang="en-US" sz="1399" b="1" dirty="0"/>
          </a:p>
          <a:p>
            <a:pPr defTabSz="912176">
              <a:spcBef>
                <a:spcPts val="0"/>
              </a:spcBef>
              <a:spcAft>
                <a:spcPts val="600"/>
              </a:spcAft>
            </a:pPr>
            <a:r>
              <a:rPr lang="en-US" sz="1399" dirty="0">
                <a:solidFill>
                  <a:prstClr val="black"/>
                </a:solidFill>
              </a:rPr>
              <a:t>US effective tariff rate and CIO forecasts in %</a:t>
            </a:r>
            <a:endParaRPr lang="en-US" altLang="en-US" sz="1400" kern="0" dirty="0"/>
          </a:p>
        </p:txBody>
      </p:sp>
      <p:graphicFrame>
        <p:nvGraphicFramePr>
          <p:cNvPr id="12" name="Chart 11"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FA8B909A-056E-0A1E-20A4-DBF8B112DE9C}"/>
              </a:ext>
            </a:extLst>
          </p:cNvPr>
          <p:cNvGraphicFramePr>
            <a:graphicFrameLocks/>
          </p:cNvGraphicFramePr>
          <p:nvPr>
            <p:extLst>
              <p:ext uri="{D42A27DB-BD31-4B8C-83A1-F6EECF244321}">
                <p14:modId xmlns:p14="http://schemas.microsoft.com/office/powerpoint/2010/main" val="3017955845"/>
              </p:ext>
            </p:extLst>
          </p:nvPr>
        </p:nvGraphicFramePr>
        <p:xfrm>
          <a:off x="573003" y="2673680"/>
          <a:ext cx="3655868" cy="4104885"/>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0" name="Chart 9" descr="{&quot;ChartDesign&quot;:{&quot;General&quot;:{&quot;FontBold&quot;:null,&quot;FontName&quot;:&quot;+Body&quot;,&quot;FontNameFarEast&quot;:&quot;+Body Asian&quot;,&quot;FontNameComplexScript&quot;:null,&quot;FontSize&quot;:10.0,&quot;FontSizePp&quot;:null,&quot;FontColorRef&quot;:&quot;Black&quot;},&quot;Gridlines&quot;:{&quot;MajorHorizontal&quot;:false,&quot;MajorVertical&quot;:true,&quot;MinorHorizontal&quot;:false,&quot;MinorVertical&quot;:false,&quot;Weight&quot;:0.25,&quot;ColorRef&quot;:&quot;Black&quot;,&quot;LineStyle&quot;:null},&quot;Axis&quot;:{&quot;AxisLines&quot;:{&quot;PrimaryCategory&quot;:{&quot;Weight&quot;:1.0,&quot;ColorRef&quot;:&quot;Black&quot;,&quot;MajorTickMarks&quot;:null,&quot;MinorTickMarks&quot;:null,&quot;HasAxisTitle&quot;:null,&quot;AxisTitleDesign&quot;:null,&quot;Visible&quot;:true,&quot;FontBold&quot;:null,&quot;FontName&quot;:null,&quot;FontNameFarEast&quot;:null,&quot;FontNameComplexScript&quot;:null,&quot;FontSize&quot;:null,&quot;FontSizePp&quot;:null,&quot;FontColorRef&quot;:null},&quot;PrimaryValue&quot;:{&quot;Weight&quot;:null,&quot;ColorRef&quot;:null,&quot;MajorTickMarks&quot;:null,&quot;MinorTickMarks&quot;:null,&quot;HasAxisTitle&quot;:null,&quot;AxisTitleDesign&quot;:null,&quot;Visible&quot;:false,&quot;FontBold&quot;:null,&quot;FontName&quot;:null,&quot;FontNameFarEast&quot;:null,&quot;FontNameComplexScript&quot;:null,&quot;FontSize&quot;:null,&quot;FontSizePp&quot;:null,&quot;FontColorRef&quot;:null},&quot;SecondaryCategory&quot;:{&quot;Weight&quot;:null,&quot;ColorRef&quot;:null,&quot;MajorTickMarks&quot;:null,&quot;MinorTickMarks&quot;:null,&quot;HasAxisTitle&quot;:null,&quot;AxisTitleDesign&quot;:null,&quot;Visible&quot;:false,&quot;FontBold&quot;:null,&quot;FontName&quot;:null,&quot;FontNameFarEast&quot;:null,&quot;FontNameComplexScript&quot;:null,&quot;FontSize&quot;:null,&quot;FontSizePp&quot;:null,&quot;FontColorRef&quot;:null},&quot;SecondaryValue&quot;:{&quot;Weight&quot;:null,&quot;ColorRef&quot;:null,&quot;MajorTickMarks&quot;:null,&quot;MinorTickMarks&quot;:null,&quot;HasAxisTitle&quot;:null,&quot;AxisTitleDesign&quot;:null,&quot;Visible&quot;:false,&quot;FontBold&quot;:null,&quot;FontName&quot;:null,&quot;FontNameFarEast&quot;:null,&quot;FontNameComplexScript&quot;:null,&quot;FontSize&quot;:null,&quot;FontSizePp&quot;:null,&quot;FontColorRef&quot;:null},&quot;Weight&quot;:null,&quot;ColorRef&quot;:null,&quot;MajorTickMarks&quot;:null,&quot;MinorTickMarks&quot;:null,&quot;HasAxisTitle&quot;:null,&quot;AxisTitleDesign&quot;:null,&quot;Visible&quot;:null,&quot;FontBold&quot;:null,&quot;FontName&quot;:null,&quot;FontNameFarEast&quot;:null,&quot;FontNameComplexScript&quot;:null,&quot;FontSize&quot;:null,&quot;FontSizePp&quot;:null,&quot;FontColorRef&quot;:null},&quot;AxisText&quot;:{&quot;Rotation&quot;:null},&quot;SeriesOverlap&quot;:0.0,&quot;GapWidth&quot;:50.0},&quot;ChartTitle&quot;:{&quot;ChartTitlePosition&quot;:&quot;Undefined&quot;,&quot;FontBold&quot;:null,&quot;FontName&quot;:&quot;+Body&quot;,&quot;FontNameFarEast&quot;:&quot;+Body Asian&quot;,&quot;FontNameComplexScript&quot;:null,&quot;FontSize&quot;:10.0,&quot;FontSizePp&quot;:null,&quot;FontColorRef&quot;:&quot;Black&quot;},&quot;Legend&quot;:{&quot;Position&quot;:&quot;Bottom&quot;,&quot;FontBold&quot;:null,&quot;FontName&quot;:null,&quot;FontNameFarEast&quot;:null,&quot;FontNameComplexScript&quot;:null,&quot;FontSize&quot;:null,&quot;FontSizePp&quot;:null,&quot;FontColorRef&quot;:null},&quot;ChartArea&quot;:{&quot;FillType&quot;:null,&quot;FillColorRef&quot;:null,&quot;Border&quot;:null},&quot;PlotArea&quot;:{&quot;FillType&quot;:null},&quot;CustomRules&quot;:[{&quot;Type&quot;:&quot;SetBorderSeriesStackedPointPieOrDoughnutSlice&quot;,&quot;Content&quot;:&quot;White;0.75;50&quot;}],&quot;DataSeries&quot;:[{&quot;PrimaryColorRef&quot;:&quot;Gray 1&quot;,&quot;MarkerStyle&quot;:null,&quot;MarkerFillColorRef&quot;:null,&quot;MarkerBorderColorRef&quot;:null,&quot;DataLabelColorRef&quot;:null},{&quot;PrimaryColorRef&quot;:&quot;Lake&quot;,&quot;MarkerStyle&quot;:null,&quot;MarkerFillColorRef&quot;:null,&quot;MarkerBorderColorRef&quot;:null,&quot;DataLabelColorRef&quot;:null},{&quot;PrimaryColorRef&quot;:&quot;Gray 4&quot;,&quot;MarkerStyle&quot;:null,&quot;MarkerFillColorRef&quot;:null,&quot;MarkerBorderColorRef&quot;:null,&quot;DataLabelColorRef&quot;:null},{&quot;PrimaryColorRef&quot;:&quot;Kiwi&quot;,&quot;MarkerStyle&quot;:null,&quot;MarkerFillColorRef&quot;:null,&quot;MarkerBorderColorRef&quot;:null,&quot;DataLabelColorRef&quot;:null},{&quot;PrimaryColorRef&quot;:&quot;Gray 2&quot;,&quot;MarkerStyle&quot;:null,&quot;MarkerFillColorRef&quot;:null,&quot;MarkerBorderColorRef&quot;:null,&quot;DataLabelColorRef&quot;:null},{&quot;PrimaryColorRef&quot;:&quot;Glacier&quot;,&quot;MarkerStyle&quot;:null,&quot;MarkerFillColorRef&quot;:null,&quot;MarkerBorderColorRef&quot;:null,&quot;DataLabelColorRef&quot;:null},{&quot;PrimaryColorRef&quot;:&quot;Gray 5&quot;,&quot;MarkerStyle&quot;:null,&quot;MarkerFillColorRef&quot;:null,&quot;MarkerBorderColorRef&quot;:null,&quot;DataLabelColorRef&quot;:null},{&quot;PrimaryColorRef&quot;:&quot;Lemongrass&quot;,&quot;MarkerStyle&quot;:null,&quot;MarkerFillColorRef&quot;:null,&quot;MarkerBorderColorRef&quot;:null,&quot;DataLabelColorRef&quot;:null},{&quot;PrimaryColorRef&quot;:&quot;Gray 3&quot;,&quot;MarkerStyle&quot;:null,&quot;MarkerFillColorRef&quot;:null,&quot;MarkerBorderColorRef&quot;:null,&quot;DataLabelColorRef&quot;:null},{&quot;PrimaryColorRef&quot;:&quot;Lagoon&quot;,&quot;MarkerStyle&quot;:null,&quot;MarkerFillColorRef&quot;:null,&quot;MarkerBorderColorRef&quot;:null,&quot;DataLabelColorRef&quot;:null},{&quot;PrimaryColorRef&quot;:&quot;Olive&quot;,&quot;MarkerStyle&quot;:null,&quot;MarkerFillColorRef&quot;:null,&quot;MarkerBorderColorRef&quot;:null,&quot;DataLabelColorRef&quot;:null},{&quot;PrimaryColorRef&quot;:&quot;Lavender&quot;,&quot;MarkerStyle&quot;:null,&quot;MarkerFillColorRef&quot;:null,&quot;MarkerBorderColorRef&quot;:null,&quot;DataLabelColorRef&quot;:null},{&quot;PrimaryColorRef&quot;:&quot;Mint&quot;,&quot;MarkerStyle&quot;:null,&quot;MarkerFillColorRef&quot;:null,&quot;MarkerBorderColorRef&quot;:null,&quot;DataLabelColorRef&quot;:null},{&quot;PrimaryColorRef&quot;:&quot;Curry&quot;,&quot;MarkerStyle&quot;:null,&quot;MarkerFillColorRef&quot;:null,&quot;MarkerBorderColorRef&quot;:null,&quot;DataLabelColorRef&quot;:null},{&quot;PrimaryColorRef&quot;:&quot;Plum&quot;,&quot;MarkerStyle&quot;:null,&quot;MarkerFillColorRef&quot;:null,&quot;MarkerBorderColorRef&quot;:null,&quot;DataLabelColorRef&quot;:null},{&quot;PrimaryColorRef&quot;:&quot;Sage&quot;,&quot;MarkerStyle&quot;:null,&quot;MarkerFillColorRef&quot;:null,&quot;MarkerBorderColorRef&quot;:null,&quot;DataLabelColorRef&quot;:null},{&quot;PrimaryColorRef&quot;:&quot;Honey&quot;,&quot;MarkerStyle&quot;:null,&quot;MarkerFillColorRef&quot;:null,&quot;MarkerBorderColorRef&quot;:null,&quot;DataLabelColorRef&quot;:null},{&quot;PrimaryColorRef&quot;:&quot;Lilac&quot;,&quot;MarkerStyle&quot;:null,&quot;MarkerFillColorRef&quot;:null,&quot;MarkerBorderColorRef&quot;:null,&quot;DataLabelColorRef&quot;:null},{&quot;PrimaryColorRef&quot;:&quot;Pine&quot;,&quot;MarkerStyle&quot;:null,&quot;MarkerFillColorRef&quot;:null,&quot;MarkerBorderColorRef&quot;:null,&quot;DataLabelColorRef&quot;:null},{&quot;PrimaryColorRef&quot;:&quot;Straw&quot;,&quot;MarkerStyle&quot;:null,&quot;MarkerFillColorRef&quot;:null,&quot;MarkerBorderColorRef&quot;:null,&quot;DataLabelColorRef&quot;:null},{&quot;PrimaryColorRef&quot;:&quot;Clay&quot;,&quot;MarkerStyle&quot;:null,&quot;MarkerFillColorRef&quot;:null,&quot;MarkerBorderColorRef&quot;:null,&quot;DataLabelColorRef&quot;:null},{&quot;PrimaryColorRef&quot;:&quot;Cinnamon&quot;,&quot;MarkerStyle&quot;:null,&quot;MarkerFillColorRef&quot;:null,&quot;MarkerBorderColorRef&quot;:null,&quot;DataLabelColorRef&quot;:null},{&quot;PrimaryColorRef&quot;:&quot;Terracotta&quot;,&quot;MarkerStyle&quot;:null,&quot;MarkerFillColorRef&quot;:null,&quot;MarkerBorderColorRef&quot;:null,&quot;DataLabelColorRef&quot;:null},{&quot;PrimaryColorRef&quot;:&quot;Mouse&quot;,&quot;MarkerStyle&quot;:null,&quot;MarkerFillColorRef&quot;:null,&quot;MarkerBorderColorRef&quot;:null,&quot;DataLabelColorRef&quot;:null},{&quot;PrimaryColorRef&quot;:&quot;Chocolate&quot;,&quot;MarkerStyle&quot;:null,&quot;MarkerFillColorRef&quot;:null,&quot;MarkerBorderColorRef&quot;:null,&quot;DataLabelColorRef&quot;:null},{&quot;PrimaryColorRef&quot;:&quot;Caramel&quot;,&quot;MarkerStyle&quot;:null,&quot;MarkerFillColorRef&quot;:null,&quot;MarkerBorderColorRef&quot;:null,&quot;DataLabelColorRef&quot;:null},{&quot;PrimaryColorRef&quot;:&quot;Chestnut&quot;,&quot;MarkerStyle&quot;:null,&quot;MarkerFillColorRef&quot;:null,&quot;MarkerBorderColorRef&quot;:null,&quot;DataLabelColorRef&quot;:null}],&quot;SeriesDesign&quot;:{&quot;FirstSliceAngle&quot;:null,&quot;DoughnutHoleSize&quot;:null,&quot;DoughnutExplosion&quot;:null,&quot;PieExplosion&quot;:null,&quot;SeriesOverlap&quot;:null,&quot;GapWidth&quot;:null,&quot;BorderColorRef&quot;:null,&quot;MarkerStyle&quot;:8,&quot;MarkerFillColorRef&quot;:null,&quot;MarkerBorderColorRef&quot;:null,&quot;HasDataLabels&quot;:null,&quot;DisableBorders&quot;:true,&quot;DataLabelDesign&quot;:null,&quot;LineWeight&quot;:null,&quot;LeaderLinesDesign&quot;:null,&quot;HasLeaderLines&quot;:null,&quot;SeriesLinesDesign&quot;:null,&quot;DashStyle&quot;:null,&quot;BorderWidth&quot;:null},&quot;SkipBlankSeries&quot;:false,&quot;Pie&quot;:null,&quot;Doughnut&quot;:null,&quot;PieDoughnut&quot;:null,&quot;Line&quot;:null,&quot;LineRadarScatter&quot;:{&quot;General&quot;:null,&quot;Gridlines&quot;:null,&quot;Axis&quot;:null,&quot;ChartTitle&quot;:null,&quot;Legend&quot;:null,&quot;ChartArea&quot;:null,&quot;PlotArea&quot;:null,&quot;CustomRules&quot;:null,&quot;DataSeries&quot;:[{&quot;PrimaryColorRef&quot;:&quot;Gray 1&quot;,&quot;MarkerStyle&quot;:null,&quot;MarkerFillColorRef&quot;:null,&quot;MarkerBorderColorRef&quot;:null,&quot;DataLabelColorRef&quot;:null},{&quot;PrimaryColorRef&quot;:&quot;Lake&quot;,&quot;MarkerStyle&quot;:null,&quot;MarkerFillColorRef&quot;:null,&quot;MarkerBorderColorRef&quot;:null,&quot;DataLabelColorRef&quot;:null},{&quot;PrimaryColorRef&quot;:&quot;Gray 4&quot;,&quot;MarkerStyle&quot;:null,&quot;MarkerFillColorRef&quot;:null,&quot;MarkerBorderColorRef&quot;:null,&quot;DataLabelColorRef&quot;:null},{&quot;PrimaryColorRef&quot;:&quot;Kiwi&quot;,&quot;MarkerStyle&quot;:null,&quot;MarkerFillColorRef&quot;:null,&quot;MarkerBorderColorRef&quot;:null,&quot;DataLabelColorRef&quot;:null},{&quot;PrimaryColorRef&quot;:&quot;Gray 2&quot;,&quot;MarkerStyle&quot;:null,&quot;MarkerFillColorRef&quot;:null,&quot;MarkerBorderColorRef&quot;:null,&quot;DataLabelColorRef&quot;:null},{&quot;PrimaryColorRef&quot;:&quot;Glacier&quot;,&quot;MarkerStyle&quot;:null,&quot;MarkerFillColorRef&quot;:null,&quot;MarkerBorderColorRef&quot;:null,&quot;DataLabelColorRef&quot;:null},{&quot;PrimaryColorRef&quot;:&quot;Gray 5&quot;,&quot;MarkerStyle&quot;:null,&quot;MarkerFillColorRef&quot;:null,&quot;MarkerBorderColorRef&quot;:null,&quot;DataLabelColorRef&quot;:null},{&quot;PrimaryColorRef&quot;:&quot;Lemongrass&quot;,&quot;MarkerStyle&quot;:null,&quot;MarkerFillColorRef&quot;:null,&quot;MarkerBorderColorRef&quot;:null,&quot;DataLabelColorRef&quot;:null},{&quot;PrimaryColorRef&quot;:&quot;Gray 3&quot;,&quot;MarkerStyle&quot;:null,&quot;MarkerFillColorRef&quot;:null,&quot;MarkerBorderColorRef&quot;:null,&quot;DataLabelColorRef&quot;:null},{&quot;PrimaryColorRef&quot;:&quot;Lagoon&quot;,&quot;MarkerStyle&quot;:null,&quot;MarkerFillColorRef&quot;:null,&quot;MarkerBorderColorRef&quot;:null,&quot;DataLabelColorRef&quot;:null},{&quot;PrimaryColorRef&quot;:&quot;Olive&quot;,&quot;MarkerStyle&quot;:null,&quot;MarkerFillColorRef&quot;:null,&quot;MarkerBorderColorRef&quot;:null,&quot;DataLabelColorRef&quot;:null},{&quot;PrimaryColorRef&quot;:&quot;Lavender&quot;,&quot;MarkerStyle&quot;:null,&quot;MarkerFillColorRef&quot;:null,&quot;MarkerBorderColorRef&quot;:null,&quot;DataLabelColorRef&quot;:null},{&quot;PrimaryColorRef&quot;:&quot;Mint&quot;,&quot;MarkerStyle&quot;:null,&quot;MarkerFillColorRef&quot;:null,&quot;MarkerBorderColorRef&quot;:null,&quot;DataLabelColorRef&quot;:null},{&quot;PrimaryColorRef&quot;:&quot;Curry&quot;,&quot;MarkerStyle&quot;:null,&quot;MarkerFillColorRef&quot;:null,&quot;MarkerBorderColorRef&quot;:null,&quot;DataLabelColorRef&quot;:null},{&quot;PrimaryColorRef&quot;:&quot;Plum&quot;,&quot;MarkerStyle&quot;:null,&quot;MarkerFillColorRef&quot;:null,&quot;MarkerBorderColorRef&quot;:null,&quot;DataLabelColorRef&quot;:null},{&quot;PrimaryColorRef&quot;:&quot;Sage&quot;,&quot;MarkerStyle&quot;:null,&quot;MarkerFillColorRef&quot;:null,&quot;MarkerBorderColorRef&quot;:null,&quot;DataLabelColorRef&quot;:null},{&quot;PrimaryColorRef&quot;:&quot;Honey&quot;,&quot;MarkerStyle&quot;:null,&quot;MarkerFillColorRef&quot;:null,&quot;MarkerBorderColorRef&quot;:null,&quot;DataLabelColorRef&quot;:null},{&quot;PrimaryColorRef&quot;:&quot;Lilac&quot;,&quot;MarkerStyle&quot;:null,&quot;MarkerFillColorRef&quot;:null,&quot;MarkerBorderColorRef&quot;:null,&quot;DataLabelColorRef&quot;:null},{&quot;PrimaryColorRef&quot;:&quot;Pine&quot;,&quot;MarkerStyle&quot;:null,&quot;MarkerFillColorRef&quot;:null,&quot;MarkerBorderColorRef&quot;:null,&quot;DataLabelColorRef&quot;:null},{&quot;PrimaryColorRef&quot;:&quot;Straw&quot;,&quot;MarkerStyle&quot;:null,&quot;MarkerFillColorRef&quot;:null,&quot;MarkerBorderColorRef&quot;:null,&quot;DataLabelColorRef&quot;:null},{&quot;PrimaryColorRef&quot;:&quot;Clay&quot;,&quot;MarkerStyle&quot;:null,&quot;MarkerFillColorRef&quot;:null,&quot;MarkerBorderColorRef&quot;:null,&quot;DataLabelColorRef&quot;:null},{&quot;PrimaryColorRef&quot;:&quot;Cinnamon&quot;,&quot;MarkerStyle&quot;:null,&quot;MarkerFillColorRef&quot;:null,&quot;MarkerBorderColorRef&quot;:null,&quot;DataLabelColorRef&quot;:null},{&quot;PrimaryColorRef&quot;:&quot;Terracotta&quot;,&quot;MarkerStyle&quot;:null,&quot;MarkerFillColorRef&quot;:null,&quot;MarkerBorderColorRef&quot;:null,&quot;DataLabelColorRef&quot;:null},{&quot;PrimaryColorRef&quot;:&quot;Mouse&quot;,&quot;MarkerStyle&quot;:null,&quot;MarkerFillColorRef&quot;:null,&quot;MarkerBorderColorRef&quot;:null,&quot;DataLabelColorRef&quot;:null},{&quot;PrimaryColorRef&quot;:&quot;Chocolate&quot;,&quot;MarkerStyle&quot;:null,&quot;MarkerFillColorRef&quot;:null,&quot;MarkerBorderColorRef&quot;:null,&quot;DataLabelColorRef&quot;:null},{&quot;PrimaryColorRef&quot;:&quot;Caramel&quot;,&quot;MarkerStyle&quot;:null,&quot;MarkerFillColorRef&quot;:null,&quot;MarkerBorderColorRef&quot;:null,&quot;DataLabelColorRef&quot;:null},{&quot;PrimaryColorRef&quot;:&quot;Chestnut&quot;,&quot;MarkerStyle&quot;:null,&quot;MarkerFillColorRef&quot;:null,&quot;MarkerBorderColorRef&quot;:null,&quot;DataLabelColorRef&quot;:null}],&quot;SeriesDesign&quot;:null,&quot;SkipBlankSeries&quot;:false,&quot;Pie&quot;:null,&quot;Doughnut&quot;:null,&quot;PieDoughnut&quot;:null,&quot;Line&quot;:null,&quot;LineRadarScatter&quot;:null,&quot;Stacked&quot;:null,&quot;HasChartTitle&quot;:true},&quot;Stacked&quot;:null,&quot;HasChartTitle&quot;:true},&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
            <a:extLst>
              <a:ext uri="{FF2B5EF4-FFF2-40B4-BE49-F238E27FC236}">
                <a16:creationId xmlns:a16="http://schemas.microsoft.com/office/drawing/2014/main" id="{3169F69F-5730-41FD-9B5B-2C01C37FDB0A}"/>
              </a:ext>
            </a:extLst>
          </p:cNvPr>
          <p:cNvGraphicFramePr>
            <a:graphicFrameLocks/>
          </p:cNvGraphicFramePr>
          <p:nvPr>
            <p:extLst>
              <p:ext uri="{D42A27DB-BD31-4B8C-83A1-F6EECF244321}">
                <p14:modId xmlns:p14="http://schemas.microsoft.com/office/powerpoint/2010/main" val="831210531"/>
              </p:ext>
            </p:extLst>
          </p:nvPr>
        </p:nvGraphicFramePr>
        <p:xfrm>
          <a:off x="9337491" y="2761848"/>
          <a:ext cx="3655869" cy="3370775"/>
        </p:xfrm>
        <a:graphic>
          <a:graphicData uri="http://schemas.openxmlformats.org/drawingml/2006/chart">
            <c:chart xmlns:c="http://schemas.openxmlformats.org/drawingml/2006/chart" xmlns:r="http://schemas.openxmlformats.org/officeDocument/2006/relationships" r:id="rId13"/>
          </a:graphicData>
        </a:graphic>
      </p:graphicFrame>
      <p:pic>
        <p:nvPicPr>
          <p:cNvPr id="17" name="Picture 16">
            <a:extLst>
              <a:ext uri="{FF2B5EF4-FFF2-40B4-BE49-F238E27FC236}">
                <a16:creationId xmlns:a16="http://schemas.microsoft.com/office/drawing/2014/main" id="{D178821A-159A-A84C-6AF6-D93688DD1760}"/>
              </a:ext>
            </a:extLst>
          </p:cNvPr>
          <p:cNvPicPr>
            <a:picLocks noChangeAspect="1"/>
          </p:cNvPicPr>
          <p:nvPr/>
        </p:nvPicPr>
        <p:blipFill>
          <a:blip r:embed="rId14"/>
          <a:stretch>
            <a:fillRect/>
          </a:stretch>
        </p:blipFill>
        <p:spPr>
          <a:xfrm>
            <a:off x="9175351" y="2836788"/>
            <a:ext cx="3980148" cy="3220893"/>
          </a:xfrm>
          <a:prstGeom prst="rect">
            <a:avLst/>
          </a:prstGeom>
        </p:spPr>
      </p:pic>
      <p:graphicFrame>
        <p:nvGraphicFramePr>
          <p:cNvPr id="5" name="fiscalgdpcontr"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ECD33691-3CB9-4979-9A70-3C79169CA77D}"/>
              </a:ext>
            </a:extLst>
          </p:cNvPr>
          <p:cNvGraphicFramePr>
            <a:graphicFrameLocks/>
          </p:cNvGraphicFramePr>
          <p:nvPr>
            <p:extLst>
              <p:ext uri="{D42A27DB-BD31-4B8C-83A1-F6EECF244321}">
                <p14:modId xmlns:p14="http://schemas.microsoft.com/office/powerpoint/2010/main" val="3681795161"/>
              </p:ext>
            </p:extLst>
          </p:nvPr>
        </p:nvGraphicFramePr>
        <p:xfrm>
          <a:off x="4626409" y="2673680"/>
          <a:ext cx="4420878" cy="4136695"/>
        </p:xfrm>
        <a:graphic>
          <a:graphicData uri="http://schemas.openxmlformats.org/drawingml/2006/chart">
            <c:chart xmlns:c="http://schemas.openxmlformats.org/drawingml/2006/chart" xmlns:r="http://schemas.openxmlformats.org/officeDocument/2006/relationships" r:id="rId15"/>
          </a:graphicData>
        </a:graphic>
      </p:graphicFrame>
      <p:grpSp>
        <p:nvGrpSpPr>
          <p:cNvPr id="11" name="Group 10">
            <a:extLst>
              <a:ext uri="{FF2B5EF4-FFF2-40B4-BE49-F238E27FC236}">
                <a16:creationId xmlns:a16="http://schemas.microsoft.com/office/drawing/2014/main" id="{7BB128A3-B5F7-EABD-D788-8697484A97E4}"/>
              </a:ext>
            </a:extLst>
          </p:cNvPr>
          <p:cNvGrpSpPr>
            <a:grpSpLocks/>
          </p:cNvGrpSpPr>
          <p:nvPr/>
        </p:nvGrpSpPr>
        <p:grpSpPr bwMode="auto">
          <a:xfrm>
            <a:off x="12436207" y="243879"/>
            <a:ext cx="676910" cy="676420"/>
            <a:chOff x="3955" y="2484"/>
            <a:chExt cx="1814" cy="1813"/>
          </a:xfrm>
          <a:solidFill>
            <a:srgbClr val="BEBEBE"/>
          </a:solidFill>
        </p:grpSpPr>
        <p:sp>
          <p:nvSpPr>
            <p:cNvPr id="13" name="Freeform 17">
              <a:extLst>
                <a:ext uri="{FF2B5EF4-FFF2-40B4-BE49-F238E27FC236}">
                  <a16:creationId xmlns:a16="http://schemas.microsoft.com/office/drawing/2014/main" id="{E4B3526F-3E45-C7ED-ED2C-553EEC46E6D2}"/>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chemeClr val="accent3"/>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14" name="Freeform 18">
              <a:extLst>
                <a:ext uri="{FF2B5EF4-FFF2-40B4-BE49-F238E27FC236}">
                  <a16:creationId xmlns:a16="http://schemas.microsoft.com/office/drawing/2014/main" id="{0F750BB3-3C37-C926-C80E-F879088E0284}"/>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15" name="Freeform 19">
              <a:extLst>
                <a:ext uri="{FF2B5EF4-FFF2-40B4-BE49-F238E27FC236}">
                  <a16:creationId xmlns:a16="http://schemas.microsoft.com/office/drawing/2014/main" id="{ABCD5567-9E14-0256-93F5-C03EDD7BF0F7}"/>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16" name="TextBox 15">
            <a:extLst>
              <a:ext uri="{FF2B5EF4-FFF2-40B4-BE49-F238E27FC236}">
                <a16:creationId xmlns:a16="http://schemas.microsoft.com/office/drawing/2014/main" id="{594745D6-F463-094B-FB47-8BD1333CC5C7}"/>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acro</a:t>
            </a:r>
          </a:p>
        </p:txBody>
      </p:sp>
      <p:graphicFrame>
        <p:nvGraphicFramePr>
          <p:cNvPr id="21" name="Chart 20" descr="{&quot;ChartDesign&quot;:{&quot;General&quot;:{&quot;FontBold&quot;:null,&quot;FontName&quot;:&quot;+Body&quot;,&quot;FontNameFarEast&quot;:&quot;+Body Asian&quot;,&quot;FontNameComplexScript&quot;:null,&quot;FontSize&quot;:10.0,&quot;FontSizePp&quot;:null,&quot;FontColorRef&quot;:&quot;Black&quot;},&quot;Gridlines&quot;:{&quot;MajorHorizontal&quot;:false,&quot;MajorVertical&quot;:true,&quot;MinorHorizontal&quot;:false,&quot;MinorVertical&quot;:false,&quot;Weight&quot;:0.25,&quot;ColorRef&quot;:&quot;Black&quot;,&quot;LineStyle&quot;:null},&quot;Axis&quot;:{&quot;AxisLines&quot;:{&quot;PrimaryCategory&quot;:{&quot;Weight&quot;:1.0,&quot;ColorRef&quot;:&quot;Black&quot;,&quot;MajorTickMarks&quot;:null,&quot;MinorTickMarks&quot;:null,&quot;HasAxisTitle&quot;:null,&quot;AxisTitleDesign&quot;:null,&quot;Visible&quot;:true,&quot;FontBold&quot;:null,&quot;FontName&quot;:null,&quot;FontNameFarEast&quot;:null,&quot;FontNameComplexScript&quot;:null,&quot;FontSize&quot;:null,&quot;FontSizePp&quot;:null,&quot;FontColorRef&quot;:null},&quot;PrimaryValue&quot;:{&quot;Weight&quot;:null,&quot;ColorRef&quot;:null,&quot;MajorTickMarks&quot;:null,&quot;MinorTickMarks&quot;:null,&quot;HasAxisTitle&quot;:null,&quot;AxisTitleDesign&quot;:null,&quot;Visible&quot;:false,&quot;FontBold&quot;:null,&quot;FontName&quot;:null,&quot;FontNameFarEast&quot;:null,&quot;FontNameComplexScript&quot;:null,&quot;FontSize&quot;:null,&quot;FontSizePp&quot;:null,&quot;FontColorRef&quot;:null},&quot;SecondaryCategory&quot;:{&quot;Weight&quot;:null,&quot;ColorRef&quot;:null,&quot;MajorTickMarks&quot;:null,&quot;MinorTickMarks&quot;:null,&quot;HasAxisTitle&quot;:null,&quot;AxisTitleDesign&quot;:null,&quot;Visible&quot;:false,&quot;FontBold&quot;:null,&quot;FontName&quot;:null,&quot;FontNameFarEast&quot;:null,&quot;FontNameComplexScript&quot;:null,&quot;FontSize&quot;:null,&quot;FontSizePp&quot;:null,&quot;FontColorRef&quot;:null},&quot;SecondaryValue&quot;:{&quot;Weight&quot;:null,&quot;ColorRef&quot;:null,&quot;MajorTickMarks&quot;:null,&quot;MinorTickMarks&quot;:null,&quot;HasAxisTitle&quot;:null,&quot;AxisTitleDesign&quot;:null,&quot;Visible&quot;:false,&quot;FontBold&quot;:null,&quot;FontName&quot;:null,&quot;FontNameFarEast&quot;:null,&quot;FontNameComplexScript&quot;:null,&quot;FontSize&quot;:null,&quot;FontSizePp&quot;:null,&quot;FontColorRef&quot;:null},&quot;Weight&quot;:null,&quot;ColorRef&quot;:null,&quot;MajorTickMarks&quot;:null,&quot;MinorTickMarks&quot;:null,&quot;HasAxisTitle&quot;:null,&quot;AxisTitleDesign&quot;:null,&quot;Visible&quot;:null,&quot;FontBold&quot;:null,&quot;FontName&quot;:null,&quot;FontNameFarEast&quot;:null,&quot;FontNameComplexScript&quot;:null,&quot;FontSize&quot;:null,&quot;FontSizePp&quot;:null,&quot;FontColorRef&quot;:null},&quot;AxisText&quot;:{&quot;Rotation&quot;:null},&quot;SeriesOverlap&quot;:0.0,&quot;GapWidth&quot;:50.0},&quot;ChartTitle&quot;:{&quot;ChartTitlePosition&quot;:&quot;Undefined&quot;,&quot;FontBold&quot;:null,&quot;FontName&quot;:&quot;+Body&quot;,&quot;FontNameFarEast&quot;:&quot;+Body Asian&quot;,&quot;FontNameComplexScript&quot;:null,&quot;FontSize&quot;:10.0,&quot;FontSizePp&quot;:null,&quot;FontColorRef&quot;:&quot;Black&quot;},&quot;Legend&quot;:{&quot;Position&quot;:&quot;Bottom&quot;,&quot;FontBold&quot;:null,&quot;FontName&quot;:null,&quot;FontNameFarEast&quot;:null,&quot;FontNameComplexScript&quot;:null,&quot;FontSize&quot;:null,&quot;FontSizePp&quot;:null,&quot;FontColorRef&quot;:null},&quot;ChartArea&quot;:{&quot;FillType&quot;:null,&quot;FillColorRef&quot;:null,&quot;Border&quot;:null},&quot;PlotArea&quot;:{&quot;FillType&quot;:null},&quot;CustomRules&quot;:[{&quot;Type&quot;:&quot;SetBorderSeriesStackedPointPieOrDoughnutSlice&quot;,&quot;Content&quot;:&quot;White;0.75;50&quot;}],&quot;DataSeries&quot;:[{&quot;PrimaryColorRef&quot;:&quot;Gray 1&quot;,&quot;MarkerStyle&quot;:null,&quot;MarkerFillColorRef&quot;:null,&quot;MarkerBorderColorRef&quot;:null,&quot;DataLabelColorRef&quot;:null},{&quot;PrimaryColorRef&quot;:&quot;Lake&quot;,&quot;MarkerStyle&quot;:null,&quot;MarkerFillColorRef&quot;:null,&quot;MarkerBorderColorRef&quot;:null,&quot;DataLabelColorRef&quot;:null},{&quot;PrimaryColorRef&quot;:&quot;Gray 4&quot;,&quot;MarkerStyle&quot;:null,&quot;MarkerFillColorRef&quot;:null,&quot;MarkerBorderColorRef&quot;:null,&quot;DataLabelColorRef&quot;:null},{&quot;PrimaryColorRef&quot;:&quot;Kiwi&quot;,&quot;MarkerStyle&quot;:null,&quot;MarkerFillColorRef&quot;:null,&quot;MarkerBorderColorRef&quot;:null,&quot;DataLabelColorRef&quot;:null},{&quot;PrimaryColorRef&quot;:&quot;Gray 2&quot;,&quot;MarkerStyle&quot;:null,&quot;MarkerFillColorRef&quot;:null,&quot;MarkerBorderColorRef&quot;:null,&quot;DataLabelColorRef&quot;:null},{&quot;PrimaryColorRef&quot;:&quot;Glacier&quot;,&quot;MarkerStyle&quot;:null,&quot;MarkerFillColorRef&quot;:null,&quot;MarkerBorderColorRef&quot;:null,&quot;DataLabelColorRef&quot;:null},{&quot;PrimaryColorRef&quot;:&quot;Gray 5&quot;,&quot;MarkerStyle&quot;:null,&quot;MarkerFillColorRef&quot;:null,&quot;MarkerBorderColorRef&quot;:null,&quot;DataLabelColorRef&quot;:null},{&quot;PrimaryColorRef&quot;:&quot;Lemongrass&quot;,&quot;MarkerStyle&quot;:null,&quot;MarkerFillColorRef&quot;:null,&quot;MarkerBorderColorRef&quot;:null,&quot;DataLabelColorRef&quot;:null},{&quot;PrimaryColorRef&quot;:&quot;Gray 3&quot;,&quot;MarkerStyle&quot;:null,&quot;MarkerFillColorRef&quot;:null,&quot;MarkerBorderColorRef&quot;:null,&quot;DataLabelColorRef&quot;:null},{&quot;PrimaryColorRef&quot;:&quot;Lagoon&quot;,&quot;MarkerStyle&quot;:null,&quot;MarkerFillColorRef&quot;:null,&quot;MarkerBorderColorRef&quot;:null,&quot;DataLabelColorRef&quot;:null},{&quot;PrimaryColorRef&quot;:&quot;Olive&quot;,&quot;MarkerStyle&quot;:null,&quot;MarkerFillColorRef&quot;:null,&quot;MarkerBorderColorRef&quot;:null,&quot;DataLabelColorRef&quot;:null},{&quot;PrimaryColorRef&quot;:&quot;Lavender&quot;,&quot;MarkerStyle&quot;:null,&quot;MarkerFillColorRef&quot;:null,&quot;MarkerBorderColorRef&quot;:null,&quot;DataLabelColorRef&quot;:null},{&quot;PrimaryColorRef&quot;:&quot;Mint&quot;,&quot;MarkerStyle&quot;:null,&quot;MarkerFillColorRef&quot;:null,&quot;MarkerBorderColorRef&quot;:null,&quot;DataLabelColorRef&quot;:null},{&quot;PrimaryColorRef&quot;:&quot;Curry&quot;,&quot;MarkerStyle&quot;:null,&quot;MarkerFillColorRef&quot;:null,&quot;MarkerBorderColorRef&quot;:null,&quot;DataLabelColorRef&quot;:null},{&quot;PrimaryColorRef&quot;:&quot;Plum&quot;,&quot;MarkerStyle&quot;:null,&quot;MarkerFillColorRef&quot;:null,&quot;MarkerBorderColorRef&quot;:null,&quot;DataLabelColorRef&quot;:null},{&quot;PrimaryColorRef&quot;:&quot;Sage&quot;,&quot;MarkerStyle&quot;:null,&quot;MarkerFillColorRef&quot;:null,&quot;MarkerBorderColorRef&quot;:null,&quot;DataLabelColorRef&quot;:null},{&quot;PrimaryColorRef&quot;:&quot;Honey&quot;,&quot;MarkerStyle&quot;:null,&quot;MarkerFillColorRef&quot;:null,&quot;MarkerBorderColorRef&quot;:null,&quot;DataLabelColorRef&quot;:null},{&quot;PrimaryColorRef&quot;:&quot;Lilac&quot;,&quot;MarkerStyle&quot;:null,&quot;MarkerFillColorRef&quot;:null,&quot;MarkerBorderColorRef&quot;:null,&quot;DataLabelColorRef&quot;:null},{&quot;PrimaryColorRef&quot;:&quot;Pine&quot;,&quot;MarkerStyle&quot;:null,&quot;MarkerFillColorRef&quot;:null,&quot;MarkerBorderColorRef&quot;:null,&quot;DataLabelColorRef&quot;:null},{&quot;PrimaryColorRef&quot;:&quot;Straw&quot;,&quot;MarkerStyle&quot;:null,&quot;MarkerFillColorRef&quot;:null,&quot;MarkerBorderColorRef&quot;:null,&quot;DataLabelColorRef&quot;:null},{&quot;PrimaryColorRef&quot;:&quot;Clay&quot;,&quot;MarkerStyle&quot;:null,&quot;MarkerFillColorRef&quot;:null,&quot;MarkerBorderColorRef&quot;:null,&quot;DataLabelColorRef&quot;:null},{&quot;PrimaryColorRef&quot;:&quot;Cinnamon&quot;,&quot;MarkerStyle&quot;:null,&quot;MarkerFillColorRef&quot;:null,&quot;MarkerBorderColorRef&quot;:null,&quot;DataLabelColorRef&quot;:null},{&quot;PrimaryColorRef&quot;:&quot;Terracotta&quot;,&quot;MarkerStyle&quot;:null,&quot;MarkerFillColorRef&quot;:null,&quot;MarkerBorderColorRef&quot;:null,&quot;DataLabelColorRef&quot;:null},{&quot;PrimaryColorRef&quot;:&quot;Mouse&quot;,&quot;MarkerStyle&quot;:null,&quot;MarkerFillColorRef&quot;:null,&quot;MarkerBorderColorRef&quot;:null,&quot;DataLabelColorRef&quot;:null},{&quot;PrimaryColorRef&quot;:&quot;Chocolate&quot;,&quot;MarkerStyle&quot;:null,&quot;MarkerFillColorRef&quot;:null,&quot;MarkerBorderColorRef&quot;:null,&quot;DataLabelColorRef&quot;:null},{&quot;PrimaryColorRef&quot;:&quot;Caramel&quot;,&quot;MarkerStyle&quot;:null,&quot;MarkerFillColorRef&quot;:null,&quot;MarkerBorderColorRef&quot;:null,&quot;DataLabelColorRef&quot;:null},{&quot;PrimaryColorRef&quot;:&quot;Chestnut&quot;,&quot;MarkerStyle&quot;:null,&quot;MarkerFillColorRef&quot;:null,&quot;MarkerBorderColorRef&quot;:null,&quot;DataLabelColorRef&quot;:null}],&quot;SeriesDesign&quot;:{&quot;FirstSliceAngle&quot;:null,&quot;DoughnutHoleSize&quot;:null,&quot;DoughnutExplosion&quot;:null,&quot;PieExplosion&quot;:null,&quot;SeriesOverlap&quot;:null,&quot;GapWidth&quot;:null,&quot;BorderColorRef&quot;:null,&quot;MarkerStyle&quot;:8,&quot;MarkerFillColorRef&quot;:null,&quot;MarkerBorderColorRef&quot;:null,&quot;HasDataLabels&quot;:null,&quot;DisableBorders&quot;:true,&quot;DataLabelDesign&quot;:null,&quot;LineWeight&quot;:null,&quot;LeaderLinesDesign&quot;:null,&quot;HasLeaderLines&quot;:null,&quot;SeriesLinesDesign&quot;:null,&quot;DashStyle&quot;:null,&quot;BorderWidth&quot;:null},&quot;SkipBlankSeries&quot;:false,&quot;Pie&quot;:null,&quot;Doughnut&quot;:null,&quot;PieDoughnut&quot;:null,&quot;Line&quot;:null,&quot;LineRadarScatter&quot;:{&quot;General&quot;:null,&quot;Gridlines&quot;:null,&quot;Axis&quot;:null,&quot;ChartTitle&quot;:null,&quot;Legend&quot;:null,&quot;ChartArea&quot;:null,&quot;PlotArea&quot;:null,&quot;CustomRules&quot;:null,&quot;DataSeries&quot;:[{&quot;PrimaryColorRef&quot;:&quot;Gray 1&quot;,&quot;MarkerStyle&quot;:null,&quot;MarkerFillColorRef&quot;:null,&quot;MarkerBorderColorRef&quot;:null,&quot;DataLabelColorRef&quot;:null},{&quot;PrimaryColorRef&quot;:&quot;Lake&quot;,&quot;MarkerStyle&quot;:null,&quot;MarkerFillColorRef&quot;:null,&quot;MarkerBorderColorRef&quot;:null,&quot;DataLabelColorRef&quot;:null},{&quot;PrimaryColorRef&quot;:&quot;Gray 4&quot;,&quot;MarkerStyle&quot;:null,&quot;MarkerFillColorRef&quot;:null,&quot;MarkerBorderColorRef&quot;:null,&quot;DataLabelColorRef&quot;:null},{&quot;PrimaryColorRef&quot;:&quot;Kiwi&quot;,&quot;MarkerStyle&quot;:null,&quot;MarkerFillColorRef&quot;:null,&quot;MarkerBorderColorRef&quot;:null,&quot;DataLabelColorRef&quot;:null},{&quot;PrimaryColorRef&quot;:&quot;Gray 2&quot;,&quot;MarkerStyle&quot;:null,&quot;MarkerFillColorRef&quot;:null,&quot;MarkerBorderColorRef&quot;:null,&quot;DataLabelColorRef&quot;:null},{&quot;PrimaryColorRef&quot;:&quot;Glacier&quot;,&quot;MarkerStyle&quot;:null,&quot;MarkerFillColorRef&quot;:null,&quot;MarkerBorderColorRef&quot;:null,&quot;DataLabelColorRef&quot;:null},{&quot;PrimaryColorRef&quot;:&quot;Gray 5&quot;,&quot;MarkerStyle&quot;:null,&quot;MarkerFillColorRef&quot;:null,&quot;MarkerBorderColorRef&quot;:null,&quot;DataLabelColorRef&quot;:null},{&quot;PrimaryColorRef&quot;:&quot;Lemongrass&quot;,&quot;MarkerStyle&quot;:null,&quot;MarkerFillColorRef&quot;:null,&quot;MarkerBorderColorRef&quot;:null,&quot;DataLabelColorRef&quot;:null},{&quot;PrimaryColorRef&quot;:&quot;Gray 3&quot;,&quot;MarkerStyle&quot;:null,&quot;MarkerFillColorRef&quot;:null,&quot;MarkerBorderColorRef&quot;:null,&quot;DataLabelColorRef&quot;:null},{&quot;PrimaryColorRef&quot;:&quot;Lagoon&quot;,&quot;MarkerStyle&quot;:null,&quot;MarkerFillColorRef&quot;:null,&quot;MarkerBorderColorRef&quot;:null,&quot;DataLabelColorRef&quot;:null},{&quot;PrimaryColorRef&quot;:&quot;Olive&quot;,&quot;MarkerStyle&quot;:null,&quot;MarkerFillColorRef&quot;:null,&quot;MarkerBorderColorRef&quot;:null,&quot;DataLabelColorRef&quot;:null},{&quot;PrimaryColorRef&quot;:&quot;Lavender&quot;,&quot;MarkerStyle&quot;:null,&quot;MarkerFillColorRef&quot;:null,&quot;MarkerBorderColorRef&quot;:null,&quot;DataLabelColorRef&quot;:null},{&quot;PrimaryColorRef&quot;:&quot;Mint&quot;,&quot;MarkerStyle&quot;:null,&quot;MarkerFillColorRef&quot;:null,&quot;MarkerBorderColorRef&quot;:null,&quot;DataLabelColorRef&quot;:null},{&quot;PrimaryColorRef&quot;:&quot;Curry&quot;,&quot;MarkerStyle&quot;:null,&quot;MarkerFillColorRef&quot;:null,&quot;MarkerBorderColorRef&quot;:null,&quot;DataLabelColorRef&quot;:null},{&quot;PrimaryColorRef&quot;:&quot;Plum&quot;,&quot;MarkerStyle&quot;:null,&quot;MarkerFillColorRef&quot;:null,&quot;MarkerBorderColorRef&quot;:null,&quot;DataLabelColorRef&quot;:null},{&quot;PrimaryColorRef&quot;:&quot;Sage&quot;,&quot;MarkerStyle&quot;:null,&quot;MarkerFillColorRef&quot;:null,&quot;MarkerBorderColorRef&quot;:null,&quot;DataLabelColorRef&quot;:null},{&quot;PrimaryColorRef&quot;:&quot;Honey&quot;,&quot;MarkerStyle&quot;:null,&quot;MarkerFillColorRef&quot;:null,&quot;MarkerBorderColorRef&quot;:null,&quot;DataLabelColorRef&quot;:null},{&quot;PrimaryColorRef&quot;:&quot;Lilac&quot;,&quot;MarkerStyle&quot;:null,&quot;MarkerFillColorRef&quot;:null,&quot;MarkerBorderColorRef&quot;:null,&quot;DataLabelColorRef&quot;:null},{&quot;PrimaryColorRef&quot;:&quot;Pine&quot;,&quot;MarkerStyle&quot;:null,&quot;MarkerFillColorRef&quot;:null,&quot;MarkerBorderColorRef&quot;:null,&quot;DataLabelColorRef&quot;:null},{&quot;PrimaryColorRef&quot;:&quot;Straw&quot;,&quot;MarkerStyle&quot;:null,&quot;MarkerFillColorRef&quot;:null,&quot;MarkerBorderColorRef&quot;:null,&quot;DataLabelColorRef&quot;:null},{&quot;PrimaryColorRef&quot;:&quot;Clay&quot;,&quot;MarkerStyle&quot;:null,&quot;MarkerFillColorRef&quot;:null,&quot;MarkerBorderColorRef&quot;:null,&quot;DataLabelColorRef&quot;:null},{&quot;PrimaryColorRef&quot;:&quot;Cinnamon&quot;,&quot;MarkerStyle&quot;:null,&quot;MarkerFillColorRef&quot;:null,&quot;MarkerBorderColorRef&quot;:null,&quot;DataLabelColorRef&quot;:null},{&quot;PrimaryColorRef&quot;:&quot;Terracotta&quot;,&quot;MarkerStyle&quot;:null,&quot;MarkerFillColorRef&quot;:null,&quot;MarkerBorderColorRef&quot;:null,&quot;DataLabelColorRef&quot;:null},{&quot;PrimaryColorRef&quot;:&quot;Mouse&quot;,&quot;MarkerStyle&quot;:null,&quot;MarkerFillColorRef&quot;:null,&quot;MarkerBorderColorRef&quot;:null,&quot;DataLabelColorRef&quot;:null},{&quot;PrimaryColorRef&quot;:&quot;Chocolate&quot;,&quot;MarkerStyle&quot;:null,&quot;MarkerFillColorRef&quot;:null,&quot;MarkerBorderColorRef&quot;:null,&quot;DataLabelColorRef&quot;:null},{&quot;PrimaryColorRef&quot;:&quot;Caramel&quot;,&quot;MarkerStyle&quot;:null,&quot;MarkerFillColorRef&quot;:null,&quot;MarkerBorderColorRef&quot;:null,&quot;DataLabelColorRef&quot;:null},{&quot;PrimaryColorRef&quot;:&quot;Chestnut&quot;,&quot;MarkerStyle&quot;:null,&quot;MarkerFillColorRef&quot;:null,&quot;MarkerBorderColorRef&quot;:null,&quot;DataLabelColorRef&quot;:null}],&quot;SeriesDesign&quot;:null,&quot;SkipBlankSeries&quot;:false,&quot;Pie&quot;:null,&quot;Doughnut&quot;:null,&quot;PieDoughnut&quot;:null,&quot;Line&quot;:null,&quot;LineRadarScatter&quot;:null,&quot;Stacked&quot;:null,&quot;HasChartTitle&quot;:true},&quot;Stacked&quot;:null,&quot;HasChartTitle&quot;:true},&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
            <a:extLst>
              <a:ext uri="{FF2B5EF4-FFF2-40B4-BE49-F238E27FC236}">
                <a16:creationId xmlns:a16="http://schemas.microsoft.com/office/drawing/2014/main" id="{3169F69F-5730-41FD-9B5B-2C01C37FDB0A}"/>
              </a:ext>
            </a:extLst>
          </p:cNvPr>
          <p:cNvGraphicFramePr>
            <a:graphicFrameLocks/>
          </p:cNvGraphicFramePr>
          <p:nvPr>
            <p:extLst>
              <p:ext uri="{D42A27DB-BD31-4B8C-83A1-F6EECF244321}">
                <p14:modId xmlns:p14="http://schemas.microsoft.com/office/powerpoint/2010/main" val="2945921381"/>
              </p:ext>
            </p:extLst>
          </p:nvPr>
        </p:nvGraphicFramePr>
        <p:xfrm>
          <a:off x="9219755" y="2782810"/>
          <a:ext cx="3961864" cy="3220893"/>
        </p:xfrm>
        <a:graphic>
          <a:graphicData uri="http://schemas.openxmlformats.org/drawingml/2006/chart">
            <c:chart xmlns:c="http://schemas.openxmlformats.org/drawingml/2006/chart" xmlns:r="http://schemas.openxmlformats.org/officeDocument/2006/relationships" r:id="rId16"/>
          </a:graphicData>
        </a:graphic>
      </p:graphicFrame>
      <p:sp>
        <p:nvSpPr>
          <p:cNvPr id="25" name="Isosceles Triangle 24">
            <a:extLst>
              <a:ext uri="{FF2B5EF4-FFF2-40B4-BE49-F238E27FC236}">
                <a16:creationId xmlns:a16="http://schemas.microsoft.com/office/drawing/2014/main" id="{9FDD33FB-60A3-39C8-95CE-AB87FB071AAB}"/>
              </a:ext>
            </a:extLst>
          </p:cNvPr>
          <p:cNvSpPr/>
          <p:nvPr/>
        </p:nvSpPr>
        <p:spPr>
          <a:xfrm rot="16840540">
            <a:off x="12129987" y="3438876"/>
            <a:ext cx="391362" cy="1668277"/>
          </a:xfrm>
          <a:prstGeom prst="triangle">
            <a:avLst/>
          </a:prstGeom>
          <a:solidFill>
            <a:schemeClr val="bg2">
              <a:lumMod val="95000"/>
            </a:schemeClr>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err="1">
              <a:solidFill>
                <a:schemeClr val="tx1"/>
              </a:solidFill>
            </a:endParaRPr>
          </a:p>
        </p:txBody>
      </p:sp>
      <p:cxnSp>
        <p:nvCxnSpPr>
          <p:cNvPr id="20" name="Straight Connector 19">
            <a:extLst>
              <a:ext uri="{FF2B5EF4-FFF2-40B4-BE49-F238E27FC236}">
                <a16:creationId xmlns:a16="http://schemas.microsoft.com/office/drawing/2014/main" id="{ED1DA427-E32B-2402-3164-E79C204BD6B0}"/>
              </a:ext>
            </a:extLst>
          </p:cNvPr>
          <p:cNvCxnSpPr>
            <a:cxnSpLocks/>
          </p:cNvCxnSpPr>
          <p:nvPr/>
        </p:nvCxnSpPr>
        <p:spPr>
          <a:xfrm flipH="1" flipV="1">
            <a:off x="11349085" y="4073811"/>
            <a:ext cx="1749231" cy="145656"/>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 name="Straight Connector 22">
            <a:extLst>
              <a:ext uri="{FF2B5EF4-FFF2-40B4-BE49-F238E27FC236}">
                <a16:creationId xmlns:a16="http://schemas.microsoft.com/office/drawing/2014/main" id="{7A25F6F4-74FA-0992-9332-A6620B0ED295}"/>
              </a:ext>
            </a:extLst>
          </p:cNvPr>
          <p:cNvCxnSpPr>
            <a:cxnSpLocks/>
          </p:cNvCxnSpPr>
          <p:nvPr/>
        </p:nvCxnSpPr>
        <p:spPr>
          <a:xfrm flipH="1" flipV="1">
            <a:off x="11349085" y="4073811"/>
            <a:ext cx="1749231" cy="570186"/>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Rectangle 1">
            <a:extLst>
              <a:ext uri="{FF2B5EF4-FFF2-40B4-BE49-F238E27FC236}">
                <a16:creationId xmlns:a16="http://schemas.microsoft.com/office/drawing/2014/main" id="{EF8371C3-3159-DE59-FD24-93AB643A36C0}"/>
              </a:ext>
            </a:extLst>
          </p:cNvPr>
          <p:cNvSpPr/>
          <p:nvPr/>
        </p:nvSpPr>
        <p:spPr>
          <a:xfrm>
            <a:off x="13098849" y="4002694"/>
            <a:ext cx="155636" cy="115162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err="1">
              <a:solidFill>
                <a:schemeClr val="tx1"/>
              </a:solidFill>
            </a:endParaRPr>
          </a:p>
        </p:txBody>
      </p:sp>
    </p:spTree>
    <p:custDataLst>
      <p:tags r:id="rId1"/>
    </p:custDataLst>
    <p:extLst>
      <p:ext uri="{BB962C8B-B14F-4D97-AF65-F5344CB8AC3E}">
        <p14:creationId xmlns:p14="http://schemas.microsoft.com/office/powerpoint/2010/main" val="2830004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156F1-247C-2484-25C5-84BFC6633AE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97AD911-9514-910F-4BB3-79F528F45835}"/>
              </a:ext>
            </a:extLst>
          </p:cNvPr>
          <p:cNvGraphicFramePr>
            <a:graphicFrameLocks noChangeAspect="1"/>
          </p:cNvGraphicFramePr>
          <p:nvPr>
            <p:custDataLst>
              <p:tags r:id="rId2"/>
            </p:custDataLst>
          </p:nvPr>
        </p:nvGraphicFramePr>
        <p:xfrm>
          <a:off x="1587" y="3373"/>
          <a:ext cx="1587" cy="1587"/>
        </p:xfrm>
        <a:graphic>
          <a:graphicData uri="http://schemas.openxmlformats.org/presentationml/2006/ole">
            <mc:AlternateContent xmlns:mc="http://schemas.openxmlformats.org/markup-compatibility/2006">
              <mc:Choice xmlns:v="urn:schemas-microsoft-com:vml" Requires="v">
                <p:oleObj name="think-cell Slide" r:id="rId10" imgW="361" imgH="373" progId="TCLayout.ActiveDocument.1">
                  <p:embed/>
                </p:oleObj>
              </mc:Choice>
              <mc:Fallback>
                <p:oleObj name="think-cell Slide" r:id="rId10" imgW="361" imgH="373" progId="TCLayout.ActiveDocument.1">
                  <p:embed/>
                  <p:pic>
                    <p:nvPicPr>
                      <p:cNvPr id="19" name="think-cell data - do not delete" hidden="1">
                        <a:extLst>
                          <a:ext uri="{FF2B5EF4-FFF2-40B4-BE49-F238E27FC236}">
                            <a16:creationId xmlns:a16="http://schemas.microsoft.com/office/drawing/2014/main" id="{797AD911-9514-910F-4BB3-79F528F45835}"/>
                          </a:ext>
                        </a:extLst>
                      </p:cNvPr>
                      <p:cNvPicPr/>
                      <p:nvPr/>
                    </p:nvPicPr>
                    <p:blipFill>
                      <a:blip r:embed="rId11"/>
                      <a:stretch>
                        <a:fillRect/>
                      </a:stretch>
                    </p:blipFill>
                    <p:spPr>
                      <a:xfrm>
                        <a:off x="1587" y="3373"/>
                        <a:ext cx="1587" cy="1587"/>
                      </a:xfrm>
                      <a:prstGeom prst="rect">
                        <a:avLst/>
                      </a:prstGeom>
                    </p:spPr>
                  </p:pic>
                </p:oleObj>
              </mc:Fallback>
            </mc:AlternateContent>
          </a:graphicData>
        </a:graphic>
      </p:graphicFrame>
      <p:sp>
        <p:nvSpPr>
          <p:cNvPr id="4" name="PAGE HEADING">
            <a:extLst>
              <a:ext uri="{FF2B5EF4-FFF2-40B4-BE49-F238E27FC236}">
                <a16:creationId xmlns:a16="http://schemas.microsoft.com/office/drawing/2014/main" id="{FFE6359D-980C-BA28-4209-C94A74CF0113}"/>
              </a:ext>
            </a:extLst>
          </p:cNvPr>
          <p:cNvSpPr>
            <a:spLocks noGrp="1"/>
          </p:cNvSpPr>
          <p:nvPr>
            <p:ph type="title"/>
            <p:custDataLst>
              <p:tags r:id="rId3"/>
            </p:custDataLst>
          </p:nvPr>
        </p:nvSpPr>
        <p:spPr>
          <a:xfrm>
            <a:off x="582528" y="1786"/>
            <a:ext cx="12238019" cy="941386"/>
          </a:xfrm>
        </p:spPr>
        <p:txBody>
          <a:bodyPr vert="horz">
            <a:normAutofit/>
          </a:bodyPr>
          <a:lstStyle/>
          <a:p>
            <a:pPr>
              <a:lnSpc>
                <a:spcPct val="107000"/>
              </a:lnSpc>
              <a:spcBef>
                <a:spcPts val="0"/>
              </a:spcBef>
            </a:pPr>
            <a:r>
              <a:rPr lang="en-US">
                <a:solidFill>
                  <a:srgbClr val="E60000"/>
                </a:solidFill>
              </a:rPr>
              <a:t>US equities: </a:t>
            </a:r>
            <a:r>
              <a:rPr lang="en-US"/>
              <a:t>Robust earnings, broader contribution</a:t>
            </a:r>
            <a:endParaRPr lang="en-GB" spc="-50"/>
          </a:p>
        </p:txBody>
      </p:sp>
      <p:sp>
        <p:nvSpPr>
          <p:cNvPr id="3" name="TextBox 2">
            <a:extLst>
              <a:ext uri="{FF2B5EF4-FFF2-40B4-BE49-F238E27FC236}">
                <a16:creationId xmlns:a16="http://schemas.microsoft.com/office/drawing/2014/main" id="{D5F03944-6DD6-1304-8F59-985F18968A97}"/>
              </a:ext>
            </a:extLst>
          </p:cNvPr>
          <p:cNvSpPr txBox="1"/>
          <p:nvPr>
            <p:custDataLst>
              <p:tags r:id="rId4"/>
            </p:custDataLst>
          </p:nvPr>
        </p:nvSpPr>
        <p:spPr>
          <a:xfrm>
            <a:off x="1867678" y="6816332"/>
            <a:ext cx="10659334" cy="483351"/>
          </a:xfrm>
          <a:prstGeom prst="rect">
            <a:avLst/>
          </a:prstGeom>
          <a:noFill/>
        </p:spPr>
        <p:txBody>
          <a:bodyPr vert="horz" wrap="square" lIns="0" tIns="0" rIns="0" bIns="0" rtlCol="0" anchor="b" anchorCtr="0">
            <a:noAutofit/>
          </a:bodyPr>
          <a:lstStyle/>
          <a:p>
            <a:pPr algn="r" eaLnBrk="1">
              <a:spcBef>
                <a:spcPts val="0"/>
              </a:spcBef>
              <a:spcAft>
                <a:spcPts val="600"/>
              </a:spcAft>
            </a:pPr>
            <a:r>
              <a:rPr lang="en-US" sz="800" kern="0">
                <a:latin typeface="Frutiger 45 Light" panose="020B0603020202020204" pitchFamily="34" charset="0"/>
              </a:rPr>
              <a:t>Source: FactSet, Datastream, UBS, as of 02 February 2026</a:t>
            </a:r>
            <a:br>
              <a:rPr lang="en-US" sz="800" kern="0">
                <a:latin typeface="Frutiger 45 Light" panose="020B0603020202020204" pitchFamily="34" charset="0"/>
              </a:rPr>
            </a:br>
            <a:r>
              <a:rPr lang="en-US" sz="800" kern="0">
                <a:latin typeface="Frutiger 45 Light" panose="020B0603020202020204" pitchFamily="34" charset="0"/>
              </a:rPr>
              <a:t>Charts and scenarios are for illustrative purposes only. Historical performance and forecasts are no guarantee for future performance.</a:t>
            </a:r>
            <a:br>
              <a:rPr lang="en-US" sz="800" kern="0">
                <a:latin typeface="Frutiger 45 Light" panose="020B0603020202020204" pitchFamily="34" charset="0"/>
              </a:rPr>
            </a:br>
            <a:r>
              <a:rPr lang="en-US" sz="800" kern="0">
                <a:latin typeface="Frutiger 45 Light" panose="020B0603020202020204" pitchFamily="34" charset="0"/>
              </a:rPr>
              <a:t>Please see important disclaimer at the end of the document.</a:t>
            </a:r>
            <a:endParaRPr lang="en-US" sz="800" kern="0" dirty="0">
              <a:latin typeface="Frutiger 45 Light" panose="020B0603020202020204" pitchFamily="34" charset="0"/>
            </a:endParaRPr>
          </a:p>
        </p:txBody>
      </p:sp>
      <p:sp>
        <p:nvSpPr>
          <p:cNvPr id="7" name="TextBox 6">
            <a:extLst>
              <a:ext uri="{FF2B5EF4-FFF2-40B4-BE49-F238E27FC236}">
                <a16:creationId xmlns:a16="http://schemas.microsoft.com/office/drawing/2014/main" id="{BC1E3EDE-8378-A931-105D-2E42D7A04393}"/>
              </a:ext>
            </a:extLst>
          </p:cNvPr>
          <p:cNvSpPr txBox="1"/>
          <p:nvPr>
            <p:custDataLst>
              <p:tags r:id="rId5"/>
            </p:custDataLst>
          </p:nvPr>
        </p:nvSpPr>
        <p:spPr>
          <a:xfrm>
            <a:off x="582528" y="1411176"/>
            <a:ext cx="3655868" cy="365587"/>
          </a:xfrm>
          <a:prstGeom prst="rect">
            <a:avLst/>
          </a:prstGeom>
          <a:noFill/>
        </p:spPr>
        <p:txBody>
          <a:bodyPr vert="horz" wrap="square" lIns="0" tIns="0" rIns="0" bIns="0" rtlCol="0" anchor="t">
            <a:noAutofit/>
          </a:bodyPr>
          <a:lstStyle/>
          <a:p>
            <a:pPr eaLnBrk="1">
              <a:spcBef>
                <a:spcPts val="0"/>
              </a:spcBef>
              <a:spcAft>
                <a:spcPts val="600"/>
              </a:spcAft>
            </a:pPr>
            <a:r>
              <a:rPr lang="en-US" sz="1399" b="1">
                <a:solidFill>
                  <a:srgbClr val="000000"/>
                </a:solidFill>
              </a:rPr>
              <a:t>Expect </a:t>
            </a:r>
            <a:r>
              <a:rPr lang="en-US" sz="1399" b="1">
                <a:solidFill>
                  <a:srgbClr val="FF0000"/>
                </a:solidFill>
              </a:rPr>
              <a:t>earnings growth</a:t>
            </a:r>
            <a:r>
              <a:rPr lang="en-US" sz="1399" b="1">
                <a:solidFill>
                  <a:srgbClr val="000000"/>
                </a:solidFill>
              </a:rPr>
              <a:t> to stay robust</a:t>
            </a:r>
          </a:p>
          <a:p>
            <a:pPr eaLnBrk="1">
              <a:spcBef>
                <a:spcPts val="0"/>
              </a:spcBef>
              <a:spcAft>
                <a:spcPts val="600"/>
              </a:spcAft>
            </a:pPr>
            <a:r>
              <a:rPr lang="en-US" sz="1399"/>
              <a:t>S&amp;P 500 yearly earnings per share, in USD, including CIO forecasts</a:t>
            </a:r>
          </a:p>
        </p:txBody>
      </p:sp>
      <p:sp>
        <p:nvSpPr>
          <p:cNvPr id="8" name="TextBox 7">
            <a:extLst>
              <a:ext uri="{FF2B5EF4-FFF2-40B4-BE49-F238E27FC236}">
                <a16:creationId xmlns:a16="http://schemas.microsoft.com/office/drawing/2014/main" id="{6D1743E7-00E5-A98D-8948-7CEBC5C769B7}"/>
              </a:ext>
            </a:extLst>
          </p:cNvPr>
          <p:cNvSpPr txBox="1"/>
          <p:nvPr>
            <p:custDataLst>
              <p:tags r:id="rId6"/>
            </p:custDataLst>
          </p:nvPr>
        </p:nvSpPr>
        <p:spPr>
          <a:xfrm>
            <a:off x="4873603" y="1411176"/>
            <a:ext cx="3655868" cy="365587"/>
          </a:xfrm>
          <a:prstGeom prst="rect">
            <a:avLst/>
          </a:prstGeom>
          <a:noFill/>
        </p:spPr>
        <p:txBody>
          <a:bodyPr vert="horz" wrap="square" lIns="0" tIns="0" rIns="0" bIns="0" rtlCol="0" anchor="t">
            <a:noAutofit/>
          </a:bodyPr>
          <a:lstStyle/>
          <a:p>
            <a:pPr defTabSz="912176">
              <a:spcBef>
                <a:spcPts val="0"/>
              </a:spcBef>
              <a:spcAft>
                <a:spcPts val="600"/>
              </a:spcAft>
            </a:pPr>
            <a:r>
              <a:rPr lang="en-US" sz="1399" b="1">
                <a:solidFill>
                  <a:prstClr val="black"/>
                </a:solidFill>
              </a:rPr>
              <a:t>Earnings contribution is </a:t>
            </a:r>
            <a:r>
              <a:rPr lang="en-US" sz="1399" b="1">
                <a:solidFill>
                  <a:srgbClr val="FF0000"/>
                </a:solidFill>
              </a:rPr>
              <a:t>broadening</a:t>
            </a:r>
          </a:p>
          <a:p>
            <a:pPr defTabSz="912176">
              <a:spcBef>
                <a:spcPts val="0"/>
              </a:spcBef>
              <a:spcAft>
                <a:spcPts val="600"/>
              </a:spcAft>
            </a:pPr>
            <a:r>
              <a:rPr lang="en-US" sz="1399">
                <a:solidFill>
                  <a:prstClr val="black"/>
                </a:solidFill>
              </a:rPr>
              <a:t>YoY % change in earnings, Magnificent 7 vs. Other 493 S&amp;P 500 companies (actuals and consensus estimates)</a:t>
            </a:r>
          </a:p>
        </p:txBody>
      </p:sp>
      <p:sp>
        <p:nvSpPr>
          <p:cNvPr id="9" name="TextBox 8">
            <a:extLst>
              <a:ext uri="{FF2B5EF4-FFF2-40B4-BE49-F238E27FC236}">
                <a16:creationId xmlns:a16="http://schemas.microsoft.com/office/drawing/2014/main" id="{773E12C4-C9AF-9CBE-6A7E-51A42AC5118B}"/>
              </a:ext>
            </a:extLst>
          </p:cNvPr>
          <p:cNvSpPr txBox="1"/>
          <p:nvPr>
            <p:custDataLst>
              <p:tags r:id="rId7"/>
            </p:custDataLst>
          </p:nvPr>
        </p:nvSpPr>
        <p:spPr>
          <a:xfrm>
            <a:off x="9164679" y="1411176"/>
            <a:ext cx="3655868" cy="365587"/>
          </a:xfrm>
          <a:prstGeom prst="rect">
            <a:avLst/>
          </a:prstGeom>
          <a:noFill/>
        </p:spPr>
        <p:txBody>
          <a:bodyPr vert="horz" wrap="square" lIns="0" tIns="0" rIns="0" bIns="0" rtlCol="0" anchor="t">
            <a:noAutofit/>
          </a:bodyPr>
          <a:lstStyle/>
          <a:p>
            <a:pPr defTabSz="912176">
              <a:spcBef>
                <a:spcPts val="0"/>
              </a:spcBef>
              <a:spcAft>
                <a:spcPts val="600"/>
              </a:spcAft>
            </a:pPr>
            <a:r>
              <a:rPr lang="en-US" sz="1399" b="1">
                <a:solidFill>
                  <a:srgbClr val="FF0000"/>
                </a:solidFill>
              </a:rPr>
              <a:t>V</a:t>
            </a:r>
            <a:r>
              <a:rPr lang="qaa-Latn-001" sz="1399" b="1">
                <a:solidFill>
                  <a:srgbClr val="FF0000"/>
                </a:solidFill>
              </a:rPr>
              <a:t>aluation</a:t>
            </a:r>
            <a:r>
              <a:rPr lang="qaa-Latn-001" sz="1399" b="1">
                <a:solidFill>
                  <a:prstClr val="black"/>
                </a:solidFill>
              </a:rPr>
              <a:t> </a:t>
            </a:r>
            <a:r>
              <a:rPr lang="en-US" sz="1399" b="1">
                <a:solidFill>
                  <a:prstClr val="black"/>
                </a:solidFill>
              </a:rPr>
              <a:t>is high but not extreme</a:t>
            </a:r>
            <a:endParaRPr lang="en-US" sz="1399" b="1" dirty="0">
              <a:solidFill>
                <a:prstClr val="black"/>
              </a:solidFill>
            </a:endParaRPr>
          </a:p>
          <a:p>
            <a:pPr defTabSz="912176">
              <a:spcBef>
                <a:spcPts val="0"/>
              </a:spcBef>
              <a:spcAft>
                <a:spcPts val="600"/>
              </a:spcAft>
            </a:pPr>
            <a:r>
              <a:rPr lang="en-US" sz="1399" dirty="0">
                <a:solidFill>
                  <a:prstClr val="black"/>
                </a:solidFill>
              </a:rPr>
              <a:t>MSCI USA, 12m forward PE and normalized performance and forward earnings</a:t>
            </a:r>
          </a:p>
        </p:txBody>
      </p:sp>
      <p:graphicFrame>
        <p:nvGraphicFramePr>
          <p:cNvPr id="5" name="Chart 4">
            <a:extLst>
              <a:ext uri="{FF2B5EF4-FFF2-40B4-BE49-F238E27FC236}">
                <a16:creationId xmlns:a16="http://schemas.microsoft.com/office/drawing/2014/main" id="{04783A99-3CBA-9B12-112C-CAECD8D1C84B}"/>
              </a:ext>
            </a:extLst>
          </p:cNvPr>
          <p:cNvGraphicFramePr>
            <a:graphicFrameLocks/>
          </p:cNvGraphicFramePr>
          <p:nvPr>
            <p:extLst>
              <p:ext uri="{D42A27DB-BD31-4B8C-83A1-F6EECF244321}">
                <p14:modId xmlns:p14="http://schemas.microsoft.com/office/powerpoint/2010/main" val="2007757207"/>
              </p:ext>
            </p:extLst>
          </p:nvPr>
        </p:nvGraphicFramePr>
        <p:xfrm>
          <a:off x="301754" y="2403803"/>
          <a:ext cx="3980148" cy="3786855"/>
        </p:xfrm>
        <a:graphic>
          <a:graphicData uri="http://schemas.openxmlformats.org/drawingml/2006/chart">
            <c:chart xmlns:c="http://schemas.openxmlformats.org/drawingml/2006/chart" xmlns:r="http://schemas.openxmlformats.org/officeDocument/2006/relationships" r:id="rId12"/>
          </a:graphicData>
        </a:graphic>
      </p:graphicFrame>
      <p:sp>
        <p:nvSpPr>
          <p:cNvPr id="11" name="TextBox 18">
            <a:extLst>
              <a:ext uri="{FF2B5EF4-FFF2-40B4-BE49-F238E27FC236}">
                <a16:creationId xmlns:a16="http://schemas.microsoft.com/office/drawing/2014/main" id="{0DC606F4-0BFB-D310-D583-6964ABF8E098}"/>
              </a:ext>
            </a:extLst>
          </p:cNvPr>
          <p:cNvSpPr txBox="1"/>
          <p:nvPr/>
        </p:nvSpPr>
        <p:spPr>
          <a:xfrm>
            <a:off x="3030769" y="3137974"/>
            <a:ext cx="368687" cy="180974"/>
          </a:xfrm>
          <a:prstGeom prst="rect">
            <a:avLst/>
          </a:prstGeom>
          <a:solidFill>
            <a:sysClr val="window" lastClr="FFFFFF"/>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i="1">
                <a:latin typeface="Frutiger 45 Light" panose="020B0603020202020204" pitchFamily="34" charset="0"/>
              </a:rPr>
              <a:t>+11%</a:t>
            </a:r>
          </a:p>
        </p:txBody>
      </p:sp>
      <p:sp>
        <p:nvSpPr>
          <p:cNvPr id="13" name="TextBox 18">
            <a:extLst>
              <a:ext uri="{FF2B5EF4-FFF2-40B4-BE49-F238E27FC236}">
                <a16:creationId xmlns:a16="http://schemas.microsoft.com/office/drawing/2014/main" id="{EA5EF129-AB64-9111-C8CD-995D6624C504}"/>
              </a:ext>
            </a:extLst>
          </p:cNvPr>
          <p:cNvSpPr txBox="1"/>
          <p:nvPr/>
        </p:nvSpPr>
        <p:spPr>
          <a:xfrm>
            <a:off x="3627659" y="2732149"/>
            <a:ext cx="368687" cy="180974"/>
          </a:xfrm>
          <a:prstGeom prst="rect">
            <a:avLst/>
          </a:prstGeom>
          <a:solidFill>
            <a:sysClr val="window" lastClr="FFFFFF"/>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i="1">
                <a:latin typeface="Frutiger 45 Light" panose="020B0603020202020204" pitchFamily="34" charset="0"/>
              </a:rPr>
              <a:t>+12%</a:t>
            </a:r>
          </a:p>
        </p:txBody>
      </p:sp>
      <p:graphicFrame>
        <p:nvGraphicFramePr>
          <p:cNvPr id="14" name="Chart 13"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D6A3C496-92E5-CF79-E24D-E3DC0D69488E}"/>
              </a:ext>
            </a:extLst>
          </p:cNvPr>
          <p:cNvGraphicFramePr>
            <a:graphicFrameLocks/>
          </p:cNvGraphicFramePr>
          <p:nvPr>
            <p:extLst>
              <p:ext uri="{D42A27DB-BD31-4B8C-83A1-F6EECF244321}">
                <p14:modId xmlns:p14="http://schemas.microsoft.com/office/powerpoint/2010/main" val="4171554858"/>
              </p:ext>
            </p:extLst>
          </p:nvPr>
        </p:nvGraphicFramePr>
        <p:xfrm>
          <a:off x="4797445" y="2460471"/>
          <a:ext cx="3657600" cy="4235604"/>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6" name="Chart 5" descr="{&quot;ChartDesign&quot;:{&quot;Column&quot;:null,&quot;Bar&quot;:null,&quot;Pie&quot;:null,&quot;Doughnut&quot;:null,&quot;PieDoughnut&quot;:null,&quot;Line&quot;:null,&quot;LineRadarScatter&quot;:null,&quot;Stacked&quot;:null,&quot;Scatter&quot;:null,&quot;Radar&quot;:null,&quot;Waterfall&quot;:null,&quot;BoxWhisker&quot;:null,&quot;SunBurst&quot;:null,&quot;Funnel&quot;:null,&quot;Histogram&quot;:null,&quot;TreeMap&quot;:null,&quot;LineWithMarkers&quot;:null,&quot;General&quot;:null,&quot;Gridlines&quot;:null,&quot;Axis&quot;:null,&quot;ChartTitle&quot;:null,&quot;Legend&quot;:null,&quot;ChartArea&quot;:null,&quot;PlotArea&quot;:null,&quot;CustomRules&quot;:[{&quot;Type&quot;:&quot;SetBorderSeriesStackedPointPieOrDoughnutSlice&quot;,&quot;Content&quot;:&quot;White;1;50;true&quot;}],&quot;DataSeries&quot;:[{&quot;PrimaryColorRef&quot;:&quot;GrayI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V&quot;,&quot;OutlineColorRef&quot;:null,&quot;HasMarker&quot;:null,&quot;MarkerStyle&quot;:null,&quot;MarkerSize&quot;:null,&quot;MarkerFillColorRef&quot;:null,&quot;MarkerBorderColorRef&quot;:null,&quot;DataLabelColorRef&quot;:null,&quot;PatternType&quot;:null,&quot;PatternBackgroundColorRef&quot;:null},{&quot;PrimaryColorRef&quot;:&quot;Black&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I&quot;,&quot;OutlineColorRef&quot;:null,&quot;HasMarker&quot;:null,&quot;MarkerStyle&quot;:null,&quot;MarkerSize&quot;:null,&quot;MarkerFillColorRef&quot;:null,&quot;MarkerBorderColorRef&quot;:null,&quot;DataLabelColorRef&quot;:null,&quot;PatternType&quot;:null,&quot;PatternBackgroundColorRef&quot;:null},{&quot;PrimaryColorRef&quot;:&quot;BordeauxII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quot;,&quot;OutlineColorRef&quot;:null,&quot;HasMarker&quot;:null,&quot;MarkerStyle&quot;:null,&quot;MarkerSize&quot;:null,&quot;MarkerFillColorRef&quot;:null,&quot;MarkerBorderColorRef&quot;:null,&quot;DataLabelColorRef&quot;:null,&quot;PatternType&quot;:null,&quot;PatternBackgroundColorRef&quot;:null},{&quot;PrimaryColorRef&quot;:&quot;BronzeII&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PrimaryColorRef&quot;:&quot;Gray 1&quot;,&quot;OutlineColorRef&quot;:null,&quot;HasMarker&quot;:null,&quot;MarkerStyle&quot;:null,&quot;MarkerSize&quot;:null,&quot;MarkerFillColorRef&quot;:null,&quot;MarkerBorderColorRef&quot;:null,&quot;DataLabelColorRef&quot;:null,&quot;PatternType&quot;:null,&quot;PatternBackgroundColorRef&quot;:null}],&quot;SeriesDesign&quot;:null,&quot;SkipBlankSeries&quot;:true,&quot;HasChartTitle&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quot;Transparent&quot;:&quot;0,255,0,0&quot;,&quot;BordeauxI&quot;:&quot;189,0,12&quot;,&quot;BordeauxII&quot;:&quot;138,0,10&quot;,&quot;BordeauxIII&quot;:&quot;98,0,4&quot;,&quot;GrayIII&quot;:&quot;142,141,131&quot;,&quot;GrayIV&quot;:&quot;122,120,112&quot;,&quot;GrayV&quot;:&quot;90,93,92&quot;,&quot;GrayVI&quot;:&quot;64,64,64&quot;,&quot;BronzeI&quot;:&quot;185,142,44&quot;,&quot;BronzeII&quot;:&quot;148,111,41&quot;,&quot;BronzeIII&quot;:&quot;108,83,18&quot;,&quot;Bronze 50&quot;:&quot;174,134,38&quot;,&quot;Lagoon 90&quot;:&quot;0,118,158&quot;,&quot;Kiwi 50&quot;:&quot;135,148,32&quot;,&quot;Aubergine 90&quot;:&quot;76,45,89&quot;,&quot;Sand 50&quot;:&quot;159,136,102&quot;,&quot;Plum 90&quot;:&quot;47,71,107&quot;,&quot;Sage 50&quot;:&quot;71,154,108&quot;,&quot;Blush 90&quot;:&quot;174,62,74&quot;,&quot;Lavender 50&quot;:&quot;131,137,189&quot;,&quot;Lake 50&quot;:&quot;12,126,197&quot;,&quot;Bronze 90&quot;:&quot;101,77,22&quot;,&quot;Aubergine 50&quot;:&quot;128,76,150&quot;,&quot;Mint 50&quot;:&quot;69,152,156&quot;,&quot;Plum 50&quot;:&quot;73,113,172&quot;,&quot;Blush 50&quot;:&quot;204,112,123&quot;,&quot;Sage 90&quot;:&quot;41,91,64&quot;,&quot;Lavender 90&quot;:&quot;85,90,156&quot;,&quot;Chocolate 50&quot;:&quot;121,94,75&quot;,&quot;Lake 90&quot;:&quot;7,70,111&quot;,&quot;Bordeaux 90&quot;:&quot;99,0,5&quot;}}">
            <a:extLst>
              <a:ext uri="{FF2B5EF4-FFF2-40B4-BE49-F238E27FC236}">
                <a16:creationId xmlns:a16="http://schemas.microsoft.com/office/drawing/2014/main" id="{8A90A237-4746-49C1-9E2F-EB23534ADA5B}"/>
              </a:ext>
            </a:extLst>
          </p:cNvPr>
          <p:cNvGraphicFramePr>
            <a:graphicFrameLocks/>
          </p:cNvGraphicFramePr>
          <p:nvPr>
            <p:extLst>
              <p:ext uri="{D42A27DB-BD31-4B8C-83A1-F6EECF244321}">
                <p14:modId xmlns:p14="http://schemas.microsoft.com/office/powerpoint/2010/main" val="1943372495"/>
              </p:ext>
            </p:extLst>
          </p:nvPr>
        </p:nvGraphicFramePr>
        <p:xfrm>
          <a:off x="8995268" y="2403803"/>
          <a:ext cx="4031628" cy="4244647"/>
        </p:xfrm>
        <a:graphic>
          <a:graphicData uri="http://schemas.openxmlformats.org/drawingml/2006/chart">
            <c:chart xmlns:c="http://schemas.openxmlformats.org/drawingml/2006/chart" xmlns:r="http://schemas.openxmlformats.org/officeDocument/2006/relationships" r:id="rId14"/>
          </a:graphicData>
        </a:graphic>
      </p:graphicFrame>
      <p:grpSp>
        <p:nvGrpSpPr>
          <p:cNvPr id="2" name="Group 1">
            <a:extLst>
              <a:ext uri="{FF2B5EF4-FFF2-40B4-BE49-F238E27FC236}">
                <a16:creationId xmlns:a16="http://schemas.microsoft.com/office/drawing/2014/main" id="{8C346B3F-046A-48F9-43A0-D1772A7544A7}"/>
              </a:ext>
            </a:extLst>
          </p:cNvPr>
          <p:cNvGrpSpPr>
            <a:grpSpLocks/>
          </p:cNvGrpSpPr>
          <p:nvPr/>
        </p:nvGrpSpPr>
        <p:grpSpPr bwMode="auto">
          <a:xfrm>
            <a:off x="12436207" y="243879"/>
            <a:ext cx="676910" cy="676420"/>
            <a:chOff x="3955" y="2484"/>
            <a:chExt cx="1814" cy="1813"/>
          </a:xfrm>
          <a:solidFill>
            <a:srgbClr val="BEBEBE"/>
          </a:solidFill>
        </p:grpSpPr>
        <p:sp>
          <p:nvSpPr>
            <p:cNvPr id="10" name="Freeform 17">
              <a:extLst>
                <a:ext uri="{FF2B5EF4-FFF2-40B4-BE49-F238E27FC236}">
                  <a16:creationId xmlns:a16="http://schemas.microsoft.com/office/drawing/2014/main" id="{0287D1A6-8116-7EA2-03B6-1A638EFA9A1E}"/>
                </a:ext>
              </a:extLst>
            </p:cNvPr>
            <p:cNvSpPr>
              <a:spLocks/>
            </p:cNvSpPr>
            <p:nvPr/>
          </p:nvSpPr>
          <p:spPr bwMode="gray">
            <a:xfrm rot="8223913" flipH="1">
              <a:off x="3955" y="2484"/>
              <a:ext cx="1183" cy="1110"/>
            </a:xfrm>
            <a:custGeom>
              <a:avLst/>
              <a:gdLst>
                <a:gd name="T0" fmla="*/ 859 w 1400"/>
                <a:gd name="T1" fmla="*/ 0 h 1315"/>
                <a:gd name="T2" fmla="*/ 2 w 1400"/>
                <a:gd name="T3" fmla="*/ 493 h 1315"/>
                <a:gd name="T4" fmla="*/ 83 w 1400"/>
                <a:gd name="T5" fmla="*/ 799 h 1315"/>
                <a:gd name="T6" fmla="*/ 400 w 1400"/>
                <a:gd name="T7" fmla="*/ 1051 h 1315"/>
                <a:gd name="T8" fmla="*/ 991 w 1400"/>
                <a:gd name="T9" fmla="*/ 904 h 1315"/>
                <a:gd name="T10" fmla="*/ 1130 w 1400"/>
                <a:gd name="T11" fmla="*/ 342 h 1315"/>
                <a:gd name="T12" fmla="*/ 859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a:p>
          </p:txBody>
        </p:sp>
        <p:sp>
          <p:nvSpPr>
            <p:cNvPr id="12" name="Freeform 18">
              <a:extLst>
                <a:ext uri="{FF2B5EF4-FFF2-40B4-BE49-F238E27FC236}">
                  <a16:creationId xmlns:a16="http://schemas.microsoft.com/office/drawing/2014/main" id="{E8358377-830A-0809-EA32-3B2690596028}"/>
                </a:ext>
              </a:extLst>
            </p:cNvPr>
            <p:cNvSpPr>
              <a:spLocks/>
            </p:cNvSpPr>
            <p:nvPr/>
          </p:nvSpPr>
          <p:spPr bwMode="gray">
            <a:xfrm rot="4550132">
              <a:off x="4080" y="3150"/>
              <a:ext cx="1182" cy="1111"/>
            </a:xfrm>
            <a:custGeom>
              <a:avLst/>
              <a:gdLst>
                <a:gd name="T0" fmla="*/ 858 w 1400"/>
                <a:gd name="T1" fmla="*/ 0 h 1315"/>
                <a:gd name="T2" fmla="*/ 2 w 1400"/>
                <a:gd name="T3" fmla="*/ 493 h 1315"/>
                <a:gd name="T4" fmla="*/ 83 w 1400"/>
                <a:gd name="T5" fmla="*/ 799 h 1315"/>
                <a:gd name="T6" fmla="*/ 399 w 1400"/>
                <a:gd name="T7" fmla="*/ 1052 h 1315"/>
                <a:gd name="T8" fmla="*/ 990 w 1400"/>
                <a:gd name="T9" fmla="*/ 905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B8B3A2"/>
            </a:solidFill>
            <a:ln w="19050" cap="flat" cmpd="sng">
              <a:solidFill>
                <a:srgbClr val="FFFFFF"/>
              </a:solidFill>
              <a:prstDash val="solid"/>
              <a:round/>
              <a:headEnd type="none" w="med" len="med"/>
              <a:tailEnd type="none" w="med" len="med"/>
            </a:ln>
          </p:spPr>
          <p:txBody>
            <a:bodyPr wrap="none" lIns="0" tIns="0" rIns="0" bIns="0" anchor="ctr"/>
            <a:lstStyle/>
            <a:p>
              <a:endParaRPr lang="en-US" sz="1400">
                <a:solidFill>
                  <a:srgbClr val="000000"/>
                </a:solidFill>
              </a:endParaRPr>
            </a:p>
          </p:txBody>
        </p:sp>
        <p:sp>
          <p:nvSpPr>
            <p:cNvPr id="15" name="Freeform 19">
              <a:extLst>
                <a:ext uri="{FF2B5EF4-FFF2-40B4-BE49-F238E27FC236}">
                  <a16:creationId xmlns:a16="http://schemas.microsoft.com/office/drawing/2014/main" id="{195F7A76-39FC-740D-CFD2-34AA41715B76}"/>
                </a:ext>
              </a:extLst>
            </p:cNvPr>
            <p:cNvSpPr>
              <a:spLocks/>
            </p:cNvSpPr>
            <p:nvPr/>
          </p:nvSpPr>
          <p:spPr bwMode="gray">
            <a:xfrm rot="15399532" flipH="1">
              <a:off x="4622" y="2702"/>
              <a:ext cx="1182" cy="1112"/>
            </a:xfrm>
            <a:custGeom>
              <a:avLst/>
              <a:gdLst>
                <a:gd name="T0" fmla="*/ 858 w 1400"/>
                <a:gd name="T1" fmla="*/ 0 h 1315"/>
                <a:gd name="T2" fmla="*/ 2 w 1400"/>
                <a:gd name="T3" fmla="*/ 494 h 1315"/>
                <a:gd name="T4" fmla="*/ 83 w 1400"/>
                <a:gd name="T5" fmla="*/ 800 h 1315"/>
                <a:gd name="T6" fmla="*/ 399 w 1400"/>
                <a:gd name="T7" fmla="*/ 1053 h 1315"/>
                <a:gd name="T8" fmla="*/ 990 w 1400"/>
                <a:gd name="T9" fmla="*/ 906 h 1315"/>
                <a:gd name="T10" fmla="*/ 1129 w 1400"/>
                <a:gd name="T11" fmla="*/ 342 h 1315"/>
                <a:gd name="T12" fmla="*/ 858 w 1400"/>
                <a:gd name="T13" fmla="*/ 0 h 1315"/>
                <a:gd name="T14" fmla="*/ 0 60000 65536"/>
                <a:gd name="T15" fmla="*/ 0 60000 65536"/>
                <a:gd name="T16" fmla="*/ 0 60000 65536"/>
                <a:gd name="T17" fmla="*/ 0 60000 65536"/>
                <a:gd name="T18" fmla="*/ 0 60000 65536"/>
                <a:gd name="T19" fmla="*/ 0 60000 65536"/>
                <a:gd name="T20" fmla="*/ 0 60000 65536"/>
                <a:gd name="T21" fmla="*/ 0 w 1400"/>
                <a:gd name="T22" fmla="*/ 0 h 1315"/>
                <a:gd name="T23" fmla="*/ 1400 w 1400"/>
                <a:gd name="T24" fmla="*/ 1315 h 13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0" h="1315">
                  <a:moveTo>
                    <a:pt x="1016" y="0"/>
                  </a:moveTo>
                  <a:cubicBezTo>
                    <a:pt x="1002" y="541"/>
                    <a:pt x="422" y="825"/>
                    <a:pt x="2" y="584"/>
                  </a:cubicBezTo>
                  <a:cubicBezTo>
                    <a:pt x="0" y="679"/>
                    <a:pt x="16" y="823"/>
                    <a:pt x="98" y="946"/>
                  </a:cubicBezTo>
                  <a:cubicBezTo>
                    <a:pt x="180" y="1069"/>
                    <a:pt x="266" y="1175"/>
                    <a:pt x="473" y="1245"/>
                  </a:cubicBezTo>
                  <a:cubicBezTo>
                    <a:pt x="680" y="1315"/>
                    <a:pt x="978" y="1278"/>
                    <a:pt x="1173" y="1071"/>
                  </a:cubicBezTo>
                  <a:cubicBezTo>
                    <a:pt x="1368" y="864"/>
                    <a:pt x="1400" y="613"/>
                    <a:pt x="1337" y="405"/>
                  </a:cubicBezTo>
                  <a:cubicBezTo>
                    <a:pt x="1274" y="197"/>
                    <a:pt x="1140" y="64"/>
                    <a:pt x="1016" y="0"/>
                  </a:cubicBezTo>
                  <a:close/>
                </a:path>
              </a:pathLst>
            </a:custGeom>
            <a:solidFill>
              <a:srgbClr val="CCCABC"/>
            </a:solidFill>
            <a:ln w="19050" cap="flat" cmpd="sng">
              <a:solidFill>
                <a:srgbClr val="CCCABC"/>
              </a:solidFill>
              <a:prstDash val="solid"/>
              <a:round/>
              <a:headEnd type="none" w="med" len="med"/>
              <a:tailEnd type="none" w="med" len="med"/>
            </a:ln>
          </p:spPr>
          <p:txBody>
            <a:bodyPr wrap="none" lIns="0" tIns="0" rIns="0" bIns="0" anchor="ctr"/>
            <a:lstStyle/>
            <a:p>
              <a:endParaRPr lang="en-US" sz="1400">
                <a:solidFill>
                  <a:srgbClr val="000000"/>
                </a:solidFill>
              </a:endParaRPr>
            </a:p>
          </p:txBody>
        </p:sp>
      </p:grpSp>
      <p:sp>
        <p:nvSpPr>
          <p:cNvPr id="16" name="TextBox 15">
            <a:extLst>
              <a:ext uri="{FF2B5EF4-FFF2-40B4-BE49-F238E27FC236}">
                <a16:creationId xmlns:a16="http://schemas.microsoft.com/office/drawing/2014/main" id="{7E144CB6-FDDC-47E0-785A-CB0159BC696D}"/>
              </a:ext>
            </a:extLst>
          </p:cNvPr>
          <p:cNvSpPr txBox="1"/>
          <p:nvPr/>
        </p:nvSpPr>
        <p:spPr>
          <a:xfrm>
            <a:off x="12354286" y="919742"/>
            <a:ext cx="804112" cy="24622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utiger 45 Light"/>
                <a:ea typeface="+mn-ea"/>
                <a:cs typeface="+mn-cs"/>
              </a:rPr>
              <a:t>Micro</a:t>
            </a:r>
          </a:p>
        </p:txBody>
      </p:sp>
    </p:spTree>
    <p:custDataLst>
      <p:tags r:id="rId1"/>
    </p:custDataLst>
    <p:extLst>
      <p:ext uri="{BB962C8B-B14F-4D97-AF65-F5344CB8AC3E}">
        <p14:creationId xmlns:p14="http://schemas.microsoft.com/office/powerpoint/2010/main" val="2927260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UBS SCREEN169 THEME" val="gNFBTIw9"/>
  <p:tag name="ARTICULATE_PROJECT_OPEN" val="0"/>
  <p:tag name="ARTICULATE_SLIDE_COUNT" val="13"/>
  <p:tag name="FDSMENUDOCLEVELBTNSTATES" val="&lt;btnStates&gt;&lt;btn tag=&quot;1001&quot; state=&quot;UP&quot;/&gt;&lt;/btnStates&gt;&#10;"/>
  <p:tag name="FULLPATHNAME" val=" "/>
  <p:tag name="KEYWORDS" val="C:\Program Files\Ubs\PresXpress\templates\PresPrintOnScreen.pot"/>
  <p:tag name="LANGUAGE ID" val="2057"/>
  <p:tag name="LAST PRINTED" val="434344492187500E-10"/>
  <p:tag name="MOST RECENT UPGRADE" val="0"/>
  <p:tag name="SANS SERIF FONT" val="Frutiger 45 Light"/>
  <p:tag name="SERIF FONT" val="UBSHeadline"/>
  <p:tag name="SP_AGENDA" val="TOC Dividers SectionNumber SlideNumber"/>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1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1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1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1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1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1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1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1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1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1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2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28.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3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42.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4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52.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5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66.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174.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7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80.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8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188.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89.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192.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93.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196.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9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00.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01.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04.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0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08.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09.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12.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1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16.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19.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20.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23.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24.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WAHR"/>
  <p:tag name="LEFT" val="612000000000000E-12"/>
  <p:tag name="TEXT_TYPE" val="DRAFT STAMP"/>
  <p:tag name="TOP" val="710000000000000E-13"/>
  <p:tag name="WIDTH" val="850000000000000E-13"/>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jCUtu5gaXiFxodTvW0UGw"/>
</p:tagLst>
</file>

<file path=ppt/tags/tag235.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LjCUtu5gaXiFxodTvW0UGw"/>
</p:tagLst>
</file>

<file path=ppt/tags/tag238.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612000000000000E-12"/>
  <p:tag name="TEXT_TYPE" val="DRAFT STAMP"/>
  <p:tag name="TOP" val="710000000000000E-13"/>
  <p:tag name="WIDTH" val="850000000000000E-13"/>
</p:tagLst>
</file>

<file path=ppt/tags/tag239.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BODY TEXT"/>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40.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jCUtu5gaXiFxodTvW0UGw"/>
</p:tagLst>
</file>

<file path=ppt/tags/tag243.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44.xml><?xml version="1.0" encoding="utf-8"?>
<p:tagLst xmlns:a="http://schemas.openxmlformats.org/drawingml/2006/main" xmlns:r="http://schemas.openxmlformats.org/officeDocument/2006/relationships" xmlns:p="http://schemas.openxmlformats.org/presentationml/2006/main">
  <p:tag name="HEIGHT" val="31.89315"/>
  <p:tag name="LEFT" val="43.92"/>
  <p:tag name="TEXT_TYPE" val="UBS LOGO"/>
  <p:tag name="TOP" val="44.64"/>
  <p:tag name="WIDTH" val="87.26456"/>
</p:tagLst>
</file>

<file path=ppt/tags/tag24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612000000000000E-12"/>
  <p:tag name="TEXT_TYPE" val="DRAFT STAMP"/>
  <p:tag name="TOP" val="710000000000000E-13"/>
  <p:tag name="WIDTH" val="850000000000000E-13"/>
</p:tagLst>
</file>

<file path=ppt/tags/tag246.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612000000000000E-12"/>
  <p:tag name="TEXT_TYPE" val="DRAFT STAMP"/>
  <p:tag name="TOP" val="710000000000000E-13"/>
  <p:tag name="WIDTH" val="850000000000000E-13"/>
</p:tagLst>
</file>

<file path=ppt/tags/tag24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612000000000000E-12"/>
  <p:tag name="TEXT_TYPE" val="DRAFT STAMP"/>
  <p:tag name="TOP" val="710000000000000E-13"/>
  <p:tag name="WIDTH" val="850000000000000E-13"/>
</p:tagLst>
</file>

<file path=ppt/tags/tag248.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49.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331199989318848E-13"/>
  <p:tag name="HEIGHT" val="260000000000000E-13"/>
  <p:tag name="WIDTH" val="850000000000000E-13"/>
  <p:tag name="TEXT_TYPE" val="DRAFT STAMP"/>
</p:tagLst>
</file>

<file path=ppt/tags/tag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50.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33.75"/>
  <p:tag name="WIDTH" val="68.56504"/>
  <p:tag name="HEIGHT" val="25.0589"/>
</p:tagLst>
</file>

<file path=ppt/tags/tag251.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52.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331199989318848E-13"/>
  <p:tag name="HEIGHT" val="260000000000000E-13"/>
  <p:tag name="WIDTH" val="850000000000000E-13"/>
  <p:tag name="TEXT_TYPE" val="DRAFT STAMP"/>
</p:tagLst>
</file>

<file path=ppt/tags/tag253.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33.75"/>
  <p:tag name="WIDTH" val="68.56504"/>
  <p:tag name="HEIGHT" val="25.0589"/>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 name="SLIDE_TYPE" val="COVER"/>
</p:tagLst>
</file>

<file path=ppt/tags/tag255.xml><?xml version="1.0" encoding="utf-8"?>
<p:tagLst xmlns:a="http://schemas.openxmlformats.org/drawingml/2006/main" xmlns:r="http://schemas.openxmlformats.org/officeDocument/2006/relationships" xmlns:p="http://schemas.openxmlformats.org/presentationml/2006/main">
  <p:tag name="TEMPLAFYSLIDEID" val="637474411558394990"/>
</p:tagLst>
</file>

<file path=ppt/tags/tag256.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57.xml><?xml version="1.0" encoding="utf-8"?>
<p:tagLst xmlns:a="http://schemas.openxmlformats.org/drawingml/2006/main" xmlns:r="http://schemas.openxmlformats.org/officeDocument/2006/relationships" xmlns:p="http://schemas.openxmlformats.org/presentationml/2006/main">
  <p:tag name="SLIDE_TYPE" val="BODY"/>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61.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62.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63.xml><?xml version="1.0" encoding="utf-8"?>
<p:tagLst xmlns:a="http://schemas.openxmlformats.org/drawingml/2006/main" xmlns:r="http://schemas.openxmlformats.org/officeDocument/2006/relationships" xmlns:p="http://schemas.openxmlformats.org/presentationml/2006/main">
  <p:tag name="SLIDE_TYPE" val="BODY"/>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66.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67.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68.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69.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SLIDE_TYPE" val="BODY"/>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73.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74.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75.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76.xml><?xml version="1.0" encoding="utf-8"?>
<p:tagLst xmlns:a="http://schemas.openxmlformats.org/drawingml/2006/main" xmlns:r="http://schemas.openxmlformats.org/officeDocument/2006/relationships" xmlns:p="http://schemas.openxmlformats.org/presentationml/2006/main">
  <p:tag name="SLIDE_TYPE" val="BODY"/>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79.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81.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82.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8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84.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85.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86.xml><?xml version="1.0" encoding="utf-8"?>
<p:tagLst xmlns:a="http://schemas.openxmlformats.org/drawingml/2006/main" xmlns:r="http://schemas.openxmlformats.org/officeDocument/2006/relationships" xmlns:p="http://schemas.openxmlformats.org/presentationml/2006/main">
  <p:tag name="SLIDE_TYPE" val="BODY"/>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89.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91.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92.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93.xml><?xml version="1.0" encoding="utf-8"?>
<p:tagLst xmlns:a="http://schemas.openxmlformats.org/drawingml/2006/main" xmlns:r="http://schemas.openxmlformats.org/officeDocument/2006/relationships" xmlns:p="http://schemas.openxmlformats.org/presentationml/2006/main">
  <p:tag name="SLIDE_TYPE" val="BODY"/>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96.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97.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98.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299.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sEoZrI.F.MdS.aXw.otJA"/>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300.xml><?xml version="1.0" encoding="utf-8"?>
<p:tagLst xmlns:a="http://schemas.openxmlformats.org/drawingml/2006/main" xmlns:r="http://schemas.openxmlformats.org/officeDocument/2006/relationships" xmlns:p="http://schemas.openxmlformats.org/presentationml/2006/main">
  <p:tag name="SLIDE_TYPE" val="BODY"/>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03.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04.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05.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06.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07.xml><?xml version="1.0" encoding="utf-8"?>
<p:tagLst xmlns:a="http://schemas.openxmlformats.org/drawingml/2006/main" xmlns:r="http://schemas.openxmlformats.org/officeDocument/2006/relationships" xmlns:p="http://schemas.openxmlformats.org/presentationml/2006/main">
  <p:tag name="SLIDE_TYPE" val="BODY"/>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310.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11.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12.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13.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14.xml><?xml version="1.0" encoding="utf-8"?>
<p:tagLst xmlns:a="http://schemas.openxmlformats.org/drawingml/2006/main" xmlns:r="http://schemas.openxmlformats.org/officeDocument/2006/relationships" xmlns:p="http://schemas.openxmlformats.org/presentationml/2006/main">
  <p:tag name="SLIDE_TYPE" val="BODY"/>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17.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18.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19.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320.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21.xml><?xml version="1.0" encoding="utf-8"?>
<p:tagLst xmlns:a="http://schemas.openxmlformats.org/drawingml/2006/main" xmlns:r="http://schemas.openxmlformats.org/officeDocument/2006/relationships" xmlns:p="http://schemas.openxmlformats.org/presentationml/2006/main">
  <p:tag name="SLIDE_TYPE" val="BODY"/>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24.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25.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26.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27.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28.xml><?xml version="1.0" encoding="utf-8"?>
<p:tagLst xmlns:a="http://schemas.openxmlformats.org/drawingml/2006/main" xmlns:r="http://schemas.openxmlformats.org/officeDocument/2006/relationships" xmlns:p="http://schemas.openxmlformats.org/presentationml/2006/main">
  <p:tag name="SLIDE_TYPE" val="BODY"/>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330.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31.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32.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33.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34.xml><?xml version="1.0" encoding="utf-8"?>
<p:tagLst xmlns:a="http://schemas.openxmlformats.org/drawingml/2006/main" xmlns:r="http://schemas.openxmlformats.org/officeDocument/2006/relationships" xmlns:p="http://schemas.openxmlformats.org/presentationml/2006/main">
  <p:tag name="SLIDE_TYPE" val="BODY"/>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37.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38.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39.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340.xml><?xml version="1.0" encoding="utf-8"?>
<p:tagLst xmlns:a="http://schemas.openxmlformats.org/drawingml/2006/main" xmlns:r="http://schemas.openxmlformats.org/officeDocument/2006/relationships" xmlns:p="http://schemas.openxmlformats.org/presentationml/2006/main">
  <p:tag name="SLIDE_TYPE" val="BODY"/>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43.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44.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45.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46.xml><?xml version="1.0" encoding="utf-8"?>
<p:tagLst xmlns:a="http://schemas.openxmlformats.org/drawingml/2006/main" xmlns:r="http://schemas.openxmlformats.org/officeDocument/2006/relationships" xmlns:p="http://schemas.openxmlformats.org/presentationml/2006/main">
  <p:tag name="SLIDE_TYPE" val="BODY"/>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49.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350.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51.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52.xml><?xml version="1.0" encoding="utf-8"?>
<p:tagLst xmlns:a="http://schemas.openxmlformats.org/drawingml/2006/main" xmlns:r="http://schemas.openxmlformats.org/officeDocument/2006/relationships" xmlns:p="http://schemas.openxmlformats.org/presentationml/2006/main">
  <p:tag name="SLIDE_TYPE" val="BODY"/>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55.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56.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57.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58.xml><?xml version="1.0" encoding="utf-8"?>
<p:tagLst xmlns:a="http://schemas.openxmlformats.org/drawingml/2006/main" xmlns:r="http://schemas.openxmlformats.org/officeDocument/2006/relationships" xmlns:p="http://schemas.openxmlformats.org/presentationml/2006/main">
  <p:tag name="SLIDE_TYPE" val="BODY"/>
</p:tagLst>
</file>

<file path=ppt/tags/tag359.xml><?xml version="1.0" encoding="utf-8"?>
<p:tagLst xmlns:a="http://schemas.openxmlformats.org/drawingml/2006/main" xmlns:r="http://schemas.openxmlformats.org/officeDocument/2006/relationships" xmlns:p="http://schemas.openxmlformats.org/presentationml/2006/main">
  <p:tag name="FONT STYLE" val="SERIF"/>
  <p:tag name="TEXT_TYPE" val="PAGE HEADING"/>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360.xml><?xml version="1.0" encoding="utf-8"?>
<p:tagLst xmlns:a="http://schemas.openxmlformats.org/drawingml/2006/main" xmlns:r="http://schemas.openxmlformats.org/officeDocument/2006/relationships" xmlns:p="http://schemas.openxmlformats.org/presentationml/2006/main">
  <p:tag name="SLIDE_TYPE" val="BODY"/>
</p:tagLst>
</file>

<file path=ppt/tags/tag361.xml><?xml version="1.0" encoding="utf-8"?>
<p:tagLst xmlns:a="http://schemas.openxmlformats.org/drawingml/2006/main" xmlns:r="http://schemas.openxmlformats.org/officeDocument/2006/relationships" xmlns:p="http://schemas.openxmlformats.org/presentationml/2006/main">
  <p:tag name="FONT STYLE" val="SERIF"/>
  <p:tag name="TEXT_TYPE" val="PAGE HEADING"/>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heme/theme1.xml><?xml version="1.0" encoding="utf-8"?>
<a:theme xmlns:a="http://schemas.openxmlformats.org/drawingml/2006/main" name="UBS Screen169 Theme">
  <a:themeElements>
    <a:clrScheme name="Templafy_NewBrand2">
      <a:dk1>
        <a:sysClr val="windowText" lastClr="000000"/>
      </a:dk1>
      <a:lt1>
        <a:sysClr val="window" lastClr="FFFFFF"/>
      </a:lt1>
      <a:dk2>
        <a:srgbClr val="E60000"/>
      </a:dk2>
      <a:lt2>
        <a:srgbClr val="FFFFFF"/>
      </a:lt2>
      <a:accent1>
        <a:srgbClr val="8E8D83"/>
      </a:accent1>
      <a:accent2>
        <a:srgbClr val="7A7870"/>
      </a:accent2>
      <a:accent3>
        <a:srgbClr val="5A5D5C"/>
      </a:accent3>
      <a:accent4>
        <a:srgbClr val="404040"/>
      </a:accent4>
      <a:accent5>
        <a:srgbClr val="000000"/>
      </a:accent5>
      <a:accent6>
        <a:srgbClr val="E60000"/>
      </a:accent6>
      <a:hlink>
        <a:srgbClr val="0000FF"/>
      </a:hlink>
      <a:folHlink>
        <a:srgbClr val="800080"/>
      </a:folHlink>
    </a:clrScheme>
    <a:fontScheme name="Custom 1">
      <a:majorFont>
        <a:latin typeface="Frutiger 45 Light"/>
        <a:ea typeface=""/>
        <a:cs typeface=""/>
        <a:font script="Arab" typeface="Segoe UI Semilight"/>
        <a:font script="Grek" typeface="Segoe UI Semilight"/>
        <a:font script="Cyrl" typeface="Segoe UI Semilight"/>
        <a:font script="Jpan" typeface="MS PGothic"/>
        <a:font script="Hang" typeface="Gulim"/>
        <a:font script="Hans" typeface="DFPHei Std W3"/>
        <a:font script="Hant" typeface="DFHeiHK-W3"/>
        <a:font script="Hebr" typeface="Segoe UI Semilight"/>
        <a:font script="Thai" typeface="Leelawadee"/>
      </a:majorFont>
      <a:minorFont>
        <a:latin typeface="Frutiger 45 Light"/>
        <a:ea typeface=""/>
        <a:cs typeface=""/>
        <a:font script="Arab" typeface="Segoe UI Semilight"/>
        <a:font script="Grek" typeface="Segoe UI Semilight"/>
        <a:font script="Cyrl" typeface="Segoe UI Semilight"/>
        <a:font script="Jpan" typeface="MS PGothic"/>
        <a:font script="Hang" typeface="Gulim"/>
        <a:font script="Hans" typeface="DFPHei Std W3"/>
        <a:font script="Hant" typeface="DFHeiHK-W3"/>
        <a:font script="Hebr" typeface="Segoe UI Semilight"/>
        <a:font script="Thai" typeface="Leelawade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7B7D80"/>
          </a:solidFill>
        </a:ln>
      </a:spPr>
      <a:bodyPr lIns="0" tIns="0" rIns="0" bIns="0"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latin typeface="+mn-lt"/>
          </a:defRPr>
        </a:defPPr>
      </a:lstStyle>
    </a:txDef>
  </a:objectDefaults>
  <a:extraClrSchemeLst/>
  <a:custClrLst>
    <a:custClr name="Black">
      <a:srgbClr val="000000"/>
    </a:custClr>
    <a:custClr name="Gray I">
      <a:srgbClr val="CCCABC"/>
    </a:custClr>
    <a:custClr name="Gray II">
      <a:srgbClr val="B8B3A2"/>
    </a:custClr>
    <a:custClr name="Gray III">
      <a:srgbClr val="8E8D83"/>
    </a:custClr>
    <a:custClr name="Bordeaux I">
      <a:srgbClr val="BD000C"/>
    </a:custClr>
    <a:custClr name="Bordeaux II">
      <a:srgbClr val="8A000A"/>
    </a:custClr>
    <a:custClr name="Bordeaux III">
      <a:srgbClr val="620004"/>
    </a:custClr>
    <a:custClr name="Pastel I">
      <a:srgbClr val="ECEBE4"/>
    </a:custClr>
    <a:custClr name="Green (RAG)">
      <a:srgbClr val="6F7A1A"/>
    </a:custClr>
    <a:custClr name="Red (RAG)">
      <a:srgbClr val="BD000C"/>
    </a:custClr>
    <a:custClr name="UBS Red">
      <a:srgbClr val="E60000"/>
    </a:custClr>
    <a:custClr name="Gray IV">
      <a:srgbClr val="7A7870"/>
    </a:custClr>
    <a:custClr name="Gray V">
      <a:srgbClr val="5A5D5C"/>
    </a:custClr>
    <a:custClr name="Gray VI">
      <a:srgbClr val="404040"/>
    </a:custClr>
    <a:custClr name="Bronze I">
      <a:srgbClr val="B98E2C"/>
    </a:custClr>
    <a:custClr name="Bronze II">
      <a:srgbClr val="946F29"/>
    </a:custClr>
    <a:custClr name="Bronze III">
      <a:srgbClr val="6C5312"/>
    </a:custClr>
    <a:custClr name="Pastel II">
      <a:srgbClr val="F5F0E1"/>
    </a:custClr>
    <a:custClr name="Amber (RAG)">
      <a:srgbClr val="E4A911"/>
    </a:custClr>
    <a:custClr>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01 Bronze50">
      <a:srgbClr val="AF8626"/>
    </a:custClr>
    <a:custClr name="02 Lagoon90">
      <a:srgbClr val="00759E"/>
    </a:custClr>
    <a:custClr name="03 Kiwi50">
      <a:srgbClr val="879420"/>
    </a:custClr>
    <a:custClr name="04 Aubergine90">
      <a:srgbClr val="4B2D58"/>
    </a:custClr>
    <a:custClr name="05 Sand50">
      <a:srgbClr val="9F8865"/>
    </a:custClr>
    <a:custClr name="06 Plum90">
      <a:srgbClr val="2E476B"/>
    </a:custClr>
    <a:custClr name="07 Sage50">
      <a:srgbClr val="469A6C"/>
    </a:custClr>
    <a:custClr name="08 Blush90">
      <a:srgbClr val="AD3E4A"/>
    </a:custClr>
    <a:custClr name="09 Lavender50">
      <a:srgbClr val="8489BD"/>
    </a:custClr>
    <a:custClr name="10 Lake50">
      <a:srgbClr val="0C7EC6"/>
    </a:custClr>
    <a:custClr name="11 Bronze90">
      <a:srgbClr val="654D16"/>
    </a:custClr>
    <a:custClr name="12 Aubergine50">
      <a:srgbClr val="804C95"/>
    </a:custClr>
    <a:custClr name="13 Mint50">
      <a:srgbClr val="45999C"/>
    </a:custClr>
    <a:custClr name="14 Plum50">
      <a:srgbClr val="4972AC"/>
    </a:custClr>
    <a:custClr name="15 Blush50">
      <a:srgbClr val="CC707A"/>
    </a:custClr>
    <a:custClr name="16 Sage90">
      <a:srgbClr val="295B40"/>
    </a:custClr>
    <a:custClr name="17 Lavender90">
      <a:srgbClr val="545A9C"/>
    </a:custClr>
    <a:custClr name="18 Chocolate50">
      <a:srgbClr val="785E4A"/>
    </a:custClr>
    <a:custClr name="19 Lake90">
      <a:srgbClr val="07476F"/>
    </a:custClr>
    <a:custClr name="20 Bordeaux90">
      <a:srgbClr val="620004"/>
    </a:custClr>
  </a:custClrLst>
  <a:extLst>
    <a:ext uri="{05A4C25C-085E-4340-85A3-A5531E510DB2}">
      <thm15:themeFamily xmlns:thm15="http://schemas.microsoft.com/office/thememl/2012/main" name="UBS Screen169 Theme" id="{71730865-0F39-4CDA-9306-6D3D0E582DB3}" vid="{52D91F62-61AE-484B-B0A8-E325B55AA7B7}"/>
    </a:ext>
  </a:extLst>
</a:theme>
</file>

<file path=ppt/theme/theme2.xml><?xml version="1.0" encoding="utf-8"?>
<a:theme xmlns:a="http://schemas.openxmlformats.org/drawingml/2006/main" name="Office Theme">
  <a:themeElements>
    <a:clrScheme name="UBS Colorset">
      <a:dk1>
        <a:sysClr val="windowText" lastClr="000000"/>
      </a:dk1>
      <a:lt1>
        <a:sysClr val="window" lastClr="FFFFFF"/>
      </a:lt1>
      <a:dk2>
        <a:srgbClr val="FF0000"/>
      </a:dk2>
      <a:lt2>
        <a:srgbClr val="FFFFFF"/>
      </a:lt2>
      <a:accent1>
        <a:srgbClr val="4E8AA9"/>
      </a:accent1>
      <a:accent2>
        <a:srgbClr val="AF9681"/>
      </a:accent2>
      <a:accent3>
        <a:srgbClr val="57514B"/>
      </a:accent3>
      <a:accent4>
        <a:srgbClr val="B2BCCD"/>
      </a:accent4>
      <a:accent5>
        <a:srgbClr val="748746"/>
      </a:accent5>
      <a:accent6>
        <a:srgbClr val="8C3F3A"/>
      </a:accent6>
      <a:hlink>
        <a:srgbClr val="0000FF"/>
      </a:hlink>
      <a:folHlink>
        <a:srgbClr val="800080"/>
      </a:folHlink>
    </a:clrScheme>
    <a:fontScheme name="Office">
      <a:majorFont>
        <a:latin typeface="Frutiger 45 Light"/>
        <a:ea typeface=""/>
        <a:cs typeface=""/>
        <a:font script="Arab" typeface="Segoe UI Semilight"/>
        <a:font script="Grek" typeface="Segoe UI Semilight"/>
        <a:font script="Cyrl" typeface="Segoe UI Semilight"/>
        <a:font script="Jpan" typeface="MS PGothic"/>
        <a:font script="Hang" typeface="Gulim"/>
        <a:font script="Hans" typeface="DFPHei Std W3"/>
        <a:font script="Hant" typeface="DFHeiHK-W3"/>
        <a:font script="Hebr" typeface="Segoe UI Semilight"/>
        <a:font script="Thai" typeface="Leelawadee"/>
      </a:majorFont>
      <a:minorFont>
        <a:latin typeface="Frutiger 45 Light"/>
        <a:ea typeface=""/>
        <a:cs typeface=""/>
        <a:font script="Arab" typeface="Segoe UI Semilight"/>
        <a:font script="Grek" typeface="Segoe UI Semilight"/>
        <a:font script="Cyrl" typeface="Segoe UI Semilight"/>
        <a:font script="Jpan" typeface="MS PGothic"/>
        <a:font script="Hang" typeface="Gulim"/>
        <a:font script="Hans" typeface="DFPHei Std W3"/>
        <a:font script="Hant" typeface="DFHeiHK-W3"/>
        <a:font script="Hebr" typeface="Segoe UI Semilight"/>
        <a:font script="Thai" typeface="Leelawade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UBSNewColorsV2">
    <a:dk1>
      <a:sysClr val="windowText" lastClr="000000"/>
    </a:dk1>
    <a:lt1>
      <a:sysClr val="window" lastClr="FFFFFF"/>
    </a:lt1>
    <a:dk2>
      <a:srgbClr val="E60000"/>
    </a:dk2>
    <a:lt2>
      <a:srgbClr val="FFFFFF"/>
    </a:lt2>
    <a:accent1>
      <a:srgbClr val="4D3C2F"/>
    </a:accent1>
    <a:accent2>
      <a:srgbClr val="CFBD9B"/>
    </a:accent2>
    <a:accent3>
      <a:srgbClr val="C07156"/>
    </a:accent3>
    <a:accent4>
      <a:srgbClr val="E8C767"/>
    </a:accent4>
    <a:accent5>
      <a:srgbClr val="AEB0B3"/>
    </a:accent5>
    <a:accent6>
      <a:srgbClr val="A43725"/>
    </a:accent6>
    <a:hlink>
      <a:srgbClr val="0000FF"/>
    </a:hlink>
    <a:folHlink>
      <a:srgbClr val="800080"/>
    </a:folHlink>
  </a:clrScheme>
  <a:fontScheme name="UBS Fontset">
    <a:majorFont>
      <a:latin typeface="UBSHeadline"/>
      <a:ea typeface="MS PGothic"/>
      <a:cs typeface=""/>
    </a:majorFont>
    <a:minorFont>
      <a:latin typeface="Frutiger 45 Light"/>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Templafy_NewBrand2">
    <a:dk1>
      <a:sysClr val="windowText" lastClr="000000"/>
    </a:dk1>
    <a:lt1>
      <a:sysClr val="window" lastClr="FFFFFF"/>
    </a:lt1>
    <a:dk2>
      <a:srgbClr val="E60000"/>
    </a:dk2>
    <a:lt2>
      <a:srgbClr val="FFFFFF"/>
    </a:lt2>
    <a:accent1>
      <a:srgbClr val="CCCCCC"/>
    </a:accent1>
    <a:accent2>
      <a:srgbClr val="B0B0B0"/>
    </a:accent2>
    <a:accent3>
      <a:srgbClr val="757575"/>
    </a:accent3>
    <a:accent4>
      <a:srgbClr val="474747"/>
    </a:accent4>
    <a:accent5>
      <a:srgbClr val="2B2B2B"/>
    </a:accent5>
    <a:accent6>
      <a:srgbClr val="E60000"/>
    </a:accent6>
    <a:hlink>
      <a:srgbClr val="0000FF"/>
    </a:hlink>
    <a:folHlink>
      <a:srgbClr val="800080"/>
    </a:folHlink>
  </a:clrScheme>
  <a:fontScheme name="UBS">
    <a:majorFont>
      <a:latin typeface="Frutiger 45 Light"/>
      <a:ea typeface="Arial"/>
      <a:cs typeface=""/>
    </a:majorFont>
    <a:minorFont>
      <a:latin typeface="Frutiger 45 Light"/>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UBS Colorset">
    <a:dk1>
      <a:sysClr val="windowText" lastClr="000000"/>
    </a:dk1>
    <a:lt1>
      <a:sysClr val="window" lastClr="FFFFFF"/>
    </a:lt1>
    <a:dk2>
      <a:srgbClr val="E60000"/>
    </a:dk2>
    <a:lt2>
      <a:srgbClr val="FFFFFF"/>
    </a:lt2>
    <a:accent1>
      <a:srgbClr val="3692CA"/>
    </a:accent1>
    <a:accent2>
      <a:srgbClr val="C09979"/>
    </a:accent2>
    <a:accent3>
      <a:srgbClr val="4D3C2F"/>
    </a:accent3>
    <a:accent4>
      <a:srgbClr val="AFBCD5"/>
    </a:accent4>
    <a:accent5>
      <a:srgbClr val="759731"/>
    </a:accent5>
    <a:accent6>
      <a:srgbClr val="A43725"/>
    </a:accent6>
    <a:hlink>
      <a:srgbClr val="0000FF"/>
    </a:hlink>
    <a:folHlink>
      <a:srgbClr val="800080"/>
    </a:folHlink>
  </a:clrScheme>
  <a:fontScheme name="UBS OnScreen Fontset">
    <a:majorFont>
      <a:latin typeface="UBSHeadline"/>
      <a:ea typeface="MS PGothic"/>
      <a:cs typeface=""/>
    </a:majorFont>
    <a:minorFont>
      <a:latin typeface="Frutiger 55 Roman"/>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8864451471640258","enableDocumentContentUpdater":true,"version":"1.9"}]]></TemplafySlideTemplateConfiguration>
</file>

<file path=customXml/item12.xml><?xml version="1.0" encoding="utf-8"?>
<TemplafySlideFormConfiguration><![CDATA[{"formFields":[],"formDataEntries":[]}]]></TemplafySlideFormConfiguration>
</file>

<file path=customXml/item13.xml><?xml version="1.0" encoding="utf-8"?>
<TemplafySlideTemplateConfiguration><![CDATA[{"elementsMetadata":[],"documentContentValidatorConfiguration":{"enableDocumentContentValidator":false,"documentContentValidatorVersion":0},"slideId":"637024241037760617","enableDocumentContentUpdater":true,"version":"1.9"}]]></TemplafySlideTemplateConfiguration>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TemplafySlideFormConfiguration><![CDATA[{"formFields":[],"formDataEntries":[]}]]></TemplafySlideFormConfiguration>
</file>

<file path=customXml/item16.xml><?xml version="1.0" encoding="utf-8"?>
<outs:outSpaceData xmlns:outs="http://schemas.microsoft.com/office/2009/outspace/metadata">
  <outs:relatedDates>
    <outs:relatedDate>
      <outs:type>3</outs:type>
      <outs:displayName>Last Modified</outs:displayName>
      <outs:dateTime>2009-09-25T18:45:43Z</outs:dateTime>
      <outs:isPinned>true</outs:isPinned>
    </outs:relatedDate>
    <outs:relatedDate>
      <outs:type>2</outs:type>
      <outs:displayName>Created</outs:displayName>
      <outs:dateTime>2002-05-03T03:00:09Z</outs:dateTime>
      <outs:isPinned>true</outs:isPinned>
    </outs:relatedDate>
    <outs:relatedDate>
      <outs:type>4</outs:type>
      <outs:displayName>Last Printed</outs:displayName>
      <outs:dateTime>2002-05-24T21:26:29Z</outs:dateTime>
      <outs:isPinned>true</outs:isPinned>
    </outs:relatedDate>
  </outs:relatedDates>
  <outs:relatedDocuments>
    <outs:relatedDocument>
      <outs:type>2</outs:type>
      <outs:displayName>Other documents in current folder</outs:displayName>
      <outs:uri/>
      <outs:isPinned>true</outs:isPinned>
    </outs:relatedDocument>
  </outs:relatedDocuments>
  <outs:relatedPeople>
    <outs:relatedPeopleItem>
      <outs:category>Author</outs:category>
      <outs:people>
        <outs:relatedPerson>
          <outs:displayName>Eric Larrabee</outs:displayName>
          <outs:accountName/>
        </outs:relatedPerson>
      </outs:people>
      <outs:source>0</outs:source>
      <outs:isPinned>true</outs:isPinned>
    </outs:relatedPeopleItem>
    <outs:relatedPeopleItem>
      <outs:category>Last modified by</outs:category>
      <outs:people>
        <outs:relatedPerson>
          <outs:displayName>e43180838</outs:displayName>
          <outs:accountName/>
        </outs:relatedPerson>
      </outs:people>
      <outs:source>0</outs:source>
      <outs:isPinned>true</outs:isPinned>
    </outs:relatedPeopleItem>
    <outs:relatedPeopleItem>
      <outs:category>Manager</outs:category>
      <outs:people/>
      <outs:source>0</outs:source>
      <outs:isPinned>false</outs:isPinned>
    </outs:relatedPeopleItem>
  </outs:relatedPeople>
  <propertyMetadataList xmlns="http://schemas.microsoft.com/office/2009/outspace/metadata">
    <propertyMetadata>
      <type>0</type>
      <propertyId>2228224</propertyId>
      <propertyName/>
      <isPinned>true</isPinned>
    </propertyMetadata>
    <propertyMetadata>
      <type>0</type>
      <propertyId>1114115</propertyId>
      <propertyName/>
      <isPinned>true</isPinned>
    </propertyMetadata>
    <propertyMetadata>
      <type>0</type>
      <propertyId>1114117</propertyId>
      <propertyName/>
      <isPinned>true</isPinned>
    </propertyMetadata>
    <propertyMetadata>
      <type>0</type>
      <propertyId>589825</propertyId>
      <propertyName/>
      <isPinned>false</isPinned>
    </propertyMetadata>
    <propertyMetadata>
      <type>0</type>
      <propertyId>1114116</propertyId>
      <propertyName/>
      <isPinned>false</isPinned>
    </propertyMetadata>
    <propertyMetadata>
      <type>0</type>
      <propertyId>14</propertyId>
      <propertyName/>
      <isPinned>true</isPinned>
    </propertyMetadata>
    <propertyMetadata>
      <type>0</type>
      <propertyId>8</propertyId>
      <propertyName/>
      <isPinned>true</isPinned>
    </propertyMetadata>
    <propertyMetadata>
      <type>0</type>
      <propertyId>6</propertyId>
      <propertyName/>
      <isPinned>false</isPinned>
    </propertyMetadata>
    <propertyMetadata>
      <type>0</type>
      <propertyId>1114118</propertyId>
      <propertyName/>
      <isPinned>false</isPinned>
    </propertyMetadata>
    <propertyMetadata>
      <type>0</type>
      <propertyId>1179649</propertyId>
      <propertyName/>
      <isPinned>false</isPinned>
    </propertyMetadata>
    <propertyMetadata>
      <type>0</type>
      <propertyId>655365</propertyId>
      <propertyName/>
      <isPinned>false</isPinned>
    </propertyMetadata>
    <propertyMetadata>
      <type>0</type>
      <propertyId>1</propertyId>
      <propertyName/>
      <isPinned>false</isPinned>
    </propertyMetadata>
    <propertyMetadata>
      <type>0</type>
      <propertyId>0</propertyId>
      <propertyName/>
      <isPinned>true</isPinned>
    </propertyMetadata>
    <propertyMetadata>
      <type>0</type>
      <propertyId>13</propertyId>
      <propertyName/>
      <isPinned>false</isPinned>
    </propertyMetadata>
    <propertyMetadata>
      <type>0</type>
      <propertyId>1179653</propertyId>
      <propertyName/>
      <isPinned>false</isPinned>
    </propertyMetadata>
    <propertyMetadata>
      <type>0</type>
      <propertyId>22</propertyId>
      <propertyName/>
      <isPinned>false</isPinned>
    </propertyMetadata>
  </propertyMetadataList>
  <outs:corruptMetadataWasLost/>
</outs:outSpaceData>
</file>

<file path=customXml/item17.xml><?xml version="1.0" encoding="utf-8"?>
<TemplafySlideFormConfiguration><![CDATA[{"formFields":[],"formDataEntries":[]}]]></TemplafySlideFormConfiguration>
</file>

<file path=customXml/item18.xml><?xml version="1.0" encoding="utf-8"?>
<PpStyles><![CDATA[{
	"Styles": [
		{
			"Base64Png": "data:image/png;base64,iVBORw0KGgoAAAANSUhEUgAAAEIAAAAMCAYAAADWBmv0AAAAAXNSR0IArs4c6QAAAARnQU1BAACxjwv8YQUAAAAJcEhZcwAADsMAAA7DAcdvqGQAAAEcSURBVEhL7ZVREsUQDEWtKwuyHquxGYvJI+WRoGVopx+9M/lokd4coQo/kV4FwmqFStv4VD/fqW0gnAFUyhsvY7KIp0BQXqWxzJxBOIMaYgEKUFsXB8ZEIMBgXmVR+1xgxvOsgrief3g6amyB8BDgPyHHzGbUINYL2Q2CxoNHq9sgmm0dYsJEBSLCzSkcGt9xLKUwdA3iyJE9prXyvY8z77eDkOtZh6yCiMUW4xJ+Da6jHoi0e7KQkZxJVUd4kTGxayznDAjyCMivnHDm87t1EEHbL0svdjx2gEj+eKQpe0As6hkQsiO4XguCjHXPcPqVDYKIIM8Kld/r6nYQRbtSVKbEf5x2eRREUIRRfqMsqDw+DWCUj60NEboM8QfnhFqp5Fs7pAAAAABJRU5ErkJggg==",
			"Name": "Bullet 1",
			"Paragraph": {
				"Font": {
					"Name": "+Body",
					"NameFarEast": "+Body Asian",
					"Size": 16.0,
					"Bold": false,
					"Italic": false,
					"Underline": false,
					"Color": "Black",
					"SmallCaps": false,
					"AllCaps": false
				},
				"Alignment": 0,
				"IndentBefore": 14.4,
				"FirstLineIndent": -14.4,
				"ParagraphSpacing": null
			},
			"List": {
				"Visible": true,
				"BulletType": 1,
				"StartValue": 1,
				"IndentLevel": 1,
				"Character": 61591,
				"CharacterFont": "Wingdings 2",
				"BulletStyle": null,
				"BulletSize": 0.75,
				"BulletColor": "Black"
			}
		},
		{
			"Base64Png": "data:image/png;base64,iVBORw0KGgoAAAANSUhEUgAAAEYAAAAMCAYAAADf7cuOAAAAAXNSR0IArs4c6QAAAARnQU1BAACxjwv8YQUAAAAJcEhZcwAADsMAAA7DAcdvqGQAAAESSURBVEhL7ZSBDcQgCEWdy4Gcx2m6jMNwYDEC2tamp3eX3E9ogrUVHqCDv7r6ajBbcODCxl7rz9Q0MCl6cA4TkXYzqelgUgR/EN9cMD5CYh/TgoCH+1hXrvQUzPl+iifgk8WQSnwLwTxP7L1gWsn968BwRWqcCaKXPmoL2NK1itdg9n/UcS3f2nU09V1f68DIwMhUBz0Fw8mL97YYLcgTmcIxmH3+m0SUiXkc0OEomaqquO+AyYl40FcW5VHXxsG0kJfeMboq7wCDfsfKllEweZ+J9cfB2I7RGgGT93SmYSkYWxkdeBnnQTAM9ixxe55Vft+BQvrg5UuSdxsGmLtgFAyJ4cgzZKJy3CzAw1GkLgR4AdTlUaRXk5pQAAAAAElFTkSuQmCC",
			"Name": "Bullet 2",
			"Paragraph": {
				"Font": {
					"Name": "+Body",
					"NameFarEast": "+Body Asian",
					"Size": 16.0,
					"Bold": false,
					"Italic": false,
					"Underline": false,
					"Color": "Black",
					"SmallCaps": false,
					"AllCaps": false
				},
				"Alignment": 0,
				"IndentBefore": 29.52,
				"FirstLineIndent": -14.4,
				"ParagraphSpacing": null
			},
			"List": {
				"Visible": true,
				"BulletType": 1,
				"StartValue": 1,
				"IndentLevel": 2,
				"Character": 8211,
				"CharacterFont": "Arial",
				"BulletStyle": null,
				"BulletSize": 1.0,
				"BulletColor": "Black"
			}
		},
		{
			"Base64Png": "data:image/png;base64,iVBORw0KGgoAAAANSUhEUgAAAEYAAAAMCAYAAADf7cuOAAAAAXNSR0IArs4c6QAAAARnQU1BAACxjwv8YQUAAAAJcEhZcwAADsMAAA7DAcdvqGQAAAEVSURBVEhL7ZTtDcQgCIady4Gcx2lcxmE4tHgC2q+0em1yb+IPFQUeEQN/dfVoMMEZMC7QrJ2P1DAw0VswBhPh42RSw8FED5bHZz1E2hoLhjnCtMChc+vryp6ugtm2j+CthRqOjG8imOuJ3QumFbefB4bKtsaZXozPUcFhSTt8uzLdA7PcUb9rOavXcYhzHan45vYYUUFXwVDybF8/RgtSSfUYbkpglv8lkmhGDfiIVr+SelUR9xkwOSneI5JSHnVtF4wQMSD7qT2mvNDi+w4wOO+MYnIODIr5fzkYXTFSrwGTA13tAeU7HwRDYLcS1/6EElixJ+/7YfNN4r0NgeQqOAomiZLhPtj5UqF5vQMw38fPfm0APk2IT/NI7Ja0AAAAAElFTkSuQmCC",
			"Name": "Bullet 3",
			"Paragraph": {
				"Font": {
					"Name": "+Body",
					"NameFarEast": "+Body Asian",
					"Size": 16.0,
					"Bold": false,
					"Italic": false,
					"Underline": false,
					"Color": "Black",
					"SmallCaps": false,
					"AllCaps": false
				},
				"Alignment": 0,
				"IndentBefore": 44.64,
				"FirstLineIndent": -14.4,
				"ParagraphSpacing": null
			},
			"List": {
				"Visible": true,
				"BulletType": 1,
				"StartValue": 1,
				"IndentLevel": 3,
				"Character": 8211,
				"CharacterFont": "Arial",
				"BulletStyle": null,
				"BulletSize": 1.0,
				"BulletColor": "Black"
			}
		},
		{
			"Base64Png": "data:image/png;base64,iVBORw0KGgoAAAANSUhEUgAAAEcAAAAMCAYAAAAwL6CwAAAAAXNSR0IArs4c6QAAAARnQU1BAACxjwv8YQUAAAAJcEhZcwAADsMAAA7DAcdvqGQAAAEbSURBVEhL7ZQBEgMRDEWdy4Gcx2lcxmHSCFnEUu2W7XT6ZzI77Nr8PEHBX119PRxnFCjj0qgdr9RSON5qUAqLKePFwvbBcWDIowbr48x6ONpCyoWKBjRnn9BVOLPfR68a9H1wrhe3BI63EYpLz1vgkAkF2asHq8sxyhlsbYM9xsNncOI/8tHltXIeowMp/JO6mSFtg1OaC1F10lU4CUDxXm5IC1OIgKR853D4MhpFNjyr7rESu/s2HFFMVKglz43hxPzHHbi9cwScaICBfAIOjk+CPxnCCbmaY/9TcGTn1BrBoXcC6hG4ZjscMlTM1eb5eE/CSXB7xQfJfENt7xy5I43R8r5DKGRwFk5QAlTmKNZzp9L8ACKpggPwAFuwdq75lOVpAAAAAElFTkSuQmCC",
			"Name": "Bullet 4",
			"Paragraph": {
				"Font": {
					"Name": "+Body",
					"NameFarEast": "+Body Asian",
					"Size": 16.0,
					"Bold": false,
					"Italic": false,
					"Underline": false,
					"Color": "Black",
					"SmallCaps": false,
					"AllCaps": false
				},
				"Alignment": 0,
				"IndentBefore": 59.76,
				"FirstLineIndent": -14.4,
				"ParagraphSpacing": null
			},
			"List": {
				"Visible": true,
				"BulletType": 1,
				"StartValue": 1,
				"IndentLevel": 4,
				"Character": 8211,
				"CharacterFont": "Arial",
				"BulletStyle": null,
				"BulletSize": 1.0,
				"BulletColor": "Black"
			}
		},
		{
			"Base64Png": "data:image/png;base64,iVBORw0KGgoAAAANSUhEUgAAAEcAAAAMCAYAAAAwL6CwAAAAAXNSR0IArs4c6QAAAARnQU1BAACxjwv8YQUAAAAJcEhZcwAADsMAAA7DAcdvqGQAAAESSURBVEhL7ZbtDcQgCIady4Gcx2lcxmE4RIyg/bDt2V6aexN/4BfwFEkN/LWqn4cTnAHjAlu9PVNT4URvwRhMRo6Dic2GQ/c1MVofaW0+HOshu0oK4ITzEV2Fs7d/a/1mONeTey+c6MFi5dRYIngrbVRwWNoOa6yYe3DyHfVZlLPtPI4FCM/CkcGloSrpKhwGINbbD7KVfBKtr8THcHIvUJu6UQMe1eqzar7uaThUiRZ0C0u51Lk9OFoMm2O+vefkhAqQb8BBe2GULcfgoMh/hvsCOG3laJ2Dk/3fDoeCFXM6+PK8B+Ew3K3kW39KCYQ6y/557uGGnCT7HUKhahiFk8SApA9xvlQqzXcQ+7P1HwzgA/54e/CsugoxAAAAAElFTkSuQmCC",
			"Name": "Bullet 5",
			"Paragraph": {
				"Font": {
					"Name": "+Body",
					"NameFarEast": "+Body Asian",
					"Size": 16.0,
					"Bold": false,
					"Italic": false,
					"Underline": false,
					"Color": "Black",
					"SmallCaps": false,
					"AllCaps": false
				},
				"Alignment": 0,
				"IndentBefore": 74.88,
				"FirstLineIndent": -14.4,
				"ParagraphSpacing": null
			},
			"List": {
				"Visible": true,
				"BulletType": 1,
				"StartValue": 1,
				"IndentLevel": 5,
				"Character": 8211,
				"CharacterFont": "Arial",
				"BulletStyle": null,
				"BulletSize": 1.0,
				"BulletColor": "Black"
			}
		},
		{
			"Base64Png": "data:image/png;base64,iVBORw0KGgoAAAANSUhEUgAAAFMAAAAOCAYAAABToiApAAAAAXNSR0IArs4c6QAAAARnQU1BAACxjwv8YQUAAAAJcEhZcwAADsMAAA7DAcdvqGQAAAGuSURBVFhH7ZWBjcMgDEUzFwMxD9NkmQzDYcwntoFA21Q6qfmSpSOA/f3i9Lb46DbdAHOPftvi5kI8yhOt2f6dOmJwqdbmYsjFSu3Np7++rxPmEaLLhTkcu1nQb8I8gmNWoi+GCZB1g0ytGvjPML8h1CjRwNw9b/gOPoCue4O3n5IGT885zlSzfZIxaGHAXwn11ci9NABeeUNeDAZ7cWFX9ZQXUyuHHITMI+Xf7QDaybQXSaswU/CR2T7WaNA2TP2INdWvnvpwqucK4hrm0EvplV9W60sJXBqYJAlUHlqFKZLi90QZFvsMq9xv8icVKPIRpO6Wc+ekWm8T+PSkyYe76OMdmJCAmk1+AJObXGmA1m2gJJ+XwXd1HdKHMEuvajLFWaUlmCQ0SN18AJOvrME8gWjpXLO798DMvedAno5GMMmwbAaToGDAUJ0kFML+4DzWowaa81oM0541zSN34+01mLrWROPJRNEz6iCSqkm+vHcaHP+HnMEkAZIMA6CE9+RF3L309uJkXvooaqa3RGq4/5n/qJqXDHBqssZ6YFbZKU7C1D8w31HnM18EGWOMf21UgWgAixKqAAAAAElFTkSuQmCC",
			"Name": "Subheading 1",
			"Paragraph": {
				"Font": {
					"Name": "+Body",
					"NameFarEast": "+Body Asian",
					"Size": 16.0,
					"Bold": true,
					"Italic": false,
					"Underline": false,
					"Color": "Black",
					"SmallCaps": false,
					"AllCaps": false
				},
				"Alignment": 0,
				"IndentBefore": 0.0,
				"FirstLineIndent": 0.0,
				"ParagraphSpacing": null
			},
			"List": {
				"Visible": false,
				"BulletType": 4,
				"StartValue": 1,
				"IndentLevel": 1,
				"Character": 8226,
				"CharacterFont": "",
				"BulletStyle": null,
				"BulletSize": null,
				"BulletColor": null
			}
		},
		{
			"Base64Png": "data:image/png;base64,iVBORw0KGgoAAAANSUhEUgAAAFMAAAAOCAYAAABToiApAAAAAXNSR0IArs4c6QAAAARnQU1BAACxjwv8YQUAAAAJcEhZcwAADsMAAA7DAcdvqGQAAAHLSURBVFhH7ZWNjcIwDIVvujsxSsUkwCLtImUPGMTEf6ntpE2EeqeT6JMikbpJnj875QsO7aYdYD5hHE5wmWVaqBXfWfMNvocJHjL9Sy0w0cTPKY/+5P83zPma8tkZ7mM8V1kxzOcEgwN4h0u3gQ/rTGRl9mewN8D0DMwzjE+aBVVgOMMaTwXI1bJ7teIofmepNpvLkmJr3HlxsbTvWOnM611mHV7CDaWR11dk2Mk112Rikig1IFNUBaZda6tVi/sEyzmtz/v7W+JjvPeQTQukBsx1L7g+5LEFEkXwbWeKaGOqhoXaB9NfY2uqsb56K3xSTvS+FMr+VjlvklOAue3F7Bf2KsX7aTEdTBV3VieMVZj6rCcBLaIdC0z2Y2OSMO6zJ8xQRL+2FMXNWVWY/tB3YXYWo9ZdVhHYr3cmFkvHuq8IEkUwsfLLdyeJElipkB4YYBadFOKtYrjzrQJM8pLnfAPy2sJb8N7ygr83OpEl+ZozVOEPSMcChsWmc7UKGOn92VbVVrSRACmen0YEIs+HcUpezP6um9JznMe1vTBxas6i4Xwm4fs2riOdsXLNP1P+RrEQ7uqtCTpgGvkuRnEnHzDfUvm56QUJAPACA7IatyGdQgcAAAAASUVORK5CYII=",
			"Name": "Subheading 2",
			"Paragraph": {
				"Font": {
					"Name": "+Body",
					"NameFarEast": "+Body Asian",
					"Size": 16.0,
					"Bold": false,
					"Italic": false,
					"Underline": false,
					"Color": "71, 71, 71",
					"SmallCaps": false,
					"AllCaps": false
				},
				"Alignment": 0,
				"IndentBefore": 0.0,
				"FirstLineIndent": 0.0,
				"ParagraphSpacing": null
			},
			"List": {
				"Visible": false,
				"BulletType": 4,
				"StartValue": 1,
				"IndentLevel": 1,
				"Character": 8226,
				"CharacterFont": "",
				"BulletStyle": null,
				"BulletSize": null,
				"BulletColor": null
			}
		},
		{
			"Base64Png": "data:image/png;base64,iVBORw0KGgoAAAANSUhEUgAAAFMAAAAOCAYAAABToiApAAAAAXNSR0IArs4c6QAAAARnQU1BAACxjwv8YQUAAAAJcEhZcwAADsMAAA7DAcdvqGQAAAHZSURBVFhH7ZXLbcMwDIa7TFZI1sgCmSPX7OGb0RF8zcHICBkg8AbZgBUfkklKtgXDLQrEP2DAsh78+ZFKvmDXZtoA5guelwM8ehlmWprfWP0Vvi8NvGX4lxphoonTIT31yf9vmMMt5LMx3Hd7HlkdrzDId4Y5NNAddcJ3eFQb+LTOtGyoWLc7vSuYZ3hGxEYFGMZwnA9BQkG4WvqspXkUrylVmyTFjvPGi57Dc9tCZ0qyVV7cDaUn7c9FXSrx5JpLMkWg0YAMUQWYei8FSEDyeZtgPtYGfSfYOT67a180orUISa0vwZz2gvtdHjMgY7wY3/wB0cFZtepg2musTS3sL94Km5QRrZdC6fco483DqvGiznNnJeH3QtcamFHcWZUwJmHGbzUJiDH9KJjkx8xJwnjOljBdEe3espgVeyjCtEHXwqwsRqm7tDywX+9MKZgu2pxoD+dKMJHu+LsTRAlMVCgGdDCzTpqDbRLmeRNfy8EkL2nMNyDtzbw570te8H2hEymGWlPoTAGSKjKCYbHpVK0MRljfq6qaii7BRLn4+Hgg8r1rm+BFna+7Cb/jeC3MIB2LHuMTNc1q4pp/puyNYiHcyVvjtMNUsl2M4i7cYa5S/nNTCxIA4AdU80NFxvAtWgAAAABJRU5ErkJggg==",
			"Name": "Subheading 3",
			"Paragraph": {
				"Font": {
					"Name": "+Body",
					"NameFarEast": "+Body Asian",
					"Size": 16.0,
					"Bold": false,
					"Italic": false,
					"Underline": false,
					"Color": "0, 0, 0",
					"SmallCaps": false,
					"AllCaps": false
				},
				"Alignment": 0,
				"IndentBefore": 0.0,
				"FirstLineIndent": 0.0,
				"ParagraphSpacing": null
			},
			"List": {
				"Visible": false,
				"BulletType": 4,
				"StartValue": 1,
				"IndentLevel": 1,
				"Character": 8226,
				"CharacterFont": "",
				"BulletStyle": null,
				"BulletSize": null,
				"BulletColor": null
			}
		},
		{
			"Base64Png": "data:image/png;base64,iVBORw0KGgoAAAANSUhEUgAAAIYAAAARCAYAAAAYGtRqAAAAAXNSR0IArs4c6QAAAARnQU1BAACxjwv8YQUAAAAJcEhZcwAADsMAAA7DAcdvqGQAAALMSURBVGhD7ZjrkYUgDIWti4Koh2psxmLYPMiVR8QbF1Z3xjPjDxUIOfnAxxJfvVL0XDBWHxcX4pZOz7VGv7gYvu9ws7T5PieHIWBswcVlWU4Pv6YO3+huMDC+koNzPq7biCAPA2PD2JBj8nzOjrGF6BYwMJ1e0iPAqHPYwD8PuRkhVzUHDJqfdXJUrwT/C8aJVDCSzHPTNAkM3L0tYCQoHARd/QvGuXpgjMhPne/fg4HtEQrUrWBsa4jewWRk60JafYDndmog+oCBJOfvMNAXEm+9OzIV+gfe/vN4bf9KVjB67SFacPXjxwLGeQ5U1Ow+HzbIbgQDDPI+hoKCcgv7iMDwDFHIQKCxlfYHprJhcP0TU+IdFTGpU2haldp8J4FhycH8KMmU12EHAwz3MHkhzTdL2KDOjqELDamMI6P52dcowXFqNI3RGo3GYqHUsUVaoeFrhHcvZcxZYBhzGAuGrMLquDh+Gs8ChmLcoSEobl8aUJuqtdmlrvpcFL/0gw76XE1tck0Bw57DUDBoMM2EiwGGgdEpXJ4EqzYVzzu7QreQIPU+fq7yztqMOwUMew7/FwzcjvFFCt4d6ngWMNrVoptaxygPKxgipagTwdDnLsdEMLiQdcA6EYOOwCDzYAXQVwh+b4jm7RiXc+gWmuMXK3kiGJYcxoKBgmLOffnkJPVt8QCMxjgRty8NqE3V2hhkBaO3S6bcy6nU80X9PofxYIxUBwx1ztReA+MAJK29YjQ/Io+L21UPDIp/VtRMKZez+Y7I4R+CIYHhep44tPUe/1coYPT+YzTJa0anFYfXy6AwvNeLKNLAwMcfXMf4GrCUH/bJQ2F7zAPuXQHDnIPMu77+hW4DA5PE/wD7+4z8xeTkWzBwknCv+vPpc1A+0kxFycuu9Je48J6TWqgig/M+WT8oiq4UK+vD7dn0a2CgLDmwx9KuWT8d7WDE+AOQ0ALhJWYy5wAAAABJRU5ErkJggg==",
			"Name": "Table Bullet 1",
			"Paragraph": {
				"Font": {
					"Name": "+Body",
					"NameFarEast": "+Body Asian",
					"Size": 16.0,
					"Bold": false,
					"Italic": false,
					"Underline": false,
					"Color": "Black",
					"SmallCaps": false,
					"AllCaps": false
				},
				"Alignment": 0,
				"IndentBefore": 14.4,
				"FirstLineIndent": -14.4,
				"ParagraphSpacing": {
					"Before": 1.5,
					"After": 1.5,
					"LineSpacing": 1.0,
					"MeasureInLines": true
				}
			},
			"List": {
				"Visible": true,
				"BulletType": 1,
				"StartValue": 1,
				"IndentLevel": 1,
				"Character": 61591,
				"CharacterFont": "Wingdings 2",
				"BulletStyle": 0,
				"BulletSize": 0.75,
				"BulletColor": "Black"
			}
		},
		{
			"Base64Png": "data:image/png;base64,iVBORw0KGgoAAAANSUhEUgAAAI0AAAARCAYAAADg+i+dAAAAAXNSR0IArs4c6QAAAARnQU1BAACxjwv8YQUAAAAJcEhZcwAADsMAAA7DAcdvqGQAAALkSURBVGhD7ZiLsaQgEEWNi4CIh2hIxmDY/jFC26A4srq1c6uoek+B/h2BYUk//TSofwea6NPiQlrl32PF5BeXwvkBD8vy950xTIFmDS4ty3LYfJQBZ/Q0NGjfiME5n+J6h5E3QLOmNYbkXVk/l5yv8/53Vpo1JLdAcuXfS3oFNDoGTLKH2AY/AFNzoCH/zjqHddIfwRpTcAjPFvsPmrMyoREN+2ZpEjS46n9LNNUPVlVx5AfNWfWguSM+09+XQANZp9VG5nkcmryHIsmfcwLsoVEn6gPNCn/qPTcaMLUSDuMDbymlvcO6jELT6w/WsAh1LUegOY4h+u3d1q4C+CpowBnvU6gIQSjAQb2qEDSeAQsFJDS30b+RcE4mPP/YzPZaBRZ1IKCv2fJ3EjQjMfxH2xMmSyWVirA5XkmCOiwCzbEvAiYdi2jOnWVBAAdGXvWMOWdBMxjDHdAwpFssL4XGSGozWSjuXydHJ9zqs8lcLUqRfUyeavRrQ/qUmgLNeAxfQyNxlzAKNOicSka3jQAAuguaTlF5eS7f64RzjM3VpFtkkPk+32sY806BZjyGr6CRFVyPfx4aXOLxUFddKHEbgWb/ldkJ1zbq1omrC4G2BZoIje17brXN69BkW/sYnt2eKLHw5dCvJfxdlDVvpbmUP1QXArZfrQAToRmJ4Ro07B/5X/nDehAaToC91Dag2SU1S4KsB6iEW30GNApNd0u2iq/9RX0fwxVo+ODbyvULoDHjof4WNA3IrP5GESiBncJ31YOG7B8VvJDEcuTvHTGMQsPzN+oienR74i0FnpdJgb7e432MAU3vnmYXpVWEvOzC89ooTO/tAmdZ0OCWCs/RvgUzf7EqPuyPccC7K9AMx5D91s8NnQEG9eyZBhKA9xxUdGr5dpcTs4cGzyzwTt0I+xKij6yEo/LBO4/PduFcJT1MUfLLMcU4KJgtsVWM4f443VVoUCMxcI5zvzYQGcZeQ19S+gMZ9c04XbMr8QAAAABJRU5ErkJggg==",
			"Name": "Table Bullet 2",
			"Paragraph": {
				"Font": {
					"Name": "+Body",
					"NameFarEast": "+Body Asian",
					"Size": 16.0,
					"Bold": false,
					"Italic": false,
					"Underline": false,
					"Color": "Black",
					"SmallCaps": false,
					"AllCaps": false
				},
				"Alignment": 0,
				"IndentBefore": 29.52,
				"FirstLineIndent": -14.4,
				"ParagraphSpacing": {
					"Before": 1.5,
					"After": 1.5,
					"LineSpacing": 1.0,
					"MeasureInLines": true
				}
			},
			"List": {
				"Visible": true,
				"BulletType": 1,
				"StartValue": 1,
				"IndentLevel": 2,
				"Character": 8211,
				"CharacterFont": "Arial",
				"BulletStyle": 0,
				"BulletSize": 1.0,
				"BulletColor": "Black"
			}
		},
		{
			"Base64Png": "data:image/png;base64,iVBORw0KGgoAAAANSUhEUgAAAI0AAAARCAYAAADg+i+dAAAAAXNSR0IArs4c6QAAAARnQU1BAACxjwv8YQUAAAAJcEhZcwAADsMAAA7DAcdvqGQAAALySURBVGhD7Vjtsa0gDLQuC6IeqrEZiuHli2PAiKLy8M64M/xQA0mWJSBT/PChEX9HNIuL0+xjkMdjLNFNc/TnOwyGFe87c+gimuDnOE3TYXOLdDiD0aJB/0YO8+ziEp5w8gbRhLh4Bznl84c5+mUN4v9UmuDjPAG58ngJrxBNmUOIAd7PQGzTAjDRRzQU3+ngQvQuFwgLiUU0SyCfaM7CFI2gOTYLnUSDE35f0bJ7cP6faM6iJpon8jPjfY9oOEeOZbhowuKjgz0US/xvD3UezglikPATDZRLp/dc6AukbHndI1z27cLf4by0iqZmD978XG5pLaI5zmFx67e13RAg5fMK0ezsoZhwWVVINI4F5pVIaGzDfodwJhPe/3wmf3sTLKiIgFazFW8n0bTk8EylkfFlnJduT0hWQSpNwnoYyyDCOZwEtVpy8CSaYydYIoC/Jq56xpi9RNOYwz3R4EGfdwKnxn2paAxSd8lCsH1OTkm4ZbPCrBYa5B9XeNHol1tsNLqIpj2HK6LhSpbnaPxyY3CFYbW1CADwlGgqk8rlWX8vCeccd6tJdZIB5ve0Eo1xu4imPYfb29Ovmq5+x4sGgzIulLC1iGa7ymzCSx95q+RVFUHpC9BRNHbsqeU+b4tGQOPI2GO3JyIWFEx/S/hflNCv0lzmryoC9p9VgI6iacnhKdHwHHIsA0XDBNildkc0G1IT2D4npyTcsmlAq2iqW7I1+WW8iPs5PCYaxf9w0Zj5kL0lmh2RWfbGJOgS24yaaMj/0YQrSC5H8T6Rw1Oi0ZV86PbEgcB7TQrYOof3MYZowHb3nmZDjDUJslLxfe4Uhoc/hMy2gCUa3FLhPfq3xEz5YR/tCu0xD/h2RTTNOaS4y/cGApwtHXKrbcMSfXGtMPZMAwTgyZwmnVq63WVitqJBpcO34kaYEhWzFRbhiHTwTv2TXzhXiYUJIl/3Uf0yljXEl+rD9jjcVdEgWnJgjpPdZm0ppDuZdUxodEej+Y3xH9yq0InskK8kAAAAAElFTkSuQmCC",
			"Name": "Table Bullet 3",
			"Paragraph": {
				"Font": {
					"Name": "+Body",
					"NameFarEast": "+Body Asian",
					"Size": 16.0,
					"Bold": false,
					"Italic": false,
					"Underline": false,
					"Color": "Black",
					"SmallCaps": false,
					"AllCaps": false
				},
				"Alignment": 0,
				"IndentBefore": 44.64,
				"FirstLineIndent": -14.4,
				"ParagraphSpacing": {
					"Before": 1.5,
					"After": 1.5,
					"LineSpacing": 1.0,
					"MeasureInLines": true
				}
			},
			"List": {
				"Visible": true,
				"BulletType": 1,
				"StartValue": 1,
				"IndentLevel": 3,
				"Character": 8211,
				"CharacterFont": "Arial",
				"BulletStyle": 0,
				"BulletSize": 1.0,
				"BulletColor": "Black"
			}
		},
		{
			"Base64Png": "data:image/png;base64,iVBORw0KGgoAAAANSUhEUgAAAI8AAAARCAYAAADkD/+gAAAAAXNSR0IArs4c6QAAAARnQU1BAACxjwv8YQUAAAAJcEhZcwAADsMAAA7DAcdvqGQAAALwSURBVGhD7ZgJkq0gDEVdFwtiPazGzbAYfhLAZrigsR+tv+rdKqv7aSADh0G38NVXN/V/wbPbsBkXfPp5rj3YzQR3vcHDQvG+N4dl8HhnwrZtp5fdU4Mrehoe9g9yMMaG3X/CyVvh4Rg41zqOv1t5vAtmoyKnn7f0CnjaHHzwdN9QcVUTAWoNPBLfL4LbbZ4oX3juC8KTpI4NaRE8vAvchUdyJv8u/S3i+MKj0QyeT+QH430SHh+coW2ZnWeIijheAY/fXbDGyNJ/nCOso3NEMsg64PH0b3mmorZUnL6+o8JTe5pJrb++fSMtPDN78sYDU4+pBp7zHH62m/K6DqJAlyfrO+GhIlobXEUKw0GJtquMwGMjaK6ARfoG9oPCx6LS/cNn9jca6KQJDFWhsxbCo8nh1sqTano0eyc8I3HRmuJKAmkZbdUmKwKFB0WIKpbokRAM9JYVV0HQ5yp4lDno4Yn9VG2AzxfDA4o7LBoLJNwVHtn8CK4epcQ/z/jmklf1ZFNqCTz6HNTwoLjH8HCATUGmlwaCpE/BMxncfqtrCx/zHK4u08Emwef8qs5nNtDvtL+78Ohz0MET++/Mpd83wsNLPx/+6CzT+tLA0886XPjWR31NcpvC0PoiLYQHx56v2qcGnn4CJo3h+QON4JGgaCbJ2xW/R2WtW3ku1rHXFIbov1oRFsKjyeEyPACQQ+DZw/DEQuAleADPKLlkXxepLTyyUUgLz3SrRhC08bJ+n8NVeMSOYrpycXevgAfmJfYIngFsyB4MRizQGICpZvCI/7OBL5RyOYv3EzlcXnlmAhP38W0rbjV0vywO2VrL33MAPLPvPF2B0GCkmcv3a6fUvcUDnYXg4a2W7rN/BLXkx21KV2zPedCzO/Coc8hxt/c1kj7qOJ4/81Ah+DuJDL5c+WtxLFAPD59p6FnzhdmWMB1ChWflA3pun/3SuStZQEkByzZFOxo4rOSraBPtubu78LA0OcQaZ7tujl1RB08I/wCGBTyIy/RCBAAAAABJRU5ErkJggg==",
			"Name": "Table Bullet 4",
			"Paragraph": {
				"Font": {
					"Name": "+Body",
					"NameFarEast": "+Body Asian",
					"Size": 16.0,
					"Bold": false,
					"Italic": false,
					"Underline": false,
					"Color": "Black",
					"SmallCaps": false,
					"AllCaps": false
				},
				"Alignment": 0,
				"IndentBefore": 59.76,
				"FirstLineIndent": -14.4,
				"ParagraphSpacing": {
					"Before": 1.5,
					"After": 1.5,
					"LineSpacing": 1.0,
					"MeasureInLines": true
				}
			},
			"List": {
				"Visible": true,
				"BulletType": 1,
				"StartValue": 1,
				"IndentLevel": 4,
				"Character": 8211,
				"CharacterFont": "Arial",
				"BulletStyle": 0,
				"BulletSize": 1.0,
				"BulletColor": "Black"
			}
		},
		{
			"Base64Png": "data:image/png;base64,iVBORw0KGgoAAAANSUhEUgAAAI4AAAARCAYAAAALzZSeAAAAAXNSR0IArs4c6QAAAARnQU1BAACxjwv8YQUAAAAJcEhZcwAADsMAAA7DAcdvqGQAAALTSURBVGhD7ZiBkYQgDEWti4Koh2pshmK4JARFCLDx5PTu/DPO7CqQ5PMEdQmvXp3Q7wJntWExLnj+O9Ya7GKC+7zDzZLyfWYN08DxzoRlWYaHXbnDJ7obHIwv1GCMDau/IsgTwPHBmbrG7WD/f27F8S6YBQzmv6f0CHDKGnzwcN6AqaqbQNQccCi/j5OL4Iyav+BoJILDUucmaRI4uPorwTGDgC84GvXAuaI+Md8XnKaxfnXBGkPLfdpLjXXw3MANkjZwPPzMn6GgLxhTl9oyHfq7uL3k8YZzowWn1x6i1VuCBpxxDavdr+3HCMJfAw4kam1wB0oQDCiyXF0IHBshcxkoNLbQvmF6NBTObzFTvNYkszog0F0t5TsJHE0N/2yrQsMKY2kiGkUxPMOJoDHqifjIMAkEeJuKq58w5ixwlDWcAadaqeBmtdnN/WBwBGObhqG44GOHwnSpzS5x1chF8TMzN1OhLqnTFHD0NejAkbS/Oaa3MwYHkyvM6B4aAFhXgdOZ2Hp7K02PdTZXle5Eg8TraCo+ownjTgFHX8P3wWHR2DGXZ4CDyz0+6MFyWMbSgFPfbbLpZYzj0amtC0IZCzQRHDn3dBxjXgYOx0Zo79+qyFxcAvEtCt+XkuatOKc97IIQ4x9WgongaGr4g+DsidRqgFMZmxTbHw0qTZfaKKQFp7s9SwCU+aK+X8PV4OBQjwBHrInaS+A0QJPaCxNBJnYmv6seOBR/NOmZuJZRvlfUcBU4edzbt6rt20NuDLS1Fr/XCOD0vuNU5kgTwXcsnj8GheGtPMlJEji4vcJ5euMQOlN92CcPhe2xDrh2Bhx1DSnv8rwk8r74+ErjIjT4Sh5P3f+MAyZgUjTxdKSvwNGcGhx8hoFrxZdjm4O0STIdlR7GU/8UFwzjFqJoAvI+WT8wVxbHyvrE9jjcWXBQmhrSxMd2x5ilVvA9n49s3C2HEL4AEMIRHLTx4HYAAAAASUVORK5CYII=",
			"Name": "Table Bullet 5",
			"Paragraph": {
				"Font": {
					"Name": "+Body",
					"NameFarEast": "+Body Asian",
					"Size": 16.0,
					"Bold": false,
					"Italic": false,
					"Underline": false,
					"Color": "Black",
					"SmallCaps": false,
					"AllCaps": false
				},
				"Alignment": 0,
				"IndentBefore": 74.88,
				"FirstLineIndent": -14.4,
				"ParagraphSpacing": {
					"Before": 1.5,
					"After": 1.5,
					"LineSpacing": 1.0,
					"MeasureInLines": true
				}
			},
			"List": {
				"Visible": true,
				"BulletType": 1,
				"StartValue": 1,
				"IndentLevel": 5,
				"Character": 8211,
				"CharacterFont": "Arial",
				"BulletStyle": 0,
				"BulletSize": 1.0,
				"BulletColor": "Black"
			}
		}
	]
}]]></PpStyles>
</file>

<file path=customXml/item19.xml><?xml version="1.0" encoding="utf-8"?>
<TemplafyTemplateConfiguration><![CDATA[{"elementsMetadata":[{"type":"shape","id":"0be46523-7205-43b3-9a21-ba8cb3ad97d1","elementConfiguration":{"binding":"Form.Classification.Classification","disableUpdates":false,"type":"text"}},{"type":"shape","id":"b1d8c317-7288-4e57-a95d-a4438972ce49","elementConfiguration":{"binding":"Translations.Draft","visibility":{"action":"hide","binding":"Form.Draft.DraftChoice","operator":"equals","compareValue":"No"},"disableUpdates":false,"type":"text"}},{"type":"shape","id":"5f6bc046-b5ef-44e1-be82-e72143465eca","elementConfiguration":{"inheritDimensions":"inheritNone","height":"0.69 cm","binding":"Form.PPLogo.Pp_logo","visibility":{"action":"hide","binding":"Form.PPLogo.Pp_LogoSelection","operator":"notEquals","compareValue":"All pages"},"disableUpdates":false,"type":"image"}},{"type":"shape","id":"a442d606-2049-4a73-b349-f690af36ed8e","elementConfiguration":{"binding":"Translations.Draft","visibility":{"action":"hide","binding":"Form.Draft.DraftChoice","operator":"equals","compareValue":"No"},"disableUpdates":false,"type":"text"}},{"type":"shape","id":"b0d3e095-188c-4abd-95dc-71206e7ff6bb","elementConfiguration":{"binding":"Form.Classification.Classification","disableUpdates":false,"type":"text"}},{"type":"shape","id":"6ff2833a-017b-4d41-9604-112d0da24b09","elementConfiguration":{"binding":"Translations.PageHeading","disableUpdates":false,"type":"text"}},{"type":"shape","id":"e11bdf19-6cc6-4ce9-879e-c715f1e5ba96","elementConfiguration":{"binding":"Translations.Source","disableUpdates":false,"type":"text"}},{"type":"shape","id":"de6e168f-da86-4164-9416-c36419feb198","elementConfiguration":{"inheritDimensions":"inheritNone","height":"0.69 cm","binding":"Form.PPLogo.Pp_logo","visibility":{"action":"hide","binding":"Form.PPLogo.Pp_LogoSelection","operator":"notEquals","compareValue":"All pages"},"disableUpdates":false,"type":"image"}},{"type":"shape","id":"85924214-3228-402a-8565-70a819330684","elementConfiguration":{"binding":"Translations.Draft","visibility":{"action":"hide","binding":"Form.Draft.DraftChoice","operator":"equals","compareValue":"No"},"disableUpdates":false,"type":"text"}},{"type":"shape","id":"34b88d2b-ab78-4458-916f-e22255feaccd","elementConfiguration":{"binding":"Form.Classification.Classification","disableUpdates":false,"type":"text"}},{"type":"shape","id":"42073ede-d443-44ef-9256-cba2cd379d13","elementConfiguration":{"binding":"Translations.PresentationTitle","disableUpdates":false,"type":"text"}},{"type":"shape","id":"248c9d17-f531-4785-bc71-c15184ecb101","elementConfiguration":{"binding":"Translations.Infoline","disableUpdates":false,"type":"text"}},{"type":"shape","id":"8a1f154f-7123-428a-a6c1-92d84fcadd19","elementConfiguration":{"binding":"Translations.PresentationPresenter","disableUpdates":false,"type":"text"}},{"type":"shape","id":"ac1e810e-abfe-4d06-9757-2f754d25383f","elementConfiguration":{"binding":"Translations.PresenterFunction","disableUpdates":false,"type":"text"}},{"type":"shape","id":"81900973-614c-4d7b-8291-7580cdf3301a","elementConfiguration":{"binding":"Translations.PresentationPresenter","disableUpdates":false,"type":"text"}},{"type":"shape","id":"e9ab72ad-8237-410c-8544-405e8c6150a6","elementConfiguration":{"binding":"Translations.PresenterFunction","disableUpdates":false,"type":"text"}},{"type":"shape","id":"38f6cf7c-4d81-49ab-9573-ac5c765abc68","elementConfiguration":{"binding":"Translations.PresentationPresenter","disableUpdates":false,"type":"text"}},{"type":"shape","id":"a5cc9d49-b78e-45b5-85db-668919f7b451","elementConfiguration":{"binding":"Translations.PresenterFunction","disableUpdates":false,"type":"text"}},{"type":"shape","id":"8d4d1255-0a45-47ec-b69d-11aa066dd2d1","elementConfiguration":{"binding":"Translations.DatePp","disableUpdates":false,"type":"text"}},{"type":"shape","id":"64d0583d-10dd-4588-85ee-ec499d85dd77","elementConfiguration":{"inheritDimensions":"inheritNone","height":"1.55 cm","binding":"Form.PPLogo.Pp_logo","visibility":{"action":"hide","binding":"Form.PPLogo.Pp_LogoSelection","operator":"equals","compareValue":"No Logo"},"disableUpdates":false,"type":"image"}},{"type":"shape","id":"b7473bfc-8670-4cbd-b0fc-d0b7ae594d78","elementConfiguration":{"binding":"Form.Classification.Classification","disableUpdates":false,"type":"text"}},{"type":"shape","id":"3e463264-1407-40d5-a513-63205f825d39","elementConfiguration":{"binding":"Translations.Draft","visibility":{"action":"hide","binding":"Form.Draft.DraftChoice","operator":"equals","compareValue":"No"},"disableUpdates":false,"type":"text"}},{"type":"shape","id":"10914bf8-7a6c-497d-a3d9-6d6d4c106143","elementConfiguration":{"binding":"UserProfile.Language.Web","disableUpdates":false,"type":"text"}},{"type":"shape","id":"832160d9-29ca-46da-b9df-801d74a0b13d","elementConfiguration":{"binding":"UserProfile.Language.CompanyName","disableUpdates":false,"type":"text"}},{"type":"shape","id":"c61098dd-de06-4aae-b72c-0f9a04520fb3","elementConfiguration":{"binding":"UserProfile.Language.FullAddressLine","disableUpdates":false,"type":"text"}},{"type":"shape","id":"b571cb22-d4c0-4ba1-84b8-5d17963b6b05","elementConfiguration":{"binding":"UserProfile.Language.ReceptionPhone","disableUpdates":false,"type":"text"}},{"type":"shape","id":"57ef3ea8-4e47-48a0-9b6b-d3356178cc8c","elementConfiguration":{"binding":"UserProfile.Language.Endorsement","disableUpdates":false,"type":"text"}},{"type":"shape","id":"013964a2-5d09-439d-aa27-ab22d3729f02","elementConfiguration":{"binding":"UserProfile.Language.NameExtension","disableUpdates":false,"type":"text"}},{"type":"shape","id":"764a1e6e-1f85-4bf5-ac2b-d842e579cd2a","elementConfiguration":{"binding":"Translations.ContactInformation","disableUpdates":false,"type":"text"}},{"type":"shape","id":"68287180-4cb5-4d84-908b-d31c6c47bde3","elementConfiguration":{"inheritDimensions":"inheritNone","height":"0.69 cm","binding":"Form.PPLogo.Pp_logo","visibility":{"action":"hide","binding":"Form.PPLogo.Pp_LogoSelection","operator":"notEquals","compareValue":"All pages"},"disableUpdates":false,"type":"image"}},{"type":"shape","id":"77608c8d-1085-456b-9923-f48399c6183a","elementConfiguration":{"binding":"Translations.Draft","visibility":{"action":"hide","binding":"Form.Draft.DraftChoice","operator":"equals","compareValue":"No"},"disableUpdates":false,"type":"text"}},{"type":"shape","id":"d9ed52f6-47de-4719-a6a6-76fdc11fca63","elementConfiguration":{"binding":"Form.Classification.Classification","disableUpdates":false,"type":"text"}},{"type":"shape","id":"838721b8-b3a6-4903-9740-0c5d907d8a68","elementConfiguration":{"binding":"Translations.PageHeading","disableUpdates":false,"type":"text"}},{"type":"shape","id":"6558e057-464e-4ba5-b261-1817fc0ff5fe","elementConfiguration":{"inheritDimensions":"inheritNone","height":"0.69 cm","binding":"Form.PPLogo.Pp_logo","visibility":{"action":"hide","binding":"Form.PPLogo.Pp_LogoSelection","operator":"notEquals","compareValue":"All pages"},"disableUpdates":false,"type":"image"}},{"type":"shape","id":"4bf2d0ba-9e79-4e9e-8185-22695dcc2e36","elementConfiguration":{"binding":"Translations.Draft","visibility":{"action":"hide","binding":"Form.Draft.DraftChoice","operator":"equals","compareValue":"No"},"disableUpdates":false,"type":"text"}},{"type":"shape","id":"d775081f-bd49-44d7-b039-55234c7b195f","elementConfiguration":{"binding":"Form.Classification.Classification","disableUpdates":false,"type":"text"}},{"type":"shape","id":"55da31e3-579a-4f94-98c4-c1c1ce6102ce","elementConfiguration":{"binding":"Translations.PageHeading","disableUpdates":false,"type":"text"}},{"type":"shape","id":"4cf7d18d-9623-4d9a-be32-ab0959923088","elementConfiguration":{"binding":"Translations.LayoutHeading","disableUpdates":false,"type":"text"}},{"type":"shape","id":"91e1e67f-67e4-44e7-a89e-72342c301f1e","elementConfiguration":{"binding":"Translations.Source","disableUpdates":false,"type":"text"}},{"type":"shape","id":"bd75cbff-f23c-4e22-a7a9-7ceee7e1b70e","elementConfiguration":{"binding":"Translations.LayoutHeading","disableUpdates":false,"type":"text"}},{"type":"shape","id":"1a22cc4a-5036-41ad-b53b-b43ca1ce1c8d","elementConfiguration":{"binding":"Translations.Source","disableUpdates":false,"type":"text"}},{"type":"shape","id":"10e574de-e990-4067-9e2b-c9efb0f1a1ea","elementConfiguration":{"binding":"Translations.LayoutHeading","disableUpdates":false,"type":"text"}},{"type":"shape","id":"4695509b-b45f-446d-93f4-7250c102e461","elementConfiguration":{"binding":"Translations.Source","disableUpdates":false,"type":"text"}},{"type":"shape","id":"4aefb070-a15e-4172-8aa2-179fb0d9629c","elementConfiguration":{"inheritDimensions":"inheritNone","height":"0.69 cm","binding":"Form.PPLogo.Pp_logo","visibility":{"action":"hide","binding":"Form.PPLogo.Pp_LogoSelection","operator":"notEquals","compareValue":"All pages"},"disableUpdates":false,"type":"image"}},{"type":"shape","id":"70bc799a-3593-4c4f-96ce-90e4223566f7","elementConfiguration":{"binding":"Translations.Draft","visibility":{"action":"hide","binding":"Form.Draft.DraftChoice","operator":"equals","compareValue":"No"},"disableUpdates":false,"type":"text"}},{"type":"shape","id":"65197e8c-8aff-4cd4-b578-c62a6caec84d","elementConfiguration":{"binding":"Form.Classification.Classification","disableUpdates":false,"type":"text"}},{"type":"shape","id":"47eaad69-7dd8-4eb0-aded-ca4cec475a40","elementConfiguration":{"binding":"Translations.PresentationTitle","disableUpdates":false,"type":"text"}},{"type":"shape","id":"913eec2e-8102-4749-a3e5-2a2606ce2f0d","elementConfiguration":{"binding":"Translations.Infoline","disableUpdates":false,"type":"text"}},{"type":"shape","id":"99dcee93-a910-4035-8b3b-048a2fe9e9b0","elementConfiguration":{"binding":"Translations.PresentationPresenter","disableUpdates":false,"type":"text"}},{"type":"shape","id":"37d57b23-181f-40fd-8cfb-8037796512de","elementConfiguration":{"binding":"Translations.PresenterFunction","disableUpdates":false,"type":"text"}},{"type":"shape","id":"a31c8c7c-bb2c-4de0-aca8-042afac04284","elementConfiguration":{"binding":"Translations.PresentationPresenter","disableUpdates":false,"type":"text"}},{"type":"shape","id":"7ff2c5c2-bb23-4051-9921-aa61d7a2d8d0","elementConfiguration":{"binding":"Translations.PresenterFunction","disableUpdates":false,"type":"text"}},{"type":"shape","id":"bdf3bc75-42de-4ad4-be10-ac45a361cac6","elementConfiguration":{"binding":"Translations.PresentationPresenter","disableUpdates":false,"type":"text"}},{"type":"shape","id":"897ae128-90df-435d-954e-49ba25ef5cd3","elementConfiguration":{"binding":"Translations.PresenterFunction","disableUpdates":false,"type":"text"}},{"type":"shape","id":"c97c84f2-3762-4e90-addf-0cc5e4785804","elementConfiguration":{"binding":"Translations.DatePp","disableUpdates":false,"type":"text"}},{"type":"shape","id":"bfbbb7c4-7eb0-4b68-8037-af9476612319","elementConfiguration":{"inheritDimensions":"inheritNone","height":"1.55 cm","binding":"Form.PPLogo.Pp_logo","visibility":{"action":"hide","binding":"Form.PPLogo.Pp_LogoSelection","operator":"equals","compareValue":"No Logo"},"disableUpdates":false,"type":"image"}},{"type":"shape","id":"b306d81d-859c-41a6-a5bc-18e133eaecbc","elementConfiguration":{"binding":"Translations.Draft","visibility":{"action":"hide","binding":"Form.Draft.DraftChoice","operator":"equals","compareValue":"No"},"disableUpdates":false,"type":"text"}},{"type":"shape","id":"a4a55c8b-b68d-4b48-82f6-725eb2104f8f","elementConfiguration":{"binding":"Form.Classification.Classification","disableUpdates":false,"type":"text"}},{"type":"shape","id":"3f884dd2-66e1-4819-8f35-3377db464721","elementConfiguration":{"binding":"Translations.PresentationTitle","disableUpdates":false,"type":"text"}},{"type":"shape","id":"357d136f-3f3e-4947-b1d7-4c6a2fcad9e6","elementConfiguration":{"binding":"Translations.Infoline","disableUpdates":false,"type":"text"}},{"type":"shape","id":"f2954e74-e271-4746-9ba7-df0e9616e1cd","elementConfiguration":{"binding":"Translations.PresentationPresenter","disableUpdates":false,"type":"text"}},{"type":"shape","id":"ccd2b9ee-c462-4fa8-a393-b7fd51e8a681","elementConfiguration":{"binding":"Translations.PresenterFunction","disableUpdates":false,"type":"text"}},{"type":"shape","id":"9c631154-26fd-457b-9f97-0a64e58af563","elementConfiguration":{"binding":"Translations.PresentationPresenter","disableUpdates":false,"type":"text"}},{"type":"shape","id":"7fccfd45-9d82-4e0d-99c3-aa1872f1e902","elementConfiguration":{"binding":"Translations.PresenterFunction","disableUpdates":false,"type":"text"}},{"type":"shape","id":"36f86861-4fc3-4853-b720-4abd53469dba","elementConfiguration":{"binding":"Translations.PresentationPresenter","disableUpdates":false,"type":"text"}},{"type":"shape","id":"ef457d04-ec5f-441c-a5e2-13e281398252","elementConfiguration":{"binding":"Translations.PresenterFunction","disableUpdates":false,"type":"text"}},{"type":"shape","id":"34e45fe5-00a1-4b0c-9409-7d583541e62c","elementConfiguration":{"binding":"Translations.DatePp","disableUpdates":false,"type":"text"}},{"type":"shape","id":"0f4b3442-a30f-461d-8ddd-6b2be9a55082","elementConfiguration":{"inheritDimensions":"inheritNone","height":"1.55 cm","binding":"Form.PPLogo.Pp_logo","visibility":{"action":"hide","binding":"Form.PPLogo.Pp_LogoSelection","operator":"equals","compareValue":"No Logo"},"disableUpdates":false,"type":"image"}},{"type":"shape","id":"2780b108-47c1-4b92-90c4-f88c7f9a6015","elementConfiguration":{"binding":"Translations.Draft","visibility":{"action":"hide","binding":"Form.Draft.DraftChoice","operator":"equals","compareValue":"No"},"disableUpdates":false,"type":"text"}},{"type":"shape","id":"bfd78f5d-6bec-48b0-9f8f-41ba6191118b","elementConfiguration":{"binding":"Form.Classification.Classification","disableUpdates":false,"type":"text"}},{"type":"shape","id":"1c3c7eaa-84e9-4ca8-bbd6-41f41b99c22a","elementConfiguration":{"binding":"Translations.TableOfContents","disableUpdates":false,"type":"text"}},{"type":"shape","id":"0a58db69-e663-4706-9663-115fcc146079","elementConfiguration":{"inheritDimensions":"inheritNone","height":"0.69 cm","binding":"Form.PPLogo.Pp_logo","visibility":{"action":"hide","binding":"Form.PPLogo.Pp_LogoSelection","operator":"notEquals","compareValue":"All pages"},"disableUpdates":false,"type":"image"}},{"type":"shape","id":"18df3678-7eb1-4a61-a05b-dba8d5a71973","elementConfiguration":{"binding":"Translations.Draft","visibility":{"action":"hide","binding":"Form.Draft.DraftChoice","operator":"equals","compareValue":"No"},"disableUpdates":false,"type":"text"}},{"type":"shape","id":"e7ca6f2d-09db-4f6f-b733-0013636e041b","elementConfiguration":{"binding":"Form.Classification.Classification","disableUpdates":false,"type":"text"}},{"type":"shape","id":"f494fa18-fdeb-41a1-847a-c7b41de810e8","elementConfiguration":{"binding":"Translations.PageHeading","disableUpdates":false,"type":"text"}},{"type":"shape","id":"3a3805c7-4d05-4568-a4e8-656d6e5daec0","elementConfiguration":{"binding":"Translations.LayoutHeading","disableUpdates":false,"type":"text"}},{"type":"shape","id":"56387d68-4168-43ab-9213-abbf3d3fb76d","elementConfiguration":{"binding":"Translations.Source","disableUpdates":false,"type":"text"}},{"type":"shape","id":"70e6f114-f97c-4813-9ccd-a3936fc04430","elementConfiguration":{"binding":"Translations.LayoutHeading","disableUpdates":false,"type":"text"}},{"type":"shape","id":"a40e5325-fc6e-4b64-8632-a95cfce1bb80","elementConfiguration":{"binding":"Translations.Source","disableUpdates":false,"type":"text"}},{"type":"shape","id":"7050272d-3967-4ca0-877c-96a9f76ffd60","elementConfiguration":{"inheritDimensions":"inheritNone","height":"0.69 cm","binding":"Form.PPLogo.Pp_logo","visibility":{"action":"hide","binding":"Form.PPLogo.Pp_LogoSelection","operator":"notEquals","compareValue":"All pages"},"disableUpdates":false,"type":"image"}},{"type":"shape","id":"84b395df-9797-48bc-b6de-3bd39b94bbb1","elementConfiguration":{"binding":"Translations.Draft","visibility":{"action":"hide","binding":"Form.Draft.DraftChoice","operator":"equals","compareValue":"No"},"disableUpdates":false,"type":"text"}},{"type":"shape","id":"07bfdf11-6843-4682-90ba-7de1cd66b72c","elementConfiguration":{"binding":"Form.Classification.Classification","disableUpdates":false,"type":"text"}},{"type":"shape","id":"0dc1113f-ec8b-483f-824c-dbf3fdc6e89b","elementConfiguration":{"binding":"Translations.PageHeading","disableUpdates":false,"type":"text"}},{"type":"shape","id":"689708e6-3600-4937-94da-6a47d56103c9","elementConfiguration":{"binding":"Translations.LayoutHeading","disableUpdates":false,"type":"text"}},{"type":"shape","id":"646eb7ee-0286-4435-98ee-b06778e5493b","elementConfiguration":{"binding":"Translations.Source","disableUpdates":false,"type":"text"}},{"type":"shape","id":"f8deb398-0234-4ea3-b491-192714058d69","elementConfiguration":{"binding":"Translations.LayoutHeading","disableUpdates":false,"type":"text"}},{"type":"shape","id":"38d81065-eb9d-4595-838b-02d2ed1075eb","elementConfiguration":{"binding":"Translations.Source","disableUpdates":false,"type":"text"}},{"type":"shape","id":"d5a8ef77-d87e-40e6-bef9-0f8f7e9094bf","elementConfiguration":{"binding":"Translations.LayoutHeading","disableUpdates":false,"type":"text"}},{"type":"shape","id":"c8d5bd70-d9a9-49b5-a382-dca0825c7967","elementConfiguration":{"binding":"Translations.Source","disableUpdates":false,"type":"text"}},{"type":"shape","id":"f3e3e3b7-6232-4ff8-99ab-291b58a64dcf","elementConfiguration":{"inheritDimensions":"inheritNone","height":"0.69 cm","binding":"Form.PPLogo.Pp_logo","visibility":{"action":"hide","binding":"Form.PPLogo.Pp_LogoSelection","operator":"notEquals","compareValue":"All pages"},"disableUpdates":false,"type":"image"}},{"type":"shape","id":"a2223bcf-f716-4bed-af80-011e2e038f95","elementConfiguration":{"binding":"Translations.Draft","visibility":{"action":"hide","binding":"Form.Draft.DraftChoice","operator":"equals","compareValue":"No"},"disableUpdates":false,"type":"text"}},{"type":"shape","id":"d1fe8421-b464-4fec-94c3-798c6dba586d","elementConfiguration":{"binding":"Form.Classification.Classification","disableUpdates":false,"type":"text"}},{"type":"shape","id":"7eef4a88-b5e8-49e8-8b67-d5a4bb9d4be2","elementConfiguration":{"binding":"Translations.PresentationTitle","disableUpdates":false,"type":"text"}},{"type":"shape","id":"d57e6457-db56-4b2c-96ea-4dd05ccbc54d","elementConfiguration":{"binding":"Translations.Infoline","disableUpdates":false,"type":"text"}},{"type":"shape","id":"6e282dca-27e9-42c0-a346-5c16ffd6cfa1","elementConfiguration":{"binding":"Translations.PresentationPresenter","disableUpdates":false,"type":"text"}},{"type":"shape","id":"22e4d1d3-ec12-4216-9c33-e31f179ac6e6","elementConfiguration":{"binding":"Translations.PresenterFunction","disableUpdates":false,"type":"text"}},{"type":"shape","id":"0c9f7742-6234-441c-95ab-2b1bd46e347f","elementConfiguration":{"binding":"Translations.PresentationPresenter","disableUpdates":false,"type":"text"}},{"type":"shape","id":"5f64cb44-533b-43ed-8492-37a511e6c4da","elementConfiguration":{"binding":"Translations.PresenterFunction","disableUpdates":false,"type":"text"}},{"type":"shape","id":"03257c09-d9fa-4d68-bacf-d46448e22b18","elementConfiguration":{"binding":"Translations.PresentationPresenter","disableUpdates":false,"type":"text"}},{"type":"shape","id":"266ad374-ca1d-4292-99df-31c942c72576","elementConfiguration":{"binding":"Translations.PresenterFunction","disableUpdates":false,"type":"text"}},{"type":"shape","id":"0f7f294f-59d5-414c-ae9a-6da1cbcde4c7","elementConfiguration":{"binding":"Translations.DatePp","disableUpdates":false,"type":"text"}},{"type":"shape","id":"837f43b8-b0db-4d8d-8d96-6c05acdb77bf","elementConfiguration":{"inheritDimensions":"inheritNone","height":"1.55 cm","binding":"Form.PPLogo.Pp_logo","visibility":{"action":"hide","binding":"Form.PPLogo.Pp_LogoSelection","operator":"equals","compareValue":"No Logo"},"disableUpdates":false,"type":"image"}},{"type":"shape","id":"1a50339a-d8de-4d9f-9591-8178656c96cd","elementConfiguration":{"binding":"Translations.Draft","visibility":{"action":"hide","binding":"Form.Draft.DraftChoice","operator":"equals","compareValue":"No"},"disableUpdates":false,"type":"text"}},{"type":"shape","id":"246f3ee4-6443-4642-ba25-cba75421db9a","elementConfiguration":{"binding":"Form.Classification.Classification","disableUpdates":false,"type":"text"}},{"type":"shape","id":"9a71b0d6-5ca5-4a6f-8a35-fa0830bb5965","elementConfiguration":{"binding":"Translations.PresentationTitle","disableUpdates":false,"type":"text"}},{"type":"shape","id":"6ed0759c-e753-4201-8d62-1d274c4c3d88","elementConfiguration":{"binding":"Translations.Infoline","disableUpdates":false,"type":"text"}},{"type":"shape","id":"136cb9d1-17f4-4d8c-ab63-fb4320a96fd7","elementConfiguration":{"binding":"Translations.PresentationPresenter","disableUpdates":false,"type":"text"}},{"type":"shape","id":"8592c434-e067-49e8-86b2-8a10f0aa276c","elementConfiguration":{"binding":"Translations.PresenterFunction","disableUpdates":false,"type":"text"}},{"type":"shape","id":"15e78427-5629-4abc-a2da-112be01aabe2","elementConfiguration":{"binding":"Translations.PresentationPresenter","disableUpdates":false,"type":"text"}},{"type":"shape","id":"b5ea2915-d27c-4c55-972b-d3e4135d3367","elementConfiguration":{"binding":"Translations.PresenterFunction","disableUpdates":false,"type":"text"}},{"type":"shape","id":"62b5d627-5e5d-4632-8a0c-53d35308d260","elementConfiguration":{"binding":"Translations.PresentationPresenter","disableUpdates":false,"type":"text"}},{"type":"shape","id":"0c3cbf1d-ee62-4e7a-9ac9-005e72a2d327","elementConfiguration":{"binding":"Translations.PresenterFunction","disableUpdates":false,"type":"text"}},{"type":"shape","id":"4b650679-0d6f-4a76-8010-9db3e784cf80","elementConfiguration":{"binding":"Translations.DatePp","disableUpdates":false,"type":"text"}},{"type":"shape","id":"ef697097-98c9-49d7-ae7d-d903a446ba68","elementConfiguration":{"inheritDimensions":"inheritNone","height":"1.55 cm","binding":"Form.PPLogo.Pp_logo","visibility":{"action":"hide","binding":"Form.PPLogo.Pp_LogoSelection","operator":"equals","compareValue":"No Logo"},"disableUpdates":false,"type":"image"}},{"type":"shape","id":"1998740c-92f8-47fe-b108-785578b68399","elementConfiguration":{"inheritDimensions":"inheritNone","height":"0.69 cm","binding":"Form.PPLogo.Pp_logo","visibility":{"action":"hide","binding":"Form.PPLogo.Pp_LogoSelection","operator":"notEquals","compareValue":"All pages"},"disableUpdates":false,"type":"image"}},{"type":"shape","id":"959aedb1-ecfa-47c8-8189-fba0b425676a","elementConfiguration":{"binding":"Translations.Draft","visibility":{"action":"hide","binding":"Form.Draft.DraftChoice","operator":"equals","compareValue":"No"},"disableUpdates":false,"type":"text"}},{"type":"shape","id":"daf79c0f-cecf-4d24-9176-e033548c9ee1","elementConfiguration":{"binding":"Form.Classification.Classification","disableUpdates":false,"type":"text"}},{"type":"shape","id":"de0fdb99-c4cb-4ecb-ae9a-08504f7a9527","elementConfiguration":{"binding":"Translations.PageHeading","disableUpdates":false,"type":"text"}},{"type":"shape","id":"1e6a4af1-6641-4efe-963d-7f6c7506e94c","elementConfiguration":{"binding":"Translations.LayoutHeading","disableUpdates":false,"type":"text"}},{"type":"shape","id":"0a7c550d-67a8-4462-9baa-82585007913b","elementConfiguration":{"binding":"Translations.Source","disableUpdates":false,"type":"text"}},{"type":"shape","id":"31766f88-3af3-4478-91e0-a025e75e93e4","elementConfiguration":{"inheritDimensions":"inheritNone","height":"0.69 cm","binding":"Form.PPLogo.Pp_logo","visibility":{"action":"hide","binding":"Form.PPLogo.Pp_LogoSelection","operator":"notEquals","compareValue":"All pages"},"disableUpdates":false,"type":"image"}},{"type":"shape","id":"3e69f43e-fe0e-45a1-9667-375623769e7a","elementConfiguration":{"binding":"Translations.Draft","visibility":{"action":"hide","binding":"Form.Draft.DraftChoice","operator":"equals","compareValue":"No"},"disableUpdates":false,"type":"text"}},{"type":"shape","id":"16fcf6a2-a15f-4de6-9e97-1c52200c2954","elementConfiguration":{"binding":"Form.Classification.Classification","disableUpdates":false,"type":"text"}},{"type":"shape","id":"b602cc98-ed49-413c-97f6-06a1c3104572","elementConfiguration":{"binding":"Translations.PageHeading","disableUpdates":false,"type":"text"}},{"type":"shape","id":"56ec6e47-dae5-4140-ac86-ee1f1fd1afe4","elementConfiguration":{"binding":"Translations.LayoutHeading","disableUpdates":false,"type":"text"}},{"type":"shape","id":"166d9273-8fbf-4ed0-9ed7-b29c2b69432a","elementConfiguration":{"binding":"Translations.Source","disableUpdates":false,"type":"text"}},{"type":"shape","id":"1058fddd-aa30-49d6-914e-afafe7478030","elementConfiguration":{"binding":"Translations.LayoutHeading","disableUpdates":false,"type":"text"}},{"type":"shape","id":"b76f17c5-256b-4f4f-8bf2-e59fd8413fd4","elementConfiguration":{"binding":"Translations.Source","disableUpdates":false,"type":"text"}},{"type":"shape","id":"bd18d931-7160-41ae-bb8e-b3adc238d0a6","elementConfiguration":{"binding":"Translations.LayoutHeading","disableUpdates":false,"type":"text"}},{"type":"shape","id":"93244798-60c2-4748-8f4f-36456e06c3d6","elementConfiguration":{"binding":"Translations.Source","disableUpdates":false,"type":"text"}},{"type":"shape","id":"04bac7ef-5b6d-4f4a-b16b-4574867548ee","elementConfiguration":{"inheritDimensions":"inheritNone","height":"0.69 cm","binding":"Form.PPLogo.Pp_logo","visibility":{"action":"hide","binding":"Form.PPLogo.Pp_LogoSelection","operator":"notEquals","compareValue":"All pages"},"disableUpdates":false,"type":"image"}},{"type":"shape","id":"f3f0e31b-7599-4a39-9279-15ec5774381d","elementConfiguration":{"binding":"Translations.Draft","visibility":{"action":"hide","binding":"Form.Draft.DraftChoice","operator":"equals","compareValue":"No"},"disableUpdates":false,"type":"text"}},{"type":"shape","id":"fca04a0b-7bea-4974-af2f-5a71f87b01e4","elementConfiguration":{"binding":"Form.Classification.Classification","disableUpdates":false,"type":"text"}},{"type":"shape","id":"c2e23d8e-7bb5-4d7a-af73-50e7f0aef3f3","elementConfiguration":{"binding":"Translations.PresentationTitle","disableUpdates":false,"type":"text"}},{"type":"shape","id":"fc22ade5-b18d-4c8c-859b-b7b96ad4b0c2","elementConfiguration":{"binding":"Translations.Infoline","disableUpdates":false,"type":"text"}},{"type":"shape","id":"fdf76d94-cba5-47b1-a19f-fe3d83662c05","elementConfiguration":{"binding":"Translations.PresentationPresenter","disableUpdates":false,"type":"text"}},{"type":"shape","id":"72af5b67-0ad0-4dde-bb47-7af68bc86f5d","elementConfiguration":{"binding":"Translations.PresenterFunction","disableUpdates":false,"type":"text"}},{"type":"shape","id":"defd712d-e849-41d1-9c49-7f132f542d6b","elementConfiguration":{"binding":"Translations.PresentationPresenter","disableUpdates":false,"type":"text"}},{"type":"shape","id":"8f5d496d-5ddf-4f8f-82ad-2eaa3b952ca0","elementConfiguration":{"binding":"Translations.PresenterFunction","disableUpdates":false,"type":"text"}},{"type":"shape","id":"ff7da106-c48c-4328-87ad-5e339c81f62d","elementConfiguration":{"binding":"Translations.PresentationPresenter","disableUpdates":false,"type":"text"}},{"type":"shape","id":"e50dd992-5199-4934-a628-b07ec709038f","elementConfiguration":{"binding":"Translations.PresenterFunction","disableUpdates":false,"type":"text"}},{"type":"shape","id":"70d3e7a6-fd23-491e-b4d7-f21109e79975","elementConfiguration":{"binding":"Translations.DatePp","disableUpdates":false,"type":"text"}},{"type":"shape","id":"8edc72ca-8eac-4f4e-b94f-aa8a4d4e4c9d","elementConfiguration":{"inheritDimensions":"inheritNone","height":"1.55 cm","binding":"Form.PPLogo.Pp_logo","visibility":{"action":"hide","binding":"Form.PPLogo.Pp_LogoSelection","operator":"equals","compareValue":"No Logo"},"disableUpdates":false,"type":"image"}},{"type":"shape","id":"bc5ade5c-5a50-4756-99fb-3275c519a37b","elementConfiguration":{"binding":"Translations.Draft","visibility":{"action":"hide","binding":"Form.Draft.DraftChoice","operator":"equals","compareValue":"No"},"disableUpdates":false,"type":"text"}},{"type":"shape","id":"3c0e5bfd-06ec-4fee-856e-64e97b2444c9","elementConfiguration":{"binding":"Form.Classification.Classification","disableUpdates":false,"type":"text"}},{"type":"shape","id":"8a6c3a35-75bd-4fbe-9a0d-32cd4c901939","elementConfiguration":{"binding":"Translations.PresentationTitle","disableUpdates":false,"type":"text"}},{"type":"shape","id":"2171638e-5464-4d85-a798-59e4c7b652f0","elementConfiguration":{"binding":"Translations.Infoline","disableUpdates":false,"type":"text"}},{"type":"shape","id":"4fc0ed15-5d50-448c-b6e9-edcc7913f601","elementConfiguration":{"binding":"Translations.PresentationPresenter","disableUpdates":false,"type":"text"}},{"type":"shape","id":"d6040989-a095-4613-bafd-2cc0bd64c4da","elementConfiguration":{"binding":"Translations.PresenterFunction","disableUpdates":false,"type":"text"}},{"type":"shape","id":"4a3b7a8e-b094-4497-8099-af48c1583524","elementConfiguration":{"binding":"Translations.PresentationPresenter","disableUpdates":false,"type":"text"}},{"type":"shape","id":"413fc26f-4e1c-4f6a-883b-f53aed6a8224","elementConfiguration":{"binding":"Translations.PresenterFunction","disableUpdates":false,"type":"text"}},{"type":"shape","id":"065ddf17-f8e7-4b97-85cf-8ed0b06e588c","elementConfiguration":{"binding":"Translations.PresentationPresenter","disableUpdates":false,"type":"text"}},{"type":"shape","id":"f41b60b7-eafa-4625-b0e4-53575cafa771","elementConfiguration":{"binding":"Translations.PresenterFunction","disableUpdates":false,"type":"text"}},{"type":"shape","id":"a207c6cc-0778-424e-adec-587ec565a0bd","elementConfiguration":{"binding":"Translations.DatePp","disableUpdates":false,"type":"text"}},{"type":"shape","id":"af5bc19f-3830-4987-9f01-ea5908dd0590","elementConfiguration":{"inheritDimensions":"inheritNone","height":"1.55 cm","binding":"Form.PPLogo.Pp_logo","visibility":{"action":"hide","binding":"Form.PPLogo.Pp_LogoSelection","operator":"equals","compareValue":"No Logo"},"disableUpdates":false,"type":"image"}},{"type":"shape","id":"ef1eb1fb-7fb9-4a7c-be1c-a0b4399b7889","elementConfiguration":{"inheritDimensions":"inheritNone","height":"0.69 cm","binding":"Form.PPLogo.Pp_logo","visibility":{"action":"hide","binding":"Form.PPLogo.Pp_LogoSelection","operator":"notEquals","compareValue":"All pages"},"disableUpdates":false,"type":"image"}},{"type":"shape","id":"c783e237-05c1-48b4-aa44-9b64033fc08b","elementConfiguration":{"binding":"Translations.Draft","visibility":{"action":"hide","binding":"Form.Draft.DraftChoice","operator":"equals","compareValue":"No"},"disableUpdates":false,"type":"text"}},{"type":"shape","id":"f9bb42fd-dcf1-4f9d-ad5f-31f27606a244","elementConfiguration":{"inheritDimensions":"inheritNone","height":"0.69 cm","binding":"Form.PPLogo.Pp_logo","visibility":{"action":"hide","binding":"Form.PPLogo.Pp_LogoSelection","operator":"notEquals","compareValue":"All pages"},"disableUpdates":false,"type":"image"}},{"type":"shape","id":"97ac9bb0-2399-436d-8d4b-da65b9f7b7bf","elementConfiguration":{"binding":"Translations.Draft","visibility":{"action":"hide","binding":"Form.Draft.DraftChoice","operator":"equals","compareValue":"No"},"disableUpdates":false,"type":"text"}},{"type":"shape","id":"05f7d8cf-27b5-4394-801c-a527e233face","elementConfiguration":{"binding":"Form.Classification.Classification","disableUpdates":false,"type":"text"}},{"type":"shape","id":"b3952c06-cef6-4f7d-9c2f-2d097b24ed01","elementConfiguration":{"binding":"Translations.PageHeading","disableUpdates":false,"type":"text"}},{"type":"shape","id":"5b14b455-83b2-427e-9399-f1af0c394b37","elementConfiguration":{"binding":"Translations.LayoutHeading","disableUpdates":false,"type":"text"}},{"type":"shape","id":"8e350db0-2bb6-486a-b791-3af625ad9459","elementConfiguration":{"binding":"Translations.Source","disableUpdates":false,"type":"text"}},{"type":"shape","id":"53f387c1-81b6-4b63-9d44-56d16b1bb67e","elementConfiguration":{"binding":"Translations.LayoutHeading","disableUpdates":false,"type":"text"}},{"type":"shape","id":"ea149c89-acd3-4c7f-bbf2-97ac690e3efe","elementConfiguration":{"binding":"Translations.Source","disableUpdates":false,"type":"text"}},{"type":"shape","id":"7c9473b7-d085-4aa6-b708-007e33cddb16","elementConfiguration":{"binding":"Translations.LayoutHeading","disableUpdates":false,"type":"text"}},{"type":"shape","id":"95f944f2-63a0-4ae8-bf9c-81823e723edd","elementConfiguration":{"binding":"Translations.Source","disableUpdates":false,"type":"text"}},{"type":"shape","id":"2d7df0b7-3b2f-47c4-a6b5-2dc12a0dbaa8","elementConfiguration":{"binding":"Translations.LayoutHeading","disableUpdates":false,"type":"text"}},{"type":"shape","id":"7c134617-7c8e-451c-88d6-e718bfa07796","elementConfiguration":{"binding":"Translations.Source","disableUpdates":false,"type":"text"}},{"type":"shape","id":"0f1906af-52a2-45e5-a950-52111527993f","elementConfiguration":{"inheritDimensions":"inheritNone","height":"0.69 cm","binding":"Form.PPLogo.Pp_logo","visibility":{"action":"hide","binding":"Form.PPLogo.Pp_LogoSelection","operator":"notEquals","compareValue":"All pages"},"disableUpdates":false,"type":"image"}},{"type":"shape","id":"bfb6bdef-0785-4a46-939e-bb5f0284cea7","elementConfiguration":{"binding":"Translations.Draft","visibility":{"action":"hide","binding":"Form.Draft.DraftChoice","operator":"equals","compareValue":"No"},"disableUpdates":false,"type":"text"}},{"type":"shape","id":"5a734f0a-0ed1-467e-af42-be8dafcd1840","elementConfiguration":{"binding":"Form.Classification.Classification","disableUpdates":false,"type":"text"}},{"type":"shape","id":"72942e0e-3839-4127-bd04-9fe7dd684ff4","elementConfiguration":{"binding":"Translations.PageHeading","disableUpdates":false,"type":"text"}},{"type":"shape","id":"88b77274-fac0-41e6-986c-77979acecd00","elementConfiguration":{"binding":"Translations.Source","disableUpdates":false,"type":"text"}},{"type":"shape","id":"781347b7-db96-4042-b69b-97def3683081","elementConfiguration":{"inheritDimensions":"inheritNone","height":"0.69 cm","binding":"Form.PPLogo.Pp_logo","visibility":{"action":"hide","binding":"Form.PPLogo.Pp_LogoSelection","operator":"notEquals","compareValue":"All pages"},"disableUpdates":false,"type":"image"}},{"type":"shape","id":"d243304c-622e-4f03-9ae5-4f42f3560cc9","elementConfiguration":{"binding":"Translations.Draft","visibility":{"action":"hide","binding":"Form.Draft.DraftChoice","operator":"equals","compareValue":"No"},"disableUpdates":false,"type":"text"}},{"type":"shape","id":"3081f87b-24e8-4ffe-b04e-8f40f4105cb5","elementConfiguration":{"binding":"Form.Classification.Classification","disableUpdates":false,"type":"text"}},{"type":"shape","id":"cfe5ca2c-42ff-4444-98c0-ae05f19f3c10","elementConfiguration":{"binding":"Translations.PresentationTitle","disableUpdates":false,"type":"text"}},{"type":"shape","id":"a5fe467c-0b12-4926-9044-81b425212dfc","elementConfiguration":{"binding":"Translations.Infoline","disableUpdates":false,"type":"text"}},{"type":"shape","id":"77767138-2b57-455a-a159-460d1a9043a3","elementConfiguration":{"binding":"Translations.PresentationPresenter","disableUpdates":false,"type":"text"}},{"type":"shape","id":"bb519c36-70df-4fc8-b1be-2b07ccbdc843","elementConfiguration":{"binding":"Translations.PresenterFunction","disableUpdates":false,"type":"text"}},{"type":"shape","id":"7d055371-9d08-4c0b-8a92-77f03411bb08","elementConfiguration":{"binding":"Translations.PresentationPresenter","disableUpdates":false,"type":"text"}},{"type":"shape","id":"8947ff2a-ac34-436f-8ea2-1cf000b5dfcf","elementConfiguration":{"binding":"Translations.PresenterFunction","disableUpdates":false,"type":"text"}},{"type":"shape","id":"553f5c38-076b-46e3-9a64-deebea727cc3","elementConfiguration":{"binding":"Translations.DatePp","disableUpdates":false,"type":"text"}},{"type":"shape","id":"2db5c682-4b6b-47f4-8bdf-5cb3e750fc31","elementConfiguration":{"inheritDimensions":"inheritNone","height":"1.55 cm","binding":"Form.PPLogo.Pp_logo","visibility":{"action":"hide","binding":"Form.PPLogo.Pp_LogoSelection","operator":"equals","compareValue":"No Logo"},"disableUpdates":false,"type":"image"}},{"type":"shape","id":"7e5b7b89-a424-4db3-a7a2-6df53ddc147e","elementConfiguration":{"binding":"Translations.Draft","visibility":{"action":"hide","binding":"Form.Draft.DraftChoice","operator":"equals","compareValue":"No"},"disableUpdates":false,"type":"text"}},{"type":"shape","id":"7a779ad0-695b-4d69-98f8-56973059fe82","elementConfiguration":{"binding":"Form.Classification.Classification","disableUpdates":false,"type":"text"}},{"type":"shape","id":"0753eb64-8f95-43f1-b040-f644186eb93b","elementConfiguration":{"binding":"Translations.PresentationTitle","disableUpdates":false,"type":"text"}},{"type":"shape","id":"35ec8446-b7df-4f06-b676-e607576a394d","elementConfiguration":{"binding":"Translations.Infoline","disableUpdates":false,"type":"text"}},{"type":"shape","id":"787533bf-a743-4b33-b22a-15a00d38b528","elementConfiguration":{"binding":"Translations.PresentationPresenter","disableUpdates":false,"type":"text"}},{"type":"shape","id":"04e241c8-24eb-42d7-9b5a-7caddecde81b","elementConfiguration":{"binding":"Translations.PresenterFunction","disableUpdates":false,"type":"text"}},{"type":"shape","id":"502ce798-8d09-4a0d-a4e7-9ae22ddfa173","elementConfiguration":{"binding":"Translations.PresentationPresenter","disableUpdates":false,"type":"text"}},{"type":"shape","id":"770e69f1-3dd9-4639-afed-bdf081408b5c","elementConfiguration":{"binding":"Translations.PresenterFunction","disableUpdates":false,"type":"text"}},{"type":"shape","id":"8a6b28d5-e585-4fe7-821c-197630a2e515","elementConfiguration":{"binding":"Translations.DatePp","disableUpdates":false,"type":"text"}},{"type":"shape","id":"f6805f6c-87a5-4d1a-a8d5-e371997d3f93","elementConfiguration":{"inheritDimensions":"inheritNone","height":"1.55 cm","binding":"Form.PPLogo.Pp_logo","visibility":{"action":"hide","binding":"Form.PPLogo.Pp_LogoSelection","operator":"equals","compareValue":"No Logo"},"disableUpdates":false,"type":"image"}},{"type":"shape","id":"9448080b-cbec-4764-acf1-380c6c414a81","elementConfiguration":{"inheritDimensions":"inheritNone","height":"","visibility":{"action":"hide","operator":"equals","compareValue":""},"disableUpdates":false,"type":"image"}},{"type":"shape","id":"33fc50f7-0bd6-4bf5-a687-df9752fbb050","elementConfiguration":{"binding":"Translations.Draft","visibility":{"action":"hide","binding":"Form.Draft.DraftChoice","operator":"equals","compareValue":"No"},"disableUpdates":false,"type":"text"}},{"type":"shape","id":"cae89c81-2ccc-466b-9f7c-54e21dd356f4","elementConfiguration":{"binding":"Form.Classification.Classification","disableUpdates":false,"type":"text"}},{"type":"shape","id":"b4db59ba-6ff7-491a-8348-5956b15fff36","elementConfiguration":{"binding":"Translations.PageHeading","disableUpdates":false,"type":"text"}},{"type":"shape","id":"a1c4bc96-5a98-4a2e-8142-e8ca9ddeb1da","elementConfiguration":{"binding":"Translations.LayoutHeading","disableUpdates":false,"type":"text"}},{"type":"shape","id":"b076cc10-bf15-4732-a189-82bef97f9529","elementConfiguration":{"binding":"Translations.Source","disableUpdates":false,"type":"text"}},{"type":"shape","id":"49d6ac0a-c452-4384-a964-3ad974b43233","elementConfiguration":{"binding":"Translations.LayoutHeading","disableUpdates":false,"type":"text"}},{"type":"shape","id":"d37d7b32-9d4e-45d0-8cf1-c46861fdd84c","elementConfiguration":{"binding":"Translations.Source","disableUpdates":false,"type":"text"}},{"type":"shape","id":"f2cc5415-6379-43e4-968a-efa508d2d704","elementConfiguration":{"binding":"Translations.LayoutHeading","disableUpdates":false,"type":"text"}},{"type":"shape","id":"157ea58c-1979-452d-b9fe-e3d2f7a1f1d2","elementConfiguration":{"binding":"Translations.Source","disableUpdates":false,"type":"text"}},{"type":"shape","id":"1d4cceac-56ab-4ef5-b92d-afe1270bbfd8","elementConfiguration":{"binding":"Translations.LayoutHeading","disableUpdates":false,"type":"text"}},{"type":"shape","id":"644efb10-eb89-4bd6-9ce1-cee674553a2d","elementConfiguration":{"binding":"Translations.Source","disableUpdates":false,"type":"text"}},{"type":"shape","id":"b4b02385-fce2-47e1-9144-2dd5ded6603e","elementConfiguration":{"binding":"Translations.LayoutHeading","disableUpdates":false,"type":"text"}},{"type":"shape","id":"5ef483a1-9d96-4b89-af97-895625c3b5b2","elementConfiguration":{"binding":"Translations.Source","disableUpdates":false,"type":"text"}},{"type":"shape","id":"89b37c7b-6077-4f54-bdbe-e65746ccbdd8","elementConfiguration":{"binding":"Translations.LayoutHeading","disableUpdates":false,"type":"text"}},{"type":"shape","id":"db90605c-a801-4669-83be-2b5c04dfefe4","elementConfiguration":{"binding":"Translations.Source","disableUpdates":false,"type":"text"}},{"type":"shape","id":"6a2b31fb-5467-4ec2-9dcb-3916d2e5e0c5","elementConfiguration":{"inheritDimensions":"inheritNone","height":"0.69 cm","binding":"Form.PPLogo.Pp_logo","visibility":{"action":"hide","binding":"Form.PPLogo.Pp_LogoSelection","operator":"notEquals","compareValue":"All pages"},"disableUpdates":false,"type":"image"}},{"type":"shape","id":"88e457c0-4c0a-40a3-9729-20558752d0b1","elementConfiguration":{"binding":"Translations.ContactSlide","disableUpdates":false,"type":"text"}}],"transformationConfigurations":[{"language":"{{DocumentLanguage}}","disableUpdates":false,"type":"proofingLanguage"},{"propertyName":"DocumentLanguage","propertyValue":"{{UserProfile.DocumentLanguage.Iana}}","disableUpdates":false,"type":"customDocumentProperty"},{"propertyName":"PresentationType","propertyValue":"Screen","disableUpdates":false,"type":"customDocumentProperty"},{"propertyName":"FormatType","propertyValue":"Screen169","disableUpdates":false,"type":"customDocumentProperty"}],"templateName":"","templateDescription":"","enableDocumentContentUpdater":true,"version":"1.9"}]]></TemplafyTemplateConfiguration>
</file>

<file path=customXml/item2.xml><?xml version="1.0" encoding="utf-8"?>
<TemplafySlideTemplateConfiguration><![CDATA[{"elementsMetadata":[],"documentContentValidatorConfiguration":{"enableDocumentContentValidator":false,"documentContentValidatorVersion":0},"slideId":"636917806573609160","enableDocumentContentUpdater":true,"version":"1.3"}]]></TemplafySlideTemplateConfiguration>
</file>

<file path=customXml/item20.xml><?xml version="1.0" encoding="utf-8"?>
<TemplafySlideFormConfiguration><![CDATA[{"formFields":[],"formDataEntries":[]}]]></TemplafySlideFormConfiguration>
</file>

<file path=customXml/item21.xml><?xml version="1.0" encoding="utf-8"?>
<TemplafySlideTemplateConfiguration><![CDATA[{"elementsMetadata":[],"documentContentValidatorConfiguration":{"enableDocumentContentValidator":false,"documentContentValidatorVersion":0},"slideId":"636964600062155340","enableDocumentContentUpdater":true,"version":"1.3"}]]></TemplafySlideTemplateConfiguration>
</file>

<file path=customXml/item22.xml><?xml version="1.0" encoding="utf-8"?>
<TemplafySlideTemplateConfiguration><![CDATA[{"elementsMetadata":[],"documentContentValidatorConfiguration":{"enableDocumentContentValidator":false,"documentContentValidatorVersion":0},"slideId":"636917806573609161","enableDocumentContentUpdater":true,"version":"1.3"}]]></TemplafySlideTemplate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TemplateConfiguration><![CDATA[{"documentContentValidatorConfiguration":{"enableDocumentContentValidator":false,"documentContentValidatorVersion":0},"elementsMetadata":[],"slideId":"638864451472265253","enableDocumentContentUpdater":true,"version":"1.9"}]]></TemplafySlideTemplateConfiguration>
</file>

<file path=customXml/item26.xml><?xml version="1.0" encoding="utf-8"?>
<TemplafySlideTemplateConfiguration><![CDATA[{"elementsMetadata":[],"documentContentValidatorConfiguration":{"enableDocumentContentValidator":false,"documentContentValidatorVersion":0},"slideId":"637024241036986128","enableDocumentContentUpdater":true,"version":"1.9"}]]></TemplafySlideTemplateConfiguration>
</file>

<file path=customXml/item27.xml><?xml version="1.0" encoding="utf-8"?>
<p:properties xmlns:p="http://schemas.microsoft.com/office/2006/metadata/properties" xmlns:xsi="http://www.w3.org/2001/XMLSchema-instance" xmlns:pc="http://schemas.microsoft.com/office/infopath/2007/PartnerControls">
  <documentManagement/>
</p:properties>
</file>

<file path=customXml/item28.xml><?xml version="1.0" encoding="utf-8"?>
<TemplafySlideFormConfiguration><![CDATA[{"formFields":[],"formDataEntries":[]}]]></TemplafySlideFormConfiguration>
</file>

<file path=customXml/item29.xml><?xml version="1.0" encoding="utf-8"?>
<TemplafySlideFormConfiguration><![CDATA[{"formFields":[],"formDataEntries":[]}]]></TemplafySlideFormConfiguration>
</file>

<file path=customXml/item3.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30.xml><?xml version="1.0" encoding="utf-8"?>
<TemplafySlideFormConfiguration><![CDATA[{"formFields":[],"formDataEntries":[]}]]></TemplafySlideFormConfiguration>
</file>

<file path=customXml/item31.xml><?xml version="1.0" encoding="utf-8"?>
<ct:contentTypeSchema xmlns:ct="http://schemas.microsoft.com/office/2006/metadata/contentType" xmlns:ma="http://schemas.microsoft.com/office/2006/metadata/properties/metaAttributes" ct:_="" ma:_="" ma:contentTypeName="Document" ma:contentTypeID="0x01010066B9737A85D785429916D164D78BE474" ma:contentTypeVersion="3" ma:contentTypeDescription="Create a new document." ma:contentTypeScope="" ma:versionID="0a0f794b92470b78b3171f8f0f9e451e">
  <xsd:schema xmlns:xsd="http://www.w3.org/2001/XMLSchema" xmlns:xs="http://www.w3.org/2001/XMLSchema" xmlns:p="http://schemas.microsoft.com/office/2006/metadata/properties" xmlns:ns2="451180c4-49eb-40bc-a61d-31ee50d440b8" targetNamespace="http://schemas.microsoft.com/office/2006/metadata/properties" ma:root="true" ma:fieldsID="61780447e619e796d7ed431e538c3ee9" ns2:_="">
    <xsd:import namespace="451180c4-49eb-40bc-a61d-31ee50d440b8"/>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1180c4-49eb-40bc-a61d-31ee50d440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2.xml><?xml version="1.0" encoding="utf-8"?>
<TemplafySlideTemplateConfiguration><![CDATA[{"documentContentValidatorConfiguration":{"enableDocumentContentValidator":false,"documentContentValidatorVersion":0},"elementsMetadata":[],"slideId":"637732958392942397","enableDocumentContentUpdater":true,"version":"1.9"}]]></TemplafySlideTemplateConfiguration>
</file>

<file path=customXml/item33.xml><?xml version="1.0" encoding="utf-8"?>
<TemplafySlideTemplateConfiguration><![CDATA[{"elementsMetadata":[],"documentContentValidatorConfiguration":{"enableDocumentContentValidator":false,"documentContentValidatorVersion":0},"slideId":"636993974854523155","enableDocumentContentUpdater":true,"version":"1.9"}]]></TemplafySlideTemplateConfiguration>
</file>

<file path=customXml/item4.xml><?xml version="1.0" encoding="utf-8"?>
<TemplafySlideTemplateConfiguration><![CDATA[{"elementsMetadata":[],"documentContentValidatorConfiguration":{"enableDocumentContentValidator":false,"documentContentValidatorVersion":0},"slideId":"636993974854795871","enableDocumentContentUpdater":true,"version":"1.9"}]]></TemplafySlideTemplateConfiguration>
</file>

<file path=customXml/item5.xml><?xml version="1.0" encoding="utf-8"?>
<TemplafySlideTemplateConfiguration><![CDATA[{"elementsMetadata":[],"documentContentValidatorConfiguration":{"enableDocumentContentValidator":false,"documentContentValidatorVersion":0},"slideId":"636964600065116962","enableDocumentContentUpdater":true,"version":"1.3"}]]></TemplafySlideTemplateConfiguration>
</file>

<file path=customXml/item6.xml><?xml version="1.0" encoding="utf-8"?>
<TemplafySlideTemplateConfiguration><![CDATA[{"elementsMetadata":[],"documentContentValidatorConfiguration":{"enableDocumentContentValidator":false,"documentContentValidatorVersion":0},"slideId":"636964600062617722","enableDocumentContentUpdater":true,"version":"1.3"}]]></TemplafySlideTemplateConfiguration>
</file>

<file path=customXml/item7.xml><?xml version="1.0" encoding="utf-8"?>
<TemplafySlideFormConfiguration><![CDATA[{"formFields":[],"formDataEntries":[]}]]></TemplafySlideFormConfiguration>
</file>

<file path=customXml/item8.xml><?xml version="1.0" encoding="utf-8"?>
<TemplafyFormConfiguration><![CDATA[{"formFields":[{"dataSource":"Classifications","displayColumn":"classification","filter":{"column":"iana","otherFieldName":"DocumentLanguage","fullyQualifiedOtherFieldName":"DocumentLanguage","otherFieldColumn":"iana","formReference":"userProfile","operator":"equals"},"hideIfNoUserInteractionRequired":false,"distinct":true,"required":true,"autoSelectFirstOption":true,"helpTexts":{"prefix":"","postfix":""},"spacing":{},"type":"dropDown","name":"Classification","label":"Classification","fullyQualifiedName":"Classification"},{"dataSource":"PP_LogoPlacement","displayColumn":"pp_LogoSelection","filter":{"column":"logoName","otherFieldName":"LogoInsertion","fullyQualifiedOtherFieldName":"LogoInsertion","otherFieldColumn":"logoName","formReference":"userProfile","operator":"equals"},"hideIfNoUserInteractionRequired":false,"distinct":true,"required":false,"autoSelectFirstOption":true,"helpTexts":{"prefix":"","postfix":""},"spacing":{},"type":"dropDown","name":"PPLogo","label":"Logo placement","fullyQualifiedName":"PPLogo"},{"dataSource":"DraftSelection ","displayColumn":"draftChoice","hideIfNoUserInteractionRequired":false,"distinct":true,"required":false,"autoSelectFirstOption":true,"helpTexts":{"prefix":"","postfix":""},"spacing":{},"type":"dropDown","name":"Draft","label":"Draft","fullyQualifiedName":"Draft"}],"formDataEntries":[{"name":"Classification","value":"rrPDL9gVmPAlIFTGG6O1nA=="},{"name":"PPLogo","value":"XaoMhzlZ9FmSqU3kqRvpFQ=="},{"name":"Draft","value":"XaoMhzlZ9FmSqU3kqRvpFQ=="}]}]]></Templafy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7B81A06B-AF66-4D82-AFC9-857E26D6A26B}">
  <ds:schemaRefs/>
</ds:datastoreItem>
</file>

<file path=customXml/itemProps10.xml><?xml version="1.0" encoding="utf-8"?>
<ds:datastoreItem xmlns:ds="http://schemas.openxmlformats.org/officeDocument/2006/customXml" ds:itemID="{7B5669FF-F241-4E40-A153-C3585029E77A}">
  <ds:schemaRefs/>
</ds:datastoreItem>
</file>

<file path=customXml/itemProps11.xml><?xml version="1.0" encoding="utf-8"?>
<ds:datastoreItem xmlns:ds="http://schemas.openxmlformats.org/officeDocument/2006/customXml" ds:itemID="{2787715B-8BF4-4D6F-939F-D9F29E9EFD65}">
  <ds:schemaRefs/>
</ds:datastoreItem>
</file>

<file path=customXml/itemProps12.xml><?xml version="1.0" encoding="utf-8"?>
<ds:datastoreItem xmlns:ds="http://schemas.openxmlformats.org/officeDocument/2006/customXml" ds:itemID="{4AB870E7-45A1-4BAF-A83B-D0211FA9D835}">
  <ds:schemaRefs/>
</ds:datastoreItem>
</file>

<file path=customXml/itemProps13.xml><?xml version="1.0" encoding="utf-8"?>
<ds:datastoreItem xmlns:ds="http://schemas.openxmlformats.org/officeDocument/2006/customXml" ds:itemID="{4E5F4F14-2ED5-46D4-B414-5E3320B5EAC1}">
  <ds:schemaRefs/>
</ds:datastoreItem>
</file>

<file path=customXml/itemProps14.xml><?xml version="1.0" encoding="utf-8"?>
<ds:datastoreItem xmlns:ds="http://schemas.openxmlformats.org/officeDocument/2006/customXml" ds:itemID="{7E36B046-112B-4507-8F73-1CDFBFFB569E}">
  <ds:schemaRefs>
    <ds:schemaRef ds:uri="http://schemas.microsoft.com/sharepoint/v3/contenttype/forms"/>
  </ds:schemaRefs>
</ds:datastoreItem>
</file>

<file path=customXml/itemProps15.xml><?xml version="1.0" encoding="utf-8"?>
<ds:datastoreItem xmlns:ds="http://schemas.openxmlformats.org/officeDocument/2006/customXml" ds:itemID="{33B96833-FDAE-446F-8416-4771B5752C7F}">
  <ds:schemaRefs/>
</ds:datastoreItem>
</file>

<file path=customXml/itemProps16.xml><?xml version="1.0" encoding="utf-8"?>
<ds:datastoreItem xmlns:ds="http://schemas.openxmlformats.org/officeDocument/2006/customXml" ds:itemID="{1288CCE0-C24B-43C6-A87C-A123CEBF6884}">
  <ds:schemaRefs>
    <ds:schemaRef ds:uri="http://schemas.microsoft.com/office/2009/outspace/metadata"/>
  </ds:schemaRefs>
</ds:datastoreItem>
</file>

<file path=customXml/itemProps17.xml><?xml version="1.0" encoding="utf-8"?>
<ds:datastoreItem xmlns:ds="http://schemas.openxmlformats.org/officeDocument/2006/customXml" ds:itemID="{4B6FE2A7-A4D8-4EED-9F92-E4B09E5F2358}">
  <ds:schemaRefs/>
</ds:datastoreItem>
</file>

<file path=customXml/itemProps18.xml><?xml version="1.0" encoding="utf-8"?>
<ds:datastoreItem xmlns:ds="http://schemas.openxmlformats.org/officeDocument/2006/customXml" ds:itemID="{8F7FB116-9CE2-4E8C-9879-9D61FC2735AD}">
  <ds:schemaRefs/>
</ds:datastoreItem>
</file>

<file path=customXml/itemProps19.xml><?xml version="1.0" encoding="utf-8"?>
<ds:datastoreItem xmlns:ds="http://schemas.openxmlformats.org/officeDocument/2006/customXml" ds:itemID="{E202338C-424B-4155-9BE2-67FAE3AD6A37}">
  <ds:schemaRefs/>
</ds:datastoreItem>
</file>

<file path=customXml/itemProps2.xml><?xml version="1.0" encoding="utf-8"?>
<ds:datastoreItem xmlns:ds="http://schemas.openxmlformats.org/officeDocument/2006/customXml" ds:itemID="{95814B20-6D55-46F4-AF5D-B849588A9CD5}">
  <ds:schemaRefs/>
</ds:datastoreItem>
</file>

<file path=customXml/itemProps20.xml><?xml version="1.0" encoding="utf-8"?>
<ds:datastoreItem xmlns:ds="http://schemas.openxmlformats.org/officeDocument/2006/customXml" ds:itemID="{71C04D47-C6C2-4477-9700-914E6D30B4BB}">
  <ds:schemaRefs/>
</ds:datastoreItem>
</file>

<file path=customXml/itemProps21.xml><?xml version="1.0" encoding="utf-8"?>
<ds:datastoreItem xmlns:ds="http://schemas.openxmlformats.org/officeDocument/2006/customXml" ds:itemID="{EA6807FD-3EAB-4C43-B87E-5ACCF94FEDF6}">
  <ds:schemaRefs/>
</ds:datastoreItem>
</file>

<file path=customXml/itemProps22.xml><?xml version="1.0" encoding="utf-8"?>
<ds:datastoreItem xmlns:ds="http://schemas.openxmlformats.org/officeDocument/2006/customXml" ds:itemID="{4858D511-E4EF-4E06-B099-AE94BE42A735}">
  <ds:schemaRefs/>
</ds:datastoreItem>
</file>

<file path=customXml/itemProps23.xml><?xml version="1.0" encoding="utf-8"?>
<ds:datastoreItem xmlns:ds="http://schemas.openxmlformats.org/officeDocument/2006/customXml" ds:itemID="{655BF319-7F59-4D20-9F11-560A0D16CC03}">
  <ds:schemaRefs/>
</ds:datastoreItem>
</file>

<file path=customXml/itemProps24.xml><?xml version="1.0" encoding="utf-8"?>
<ds:datastoreItem xmlns:ds="http://schemas.openxmlformats.org/officeDocument/2006/customXml" ds:itemID="{CFADBEC7-DC18-4249-9DCA-5BB9002D7D97}">
  <ds:schemaRefs/>
</ds:datastoreItem>
</file>

<file path=customXml/itemProps25.xml><?xml version="1.0" encoding="utf-8"?>
<ds:datastoreItem xmlns:ds="http://schemas.openxmlformats.org/officeDocument/2006/customXml" ds:itemID="{61619D38-6B9E-4FAD-9613-AD004F074E2C}">
  <ds:schemaRefs/>
</ds:datastoreItem>
</file>

<file path=customXml/itemProps26.xml><?xml version="1.0" encoding="utf-8"?>
<ds:datastoreItem xmlns:ds="http://schemas.openxmlformats.org/officeDocument/2006/customXml" ds:itemID="{B4457844-EADA-489F-A3E3-084B332DB5D5}">
  <ds:schemaRefs/>
</ds:datastoreItem>
</file>

<file path=customXml/itemProps27.xml><?xml version="1.0" encoding="utf-8"?>
<ds:datastoreItem xmlns:ds="http://schemas.openxmlformats.org/officeDocument/2006/customXml" ds:itemID="{33E7A6FC-BE18-4A49-9E3F-55219B4308BA}">
  <ds:schemaRefs>
    <ds:schemaRef ds:uri="http://schemas.microsoft.com/office/2006/documentManagement/types"/>
    <ds:schemaRef ds:uri="http://schemas.openxmlformats.org/package/2006/metadata/core-properties"/>
    <ds:schemaRef ds:uri="http://schemas.microsoft.com/office/2006/metadata/properties"/>
    <ds:schemaRef ds:uri="http://purl.org/dc/dcmitype/"/>
    <ds:schemaRef ds:uri="45274b98-aba7-4750-80c6-1827c4cd8c7a"/>
    <ds:schemaRef ds:uri="http://purl.org/dc/terms/"/>
    <ds:schemaRef ds:uri="http://purl.org/dc/elements/1.1/"/>
    <ds:schemaRef ds:uri="http://schemas.microsoft.com/office/infopath/2007/PartnerControls"/>
    <ds:schemaRef ds:uri="1354f1bd-c966-4fc9-816c-bc84e6fbed8a"/>
    <ds:schemaRef ds:uri="http://www.w3.org/XML/1998/namespace"/>
  </ds:schemaRefs>
</ds:datastoreItem>
</file>

<file path=customXml/itemProps28.xml><?xml version="1.0" encoding="utf-8"?>
<ds:datastoreItem xmlns:ds="http://schemas.openxmlformats.org/officeDocument/2006/customXml" ds:itemID="{6D17B8EC-3DEB-4541-854C-E5A23C40477C}">
  <ds:schemaRefs/>
</ds:datastoreItem>
</file>

<file path=customXml/itemProps29.xml><?xml version="1.0" encoding="utf-8"?>
<ds:datastoreItem xmlns:ds="http://schemas.openxmlformats.org/officeDocument/2006/customXml" ds:itemID="{C711DE37-8976-450E-A0BE-BEFFBFD98CD6}">
  <ds:schemaRefs/>
</ds:datastoreItem>
</file>

<file path=customXml/itemProps3.xml><?xml version="1.0" encoding="utf-8"?>
<ds:datastoreItem xmlns:ds="http://schemas.openxmlformats.org/officeDocument/2006/customXml" ds:itemID="{73A82E75-7599-4157-AAD2-54A7F0191477}">
  <ds:schemaRefs/>
</ds:datastoreItem>
</file>

<file path=customXml/itemProps30.xml><?xml version="1.0" encoding="utf-8"?>
<ds:datastoreItem xmlns:ds="http://schemas.openxmlformats.org/officeDocument/2006/customXml" ds:itemID="{5459017E-7296-4240-A960-767BA0CF1401}">
  <ds:schemaRefs/>
</ds:datastoreItem>
</file>

<file path=customXml/itemProps31.xml><?xml version="1.0" encoding="utf-8"?>
<ds:datastoreItem xmlns:ds="http://schemas.openxmlformats.org/officeDocument/2006/customXml" ds:itemID="{D517ABA2-62D1-4DF0-8E82-DC66B7BC14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1180c4-49eb-40bc-a61d-31ee50d440b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2.xml><?xml version="1.0" encoding="utf-8"?>
<ds:datastoreItem xmlns:ds="http://schemas.openxmlformats.org/officeDocument/2006/customXml" ds:itemID="{E7E98630-472B-4591-9C80-802307C2E0FB}">
  <ds:schemaRefs/>
</ds:datastoreItem>
</file>

<file path=customXml/itemProps33.xml><?xml version="1.0" encoding="utf-8"?>
<ds:datastoreItem xmlns:ds="http://schemas.openxmlformats.org/officeDocument/2006/customXml" ds:itemID="{CFD76AD5-1DF3-43E1-B219-A043C7E16705}">
  <ds:schemaRefs/>
</ds:datastoreItem>
</file>

<file path=customXml/itemProps4.xml><?xml version="1.0" encoding="utf-8"?>
<ds:datastoreItem xmlns:ds="http://schemas.openxmlformats.org/officeDocument/2006/customXml" ds:itemID="{EF63BA5C-1DBE-4CED-9252-2863C2A80A25}">
  <ds:schemaRefs/>
</ds:datastoreItem>
</file>

<file path=customXml/itemProps5.xml><?xml version="1.0" encoding="utf-8"?>
<ds:datastoreItem xmlns:ds="http://schemas.openxmlformats.org/officeDocument/2006/customXml" ds:itemID="{BF97B96B-AF37-441E-BD74-DEDFAD3E429F}">
  <ds:schemaRefs/>
</ds:datastoreItem>
</file>

<file path=customXml/itemProps6.xml><?xml version="1.0" encoding="utf-8"?>
<ds:datastoreItem xmlns:ds="http://schemas.openxmlformats.org/officeDocument/2006/customXml" ds:itemID="{A23DDF3D-85AF-418D-87C6-278E9A112420}">
  <ds:schemaRefs/>
</ds:datastoreItem>
</file>

<file path=customXml/itemProps7.xml><?xml version="1.0" encoding="utf-8"?>
<ds:datastoreItem xmlns:ds="http://schemas.openxmlformats.org/officeDocument/2006/customXml" ds:itemID="{70CE2A21-DD29-4146-8FE3-E95124873F21}">
  <ds:schemaRefs/>
</ds:datastoreItem>
</file>

<file path=customXml/itemProps8.xml><?xml version="1.0" encoding="utf-8"?>
<ds:datastoreItem xmlns:ds="http://schemas.openxmlformats.org/officeDocument/2006/customXml" ds:itemID="{8ACD1C58-8F35-45A8-A666-437523852C05}">
  <ds:schemaRefs/>
</ds:datastoreItem>
</file>

<file path=customXml/itemProps9.xml><?xml version="1.0" encoding="utf-8"?>
<ds:datastoreItem xmlns:ds="http://schemas.openxmlformats.org/officeDocument/2006/customXml" ds:itemID="{6BA7D3D0-DF71-4A24-8E87-DEDA13425BD4}">
  <ds:schemaRefs/>
</ds:datastoreItem>
</file>

<file path=docProps/app.xml><?xml version="1.0" encoding="utf-8"?>
<Properties xmlns="http://schemas.openxmlformats.org/officeDocument/2006/extended-properties" xmlns:vt="http://schemas.openxmlformats.org/officeDocument/2006/docPropsVTypes">
  <Template>UBS Screen169 Theme</Template>
  <TotalTime>0</TotalTime>
  <Words>4188</Words>
  <Application>Microsoft Macintosh PowerPoint</Application>
  <PresentationFormat>Custom</PresentationFormat>
  <Paragraphs>238</Paragraphs>
  <Slides>21</Slides>
  <Notes>1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Arial Unicode MS</vt:lpstr>
      <vt:lpstr>Arial</vt:lpstr>
      <vt:lpstr>Frutiger 45 Light</vt:lpstr>
      <vt:lpstr>Frutiger 47 Light CN</vt:lpstr>
      <vt:lpstr>Frutiger 55 Roman</vt:lpstr>
      <vt:lpstr>Monotype Sorts</vt:lpstr>
      <vt:lpstr>Symbol</vt:lpstr>
      <vt:lpstr>UBSHeadline</vt:lpstr>
      <vt:lpstr>Wingdings 2</vt:lpstr>
      <vt:lpstr>UBS Screen169 Theme</vt:lpstr>
      <vt:lpstr>think-cell Slide</vt:lpstr>
      <vt:lpstr>February House View Update</vt:lpstr>
      <vt:lpstr>How we cover equities</vt:lpstr>
      <vt:lpstr>History suggests looking beyond geopolitical escalations</vt:lpstr>
      <vt:lpstr>Global growth set to pick up</vt:lpstr>
      <vt:lpstr>Strong corporate earnings across the board</vt:lpstr>
      <vt:lpstr>Structural innovation will drive equity market returns over the long run</vt:lpstr>
      <vt:lpstr>PowerPoint Presentation</vt:lpstr>
      <vt:lpstr>US equities: Supportive macro backdrop</vt:lpstr>
      <vt:lpstr>US equities: Robust earnings, broader contribution</vt:lpstr>
      <vt:lpstr>US: Underpinned by structural tailwinds</vt:lpstr>
      <vt:lpstr>US sectors: Selective across cyclicals and defensives</vt:lpstr>
      <vt:lpstr>Eurozone: global cyclical recovery and German fiscal spending should help</vt:lpstr>
      <vt:lpstr>Eurozone: Strong earnings recovery expected</vt:lpstr>
      <vt:lpstr>Europe: Structural markets offer upside potential</vt:lpstr>
      <vt:lpstr>Japan: PM Takaichi’s agenda is pro-growth</vt:lpstr>
      <vt:lpstr>Japan: Structural reforms boost ROE and EPS growth</vt:lpstr>
      <vt:lpstr>EM / Asia: Supportive macro conditions</vt:lpstr>
      <vt:lpstr>China Tech: Strong earnings growth at reasonable valuation</vt:lpstr>
      <vt:lpstr>EM / Asia: At the forefront of structural innovation</vt:lpstr>
      <vt:lpstr>Risk information                                                 </vt:lpstr>
      <vt:lpstr>Risk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ostieris, Nikolaos</dc:creator>
  <cp:lastModifiedBy>Tanya Wilson</cp:lastModifiedBy>
  <cp:revision>22</cp:revision>
  <dcterms:modified xsi:type="dcterms:W3CDTF">2026-04-01T13:4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5-06-24T16:01:17.7216475Z</vt:lpwstr>
  </property>
  <property fmtid="{D5CDD505-2E9C-101B-9397-08002B2CF9AE}" pid="3" name="TemplafyTenantId">
    <vt:lpwstr>ubs</vt:lpwstr>
  </property>
  <property fmtid="{D5CDD505-2E9C-101B-9397-08002B2CF9AE}" pid="4" name="TemplafyTemplateId">
    <vt:lpwstr>638864451464585322</vt:lpwstr>
  </property>
  <property fmtid="{D5CDD505-2E9C-101B-9397-08002B2CF9AE}" pid="5" name="TemplafyUserProfileId">
    <vt:lpwstr>638756826890468626</vt:lpwstr>
  </property>
  <property fmtid="{D5CDD505-2E9C-101B-9397-08002B2CF9AE}" pid="6" name="TemplafyLanguageCode">
    <vt:lpwstr>en-US</vt:lpwstr>
  </property>
  <property fmtid="{D5CDD505-2E9C-101B-9397-08002B2CF9AE}" pid="7" name="DocumentLanguage">
    <vt:lpwstr>en-US</vt:lpwstr>
  </property>
  <property fmtid="{D5CDD505-2E9C-101B-9397-08002B2CF9AE}" pid="8" name="PresentationType">
    <vt:lpwstr>Screen</vt:lpwstr>
  </property>
  <property fmtid="{D5CDD505-2E9C-101B-9397-08002B2CF9AE}" pid="9" name="FormatType">
    <vt:lpwstr>Screen169</vt:lpwstr>
  </property>
  <property fmtid="{D5CDD505-2E9C-101B-9397-08002B2CF9AE}" pid="10" name="MSIP_Label_0c1e85bf-ac82-4d95-8ebe-b1488d74b05a_Enabled">
    <vt:lpwstr>true</vt:lpwstr>
  </property>
  <property fmtid="{D5CDD505-2E9C-101B-9397-08002B2CF9AE}" pid="11" name="MSIP_Label_0c1e85bf-ac82-4d95-8ebe-b1488d74b05a_SetDate">
    <vt:lpwstr>2025-08-26T13:51:00Z</vt:lpwstr>
  </property>
  <property fmtid="{D5CDD505-2E9C-101B-9397-08002B2CF9AE}" pid="12" name="MSIP_Label_0c1e85bf-ac82-4d95-8ebe-b1488d74b05a_Method">
    <vt:lpwstr>Privileged</vt:lpwstr>
  </property>
  <property fmtid="{D5CDD505-2E9C-101B-9397-08002B2CF9AE}" pid="13" name="MSIP_Label_0c1e85bf-ac82-4d95-8ebe-b1488d74b05a_Name">
    <vt:lpwstr>0c1e85bf-ac82-4d95-8ebe-b1488d74b05a</vt:lpwstr>
  </property>
  <property fmtid="{D5CDD505-2E9C-101B-9397-08002B2CF9AE}" pid="14" name="MSIP_Label_0c1e85bf-ac82-4d95-8ebe-b1488d74b05a_SiteId">
    <vt:lpwstr>fb6ea403-7cf1-4905-810a-fe5547e98204</vt:lpwstr>
  </property>
  <property fmtid="{D5CDD505-2E9C-101B-9397-08002B2CF9AE}" pid="15" name="MSIP_Label_0c1e85bf-ac82-4d95-8ebe-b1488d74b05a_ActionId">
    <vt:lpwstr>396e8c85-3f15-4a04-b6af-36b6352e48c0</vt:lpwstr>
  </property>
  <property fmtid="{D5CDD505-2E9C-101B-9397-08002B2CF9AE}" pid="16" name="MSIP_Label_0c1e85bf-ac82-4d95-8ebe-b1488d74b05a_ContentBits">
    <vt:lpwstr>0</vt:lpwstr>
  </property>
  <property fmtid="{D5CDD505-2E9C-101B-9397-08002B2CF9AE}" pid="17" name="ArticulateGUID">
    <vt:lpwstr>163BAE01-B5CF-4538-B92A-A99A29D24B7C</vt:lpwstr>
  </property>
  <property fmtid="{D5CDD505-2E9C-101B-9397-08002B2CF9AE}" pid="18" name="ArticulatePath">
    <vt:lpwstr>Transformational Innovation Opportunities (TRIOs) presentation 2025-08-27</vt:lpwstr>
  </property>
  <property fmtid="{D5CDD505-2E9C-101B-9397-08002B2CF9AE}" pid="19" name="ContentTypeId">
    <vt:lpwstr>0x01010066B9737A85D785429916D164D78BE474</vt:lpwstr>
  </property>
  <property fmtid="{D5CDD505-2E9C-101B-9397-08002B2CF9AE}" pid="20" name="MediaServiceImageTags">
    <vt:lpwstr/>
  </property>
</Properties>
</file>